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tags/tag38.xml" ContentType="application/vnd.openxmlformats-officedocument.presentationml.tags+xml"/>
  <Override PartName="/ppt/notesSlides/notesSlide14.xml" ContentType="application/vnd.openxmlformats-officedocument.presentationml.notesSlide+xml"/>
  <Override PartName="/ppt/tags/tag39.xml" ContentType="application/vnd.openxmlformats-officedocument.presentationml.tags+xml"/>
  <Override PartName="/ppt/notesSlides/notesSlide15.xml" ContentType="application/vnd.openxmlformats-officedocument.presentationml.notesSlide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tags/tag41.xml" ContentType="application/vnd.openxmlformats-officedocument.presentationml.tags+xml"/>
  <Override PartName="/ppt/notesSlides/notesSlide17.xml" ContentType="application/vnd.openxmlformats-officedocument.presentationml.notesSlide+xml"/>
  <Override PartName="/ppt/tags/tag42.xml" ContentType="application/vnd.openxmlformats-officedocument.presentationml.tags+xml"/>
  <Override PartName="/ppt/notesSlides/notesSlide18.xml" ContentType="application/vnd.openxmlformats-officedocument.presentationml.notesSlide+xml"/>
  <Override PartName="/ppt/tags/tag43.xml" ContentType="application/vnd.openxmlformats-officedocument.presentationml.tags+xml"/>
  <Override PartName="/ppt/notesSlides/notesSlide19.xml" ContentType="application/vnd.openxmlformats-officedocument.presentationml.notesSlide+xml"/>
  <Override PartName="/ppt/tags/tag44.xml" ContentType="application/vnd.openxmlformats-officedocument.presentationml.tags+xml"/>
  <Override PartName="/ppt/notesSlides/notesSlide20.xml" ContentType="application/vnd.openxmlformats-officedocument.presentationml.notesSlide+xml"/>
  <Override PartName="/ppt/tags/tag45.xml" ContentType="application/vnd.openxmlformats-officedocument.presentationml.tags+xml"/>
  <Override PartName="/ppt/notesSlides/notesSlide21.xml" ContentType="application/vnd.openxmlformats-officedocument.presentationml.notesSlide+xml"/>
  <Override PartName="/ppt/tags/tag46.xml" ContentType="application/vnd.openxmlformats-officedocument.presentationml.tags+xml"/>
  <Override PartName="/ppt/notesSlides/notesSlide22.xml" ContentType="application/vnd.openxmlformats-officedocument.presentationml.notesSlide+xml"/>
  <Override PartName="/ppt/tags/tag47.xml" ContentType="application/vnd.openxmlformats-officedocument.presentationml.tags+xml"/>
  <Override PartName="/ppt/notesSlides/notesSlide23.xml" ContentType="application/vnd.openxmlformats-officedocument.presentationml.notesSlide+xml"/>
  <Override PartName="/ppt/tags/tag48.xml" ContentType="application/vnd.openxmlformats-officedocument.presentationml.tags+xml"/>
  <Override PartName="/ppt/notesSlides/notesSlide24.xml" ContentType="application/vnd.openxmlformats-officedocument.presentationml.notesSlide+xml"/>
  <Override PartName="/ppt/tags/tag49.xml" ContentType="application/vnd.openxmlformats-officedocument.presentationml.tags+xml"/>
  <Override PartName="/ppt/notesSlides/notesSlide25.xml" ContentType="application/vnd.openxmlformats-officedocument.presentationml.notesSlide+xml"/>
  <Override PartName="/ppt/tags/tag50.xml" ContentType="application/vnd.openxmlformats-officedocument.presentationml.tags+xml"/>
  <Override PartName="/ppt/notesSlides/notesSlide26.xml" ContentType="application/vnd.openxmlformats-officedocument.presentationml.notesSlide+xml"/>
  <Override PartName="/ppt/tags/tag51.xml" ContentType="application/vnd.openxmlformats-officedocument.presentationml.tags+xml"/>
  <Override PartName="/ppt/notesSlides/notesSlide27.xml" ContentType="application/vnd.openxmlformats-officedocument.presentationml.notesSlide+xml"/>
  <Override PartName="/ppt/tags/tag52.xml" ContentType="application/vnd.openxmlformats-officedocument.presentationml.tags+xml"/>
  <Override PartName="/ppt/notesSlides/notesSlide28.xml" ContentType="application/vnd.openxmlformats-officedocument.presentationml.notesSlide+xml"/>
  <Override PartName="/ppt/ink/ink1.xml" ContentType="application/inkml+xml"/>
  <Override PartName="/ppt/tags/tag53.xml" ContentType="application/vnd.openxmlformats-officedocument.presentationml.tags+xml"/>
  <Override PartName="/ppt/notesSlides/notesSlide29.xml" ContentType="application/vnd.openxmlformats-officedocument.presentationml.notesSlide+xml"/>
  <Override PartName="/ppt/tags/tag54.xml" ContentType="application/vnd.openxmlformats-officedocument.presentationml.tags+xml"/>
  <Override PartName="/ppt/notesSlides/notesSlide30.xml" ContentType="application/vnd.openxmlformats-officedocument.presentationml.notesSlide+xml"/>
  <Override PartName="/ppt/tags/tag55.xml" ContentType="application/vnd.openxmlformats-officedocument.presentationml.tags+xml"/>
  <Override PartName="/ppt/notesSlides/notesSlide31.xml" ContentType="application/vnd.openxmlformats-officedocument.presentationml.notesSlide+xml"/>
  <Override PartName="/ppt/tags/tag56.xml" ContentType="application/vnd.openxmlformats-officedocument.presentationml.tags+xml"/>
  <Override PartName="/ppt/notesSlides/notesSlide32.xml" ContentType="application/vnd.openxmlformats-officedocument.presentationml.notesSlide+xml"/>
  <Override PartName="/ppt/tags/tag57.xml" ContentType="application/vnd.openxmlformats-officedocument.presentationml.tags+xml"/>
  <Override PartName="/ppt/notesSlides/notesSlide33.xml" ContentType="application/vnd.openxmlformats-officedocument.presentationml.notesSlide+xml"/>
  <Override PartName="/ppt/tags/tag58.xml" ContentType="application/vnd.openxmlformats-officedocument.presentationml.tags+xml"/>
  <Override PartName="/ppt/notesSlides/notesSlide34.xml" ContentType="application/vnd.openxmlformats-officedocument.presentationml.notesSlide+xml"/>
  <Override PartName="/ppt/tags/tag59.xml" ContentType="application/vnd.openxmlformats-officedocument.presentationml.tags+xml"/>
  <Override PartName="/ppt/notesSlides/notesSlide35.xml" ContentType="application/vnd.openxmlformats-officedocument.presentationml.notesSlide+xml"/>
  <Override PartName="/ppt/tags/tag60.xml" ContentType="application/vnd.openxmlformats-officedocument.presentationml.tags+xml"/>
  <Override PartName="/ppt/notesSlides/notesSlide36.xml" ContentType="application/vnd.openxmlformats-officedocument.presentationml.notesSlide+xml"/>
  <Override PartName="/ppt/tags/tag61.xml" ContentType="application/vnd.openxmlformats-officedocument.presentationml.tags+xml"/>
  <Override PartName="/ppt/notesSlides/notesSlide37.xml" ContentType="application/vnd.openxmlformats-officedocument.presentationml.notesSlide+xml"/>
  <Override PartName="/ppt/tags/tag62.xml" ContentType="application/vnd.openxmlformats-officedocument.presentationml.tags+xml"/>
  <Override PartName="/ppt/notesSlides/notesSlide38.xml" ContentType="application/vnd.openxmlformats-officedocument.presentationml.notesSlide+xml"/>
  <Override PartName="/ppt/tags/tag63.xml" ContentType="application/vnd.openxmlformats-officedocument.presentationml.tags+xml"/>
  <Override PartName="/ppt/notesSlides/notesSlide39.xml" ContentType="application/vnd.openxmlformats-officedocument.presentationml.notesSlide+xml"/>
  <Override PartName="/ppt/tags/tag64.xml" ContentType="application/vnd.openxmlformats-officedocument.presentationml.tags+xml"/>
  <Override PartName="/ppt/notesSlides/notesSlide40.xml" ContentType="application/vnd.openxmlformats-officedocument.presentationml.notesSlide+xml"/>
  <Override PartName="/ppt/tags/tag65.xml" ContentType="application/vnd.openxmlformats-officedocument.presentationml.tags+xml"/>
  <Override PartName="/ppt/notesSlides/notesSlide41.xml" ContentType="application/vnd.openxmlformats-officedocument.presentationml.notesSlide+xml"/>
  <Override PartName="/ppt/tags/tag66.xml" ContentType="application/vnd.openxmlformats-officedocument.presentationml.tags+xml"/>
  <Override PartName="/ppt/notesSlides/notesSlide42.xml" ContentType="application/vnd.openxmlformats-officedocument.presentationml.notesSlide+xml"/>
  <Override PartName="/ppt/tags/tag67.xml" ContentType="application/vnd.openxmlformats-officedocument.presentationml.tags+xml"/>
  <Override PartName="/ppt/notesSlides/notesSlide43.xml" ContentType="application/vnd.openxmlformats-officedocument.presentationml.notesSlide+xml"/>
  <Override PartName="/ppt/tags/tag68.xml" ContentType="application/vnd.openxmlformats-officedocument.presentationml.tags+xml"/>
  <Override PartName="/ppt/notesSlides/notesSlide44.xml" ContentType="application/vnd.openxmlformats-officedocument.presentationml.notesSlide+xml"/>
  <Override PartName="/ppt/tags/tag69.xml" ContentType="application/vnd.openxmlformats-officedocument.presentationml.tags+xml"/>
  <Override PartName="/ppt/notesSlides/notesSlide45.xml" ContentType="application/vnd.openxmlformats-officedocument.presentationml.notesSlide+xml"/>
  <Override PartName="/ppt/tags/tag70.xml" ContentType="application/vnd.openxmlformats-officedocument.presentationml.tags+xml"/>
  <Override PartName="/ppt/notesSlides/notesSlide46.xml" ContentType="application/vnd.openxmlformats-officedocument.presentationml.notesSlide+xml"/>
  <Override PartName="/ppt/tags/tag71.xml" ContentType="application/vnd.openxmlformats-officedocument.presentationml.tags+xml"/>
  <Override PartName="/ppt/notesSlides/notesSlide47.xml" ContentType="application/vnd.openxmlformats-officedocument.presentationml.notesSlide+xml"/>
  <Override PartName="/ppt/tags/tag72.xml" ContentType="application/vnd.openxmlformats-officedocument.presentationml.tags+xml"/>
  <Override PartName="/ppt/notesSlides/notesSlide48.xml" ContentType="application/vnd.openxmlformats-officedocument.presentationml.notesSlide+xml"/>
  <Override PartName="/ppt/tags/tag73.xml" ContentType="application/vnd.openxmlformats-officedocument.presentationml.tags+xml"/>
  <Override PartName="/ppt/notesSlides/notesSlide49.xml" ContentType="application/vnd.openxmlformats-officedocument.presentationml.notesSlide+xml"/>
  <Override PartName="/ppt/tags/tag74.xml" ContentType="application/vnd.openxmlformats-officedocument.presentationml.tags+xml"/>
  <Override PartName="/ppt/notesSlides/notesSlide50.xml" ContentType="application/vnd.openxmlformats-officedocument.presentationml.notesSlide+xml"/>
  <Override PartName="/ppt/tags/tag75.xml" ContentType="application/vnd.openxmlformats-officedocument.presentationml.tags+xml"/>
  <Override PartName="/ppt/notesSlides/notesSlide51.xml" ContentType="application/vnd.openxmlformats-officedocument.presentationml.notesSlide+xml"/>
  <Override PartName="/ppt/tags/tag76.xml" ContentType="application/vnd.openxmlformats-officedocument.presentationml.tags+xml"/>
  <Override PartName="/ppt/notesSlides/notesSlide52.xml" ContentType="application/vnd.openxmlformats-officedocument.presentationml.notesSlide+xml"/>
  <Override PartName="/ppt/tags/tag77.xml" ContentType="application/vnd.openxmlformats-officedocument.presentationml.tags+xml"/>
  <Override PartName="/ppt/notesSlides/notesSlide53.xml" ContentType="application/vnd.openxmlformats-officedocument.presentationml.notesSlide+xml"/>
  <Override PartName="/ppt/tags/tag78.xml" ContentType="application/vnd.openxmlformats-officedocument.presentationml.tags+xml"/>
  <Override PartName="/ppt/notesSlides/notesSlide54.xml" ContentType="application/vnd.openxmlformats-officedocument.presentationml.notesSlide+xml"/>
  <Override PartName="/ppt/tags/tag79.xml" ContentType="application/vnd.openxmlformats-officedocument.presentationml.tags+xml"/>
  <Override PartName="/ppt/notesSlides/notesSlide55.xml" ContentType="application/vnd.openxmlformats-officedocument.presentationml.notesSlide+xml"/>
  <Override PartName="/ppt/tags/tag80.xml" ContentType="application/vnd.openxmlformats-officedocument.presentationml.tags+xml"/>
  <Override PartName="/ppt/notesSlides/notesSlide56.xml" ContentType="application/vnd.openxmlformats-officedocument.presentationml.notesSlide+xml"/>
  <Override PartName="/ppt/tags/tag81.xml" ContentType="application/vnd.openxmlformats-officedocument.presentationml.tags+xml"/>
  <Override PartName="/ppt/notesSlides/notesSlide57.xml" ContentType="application/vnd.openxmlformats-officedocument.presentationml.notesSlide+xml"/>
  <Override PartName="/ppt/tags/tag82.xml" ContentType="application/vnd.openxmlformats-officedocument.presentationml.tags+xml"/>
  <Override PartName="/ppt/notesSlides/notesSlide58.xml" ContentType="application/vnd.openxmlformats-officedocument.presentationml.notesSlide+xml"/>
  <Override PartName="/ppt/tags/tag83.xml" ContentType="application/vnd.openxmlformats-officedocument.presentationml.tags+xml"/>
  <Override PartName="/ppt/notesSlides/notesSlide59.xml" ContentType="application/vnd.openxmlformats-officedocument.presentationml.notesSlide+xml"/>
  <Override PartName="/ppt/tags/tag84.xml" ContentType="application/vnd.openxmlformats-officedocument.presentationml.tags+xml"/>
  <Override PartName="/ppt/notesSlides/notesSlide60.xml" ContentType="application/vnd.openxmlformats-officedocument.presentationml.notesSlide+xml"/>
  <Override PartName="/ppt/tags/tag85.xml" ContentType="application/vnd.openxmlformats-officedocument.presentationml.tags+xml"/>
  <Override PartName="/ppt/notesSlides/notesSlide61.xml" ContentType="application/vnd.openxmlformats-officedocument.presentationml.notesSlide+xml"/>
  <Override PartName="/ppt/tags/tag86.xml" ContentType="application/vnd.openxmlformats-officedocument.presentationml.tags+xml"/>
  <Override PartName="/ppt/notesSlides/notesSlide62.xml" ContentType="application/vnd.openxmlformats-officedocument.presentationml.notesSlide+xml"/>
  <Override PartName="/ppt/tags/tag87.xml" ContentType="application/vnd.openxmlformats-officedocument.presentationml.tags+xml"/>
  <Override PartName="/ppt/notesSlides/notesSlide63.xml" ContentType="application/vnd.openxmlformats-officedocument.presentationml.notesSlide+xml"/>
  <Override PartName="/ppt/tags/tag88.xml" ContentType="application/vnd.openxmlformats-officedocument.presentationml.tags+xml"/>
  <Override PartName="/ppt/notesSlides/notesSlide64.xml" ContentType="application/vnd.openxmlformats-officedocument.presentationml.notesSlide+xml"/>
  <Override PartName="/ppt/tags/tag89.xml" ContentType="application/vnd.openxmlformats-officedocument.presentationml.tags+xml"/>
  <Override PartName="/ppt/notesSlides/notesSlide65.xml" ContentType="application/vnd.openxmlformats-officedocument.presentationml.notesSlide+xml"/>
  <Override PartName="/ppt/tags/tag90.xml" ContentType="application/vnd.openxmlformats-officedocument.presentationml.tags+xml"/>
  <Override PartName="/ppt/notesSlides/notesSlide66.xml" ContentType="application/vnd.openxmlformats-officedocument.presentationml.notesSlide+xml"/>
  <Override PartName="/ppt/tags/tag91.xml" ContentType="application/vnd.openxmlformats-officedocument.presentationml.tags+xml"/>
  <Override PartName="/ppt/notesSlides/notesSlide6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9"/>
  </p:notesMasterIdLst>
  <p:handoutMasterIdLst>
    <p:handoutMasterId r:id="rId130"/>
  </p:handoutMasterIdLst>
  <p:sldIdLst>
    <p:sldId id="385" r:id="rId2"/>
    <p:sldId id="378" r:id="rId3"/>
    <p:sldId id="450" r:id="rId4"/>
    <p:sldId id="428" r:id="rId5"/>
    <p:sldId id="377" r:id="rId6"/>
    <p:sldId id="422" r:id="rId7"/>
    <p:sldId id="451" r:id="rId8"/>
    <p:sldId id="423" r:id="rId9"/>
    <p:sldId id="439" r:id="rId10"/>
    <p:sldId id="438" r:id="rId11"/>
    <p:sldId id="431" r:id="rId12"/>
    <p:sldId id="393" r:id="rId13"/>
    <p:sldId id="440" r:id="rId14"/>
    <p:sldId id="411" r:id="rId15"/>
    <p:sldId id="402" r:id="rId16"/>
    <p:sldId id="459" r:id="rId17"/>
    <p:sldId id="403" r:id="rId18"/>
    <p:sldId id="465" r:id="rId19"/>
    <p:sldId id="413" r:id="rId20"/>
    <p:sldId id="416" r:id="rId21"/>
    <p:sldId id="404" r:id="rId22"/>
    <p:sldId id="468" r:id="rId23"/>
    <p:sldId id="406" r:id="rId24"/>
    <p:sldId id="437" r:id="rId25"/>
    <p:sldId id="420" r:id="rId26"/>
    <p:sldId id="421" r:id="rId27"/>
    <p:sldId id="483" r:id="rId28"/>
    <p:sldId id="383" r:id="rId29"/>
    <p:sldId id="407" r:id="rId30"/>
    <p:sldId id="469" r:id="rId31"/>
    <p:sldId id="470" r:id="rId32"/>
    <p:sldId id="471" r:id="rId33"/>
    <p:sldId id="441" r:id="rId34"/>
    <p:sldId id="460" r:id="rId35"/>
    <p:sldId id="424" r:id="rId36"/>
    <p:sldId id="425" r:id="rId37"/>
    <p:sldId id="408" r:id="rId38"/>
    <p:sldId id="472" r:id="rId39"/>
    <p:sldId id="442" r:id="rId40"/>
    <p:sldId id="461" r:id="rId41"/>
    <p:sldId id="426" r:id="rId42"/>
    <p:sldId id="435" r:id="rId43"/>
    <p:sldId id="457" r:id="rId44"/>
    <p:sldId id="484" r:id="rId45"/>
    <p:sldId id="482" r:id="rId46"/>
    <p:sldId id="443" r:id="rId47"/>
    <p:sldId id="401" r:id="rId48"/>
    <p:sldId id="445" r:id="rId49"/>
    <p:sldId id="414" r:id="rId50"/>
    <p:sldId id="473" r:id="rId51"/>
    <p:sldId id="415" r:id="rId52"/>
    <p:sldId id="386" r:id="rId53"/>
    <p:sldId id="395" r:id="rId54"/>
    <p:sldId id="481" r:id="rId55"/>
    <p:sldId id="474" r:id="rId56"/>
    <p:sldId id="384" r:id="rId57"/>
    <p:sldId id="387" r:id="rId58"/>
    <p:sldId id="447" r:id="rId59"/>
    <p:sldId id="389" r:id="rId60"/>
    <p:sldId id="467" r:id="rId61"/>
    <p:sldId id="390" r:id="rId62"/>
    <p:sldId id="463" r:id="rId63"/>
    <p:sldId id="432" r:id="rId64"/>
    <p:sldId id="391" r:id="rId65"/>
    <p:sldId id="476" r:id="rId66"/>
    <p:sldId id="475" r:id="rId67"/>
    <p:sldId id="410" r:id="rId68"/>
    <p:sldId id="477" r:id="rId69"/>
    <p:sldId id="455" r:id="rId70"/>
    <p:sldId id="464" r:id="rId71"/>
    <p:sldId id="449" r:id="rId72"/>
    <p:sldId id="466" r:id="rId73"/>
    <p:sldId id="485" r:id="rId74"/>
    <p:sldId id="398" r:id="rId75"/>
    <p:sldId id="399" r:id="rId76"/>
    <p:sldId id="478" r:id="rId77"/>
    <p:sldId id="400" r:id="rId78"/>
    <p:sldId id="480" r:id="rId79"/>
    <p:sldId id="479" r:id="rId80"/>
    <p:sldId id="448" r:id="rId81"/>
    <p:sldId id="429" r:id="rId82"/>
    <p:sldId id="430" r:id="rId83"/>
    <p:sldId id="392" r:id="rId84"/>
    <p:sldId id="454" r:id="rId85"/>
    <p:sldId id="436" r:id="rId86"/>
    <p:sldId id="278" r:id="rId87"/>
    <p:sldId id="296" r:id="rId88"/>
    <p:sldId id="323" r:id="rId89"/>
    <p:sldId id="324" r:id="rId90"/>
    <p:sldId id="325" r:id="rId91"/>
    <p:sldId id="326" r:id="rId92"/>
    <p:sldId id="327" r:id="rId93"/>
    <p:sldId id="331" r:id="rId94"/>
    <p:sldId id="334" r:id="rId95"/>
    <p:sldId id="335" r:id="rId96"/>
    <p:sldId id="336" r:id="rId97"/>
    <p:sldId id="372" r:id="rId98"/>
    <p:sldId id="373" r:id="rId99"/>
    <p:sldId id="374" r:id="rId100"/>
    <p:sldId id="375" r:id="rId101"/>
    <p:sldId id="376" r:id="rId102"/>
    <p:sldId id="340" r:id="rId103"/>
    <p:sldId id="258" r:id="rId104"/>
    <p:sldId id="291" r:id="rId105"/>
    <p:sldId id="341" r:id="rId106"/>
    <p:sldId id="300" r:id="rId107"/>
    <p:sldId id="301" r:id="rId108"/>
    <p:sldId id="289" r:id="rId109"/>
    <p:sldId id="299" r:id="rId110"/>
    <p:sldId id="294" r:id="rId111"/>
    <p:sldId id="284" r:id="rId112"/>
    <p:sldId id="342" r:id="rId113"/>
    <p:sldId id="343" r:id="rId114"/>
    <p:sldId id="268" r:id="rId115"/>
    <p:sldId id="267" r:id="rId116"/>
    <p:sldId id="266" r:id="rId117"/>
    <p:sldId id="269" r:id="rId118"/>
    <p:sldId id="270" r:id="rId119"/>
    <p:sldId id="271" r:id="rId120"/>
    <p:sldId id="265" r:id="rId121"/>
    <p:sldId id="344" r:id="rId122"/>
    <p:sldId id="345" r:id="rId123"/>
    <p:sldId id="307" r:id="rId124"/>
    <p:sldId id="308" r:id="rId125"/>
    <p:sldId id="317" r:id="rId126"/>
    <p:sldId id="349" r:id="rId127"/>
    <p:sldId id="313" r:id="rId128"/>
  </p:sldIdLst>
  <p:sldSz cx="12192000" cy="6858000"/>
  <p:notesSz cx="6858000" cy="9144000"/>
  <p:custDataLst>
    <p:tags r:id="rId1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inführung und Grundlagen" id="{95C44410-8B42-403A-AB0D-217824EA1C76}">
          <p14:sldIdLst>
            <p14:sldId id="385"/>
            <p14:sldId id="378"/>
            <p14:sldId id="450"/>
            <p14:sldId id="428"/>
            <p14:sldId id="377"/>
            <p14:sldId id="422"/>
            <p14:sldId id="451"/>
            <p14:sldId id="423"/>
            <p14:sldId id="439"/>
            <p14:sldId id="438"/>
            <p14:sldId id="431"/>
            <p14:sldId id="393"/>
            <p14:sldId id="440"/>
            <p14:sldId id="411"/>
            <p14:sldId id="402"/>
            <p14:sldId id="459"/>
            <p14:sldId id="403"/>
            <p14:sldId id="465"/>
            <p14:sldId id="413"/>
            <p14:sldId id="416"/>
            <p14:sldId id="404"/>
            <p14:sldId id="468"/>
            <p14:sldId id="406"/>
            <p14:sldId id="437"/>
            <p14:sldId id="420"/>
            <p14:sldId id="421"/>
            <p14:sldId id="483"/>
            <p14:sldId id="383"/>
            <p14:sldId id="407"/>
            <p14:sldId id="469"/>
            <p14:sldId id="470"/>
            <p14:sldId id="471"/>
            <p14:sldId id="441"/>
            <p14:sldId id="460"/>
            <p14:sldId id="424"/>
            <p14:sldId id="425"/>
            <p14:sldId id="408"/>
            <p14:sldId id="472"/>
            <p14:sldId id="442"/>
            <p14:sldId id="461"/>
            <p14:sldId id="426"/>
            <p14:sldId id="435"/>
            <p14:sldId id="457"/>
            <p14:sldId id="484"/>
            <p14:sldId id="482"/>
            <p14:sldId id="443"/>
            <p14:sldId id="401"/>
            <p14:sldId id="445"/>
            <p14:sldId id="414"/>
            <p14:sldId id="473"/>
            <p14:sldId id="415"/>
            <p14:sldId id="386"/>
            <p14:sldId id="395"/>
            <p14:sldId id="481"/>
            <p14:sldId id="474"/>
            <p14:sldId id="384"/>
            <p14:sldId id="387"/>
            <p14:sldId id="447"/>
            <p14:sldId id="389"/>
            <p14:sldId id="467"/>
            <p14:sldId id="390"/>
            <p14:sldId id="463"/>
            <p14:sldId id="432"/>
            <p14:sldId id="391"/>
            <p14:sldId id="476"/>
            <p14:sldId id="475"/>
            <p14:sldId id="410"/>
            <p14:sldId id="477"/>
            <p14:sldId id="455"/>
            <p14:sldId id="464"/>
            <p14:sldId id="449"/>
            <p14:sldId id="466"/>
            <p14:sldId id="485"/>
            <p14:sldId id="398"/>
            <p14:sldId id="399"/>
            <p14:sldId id="478"/>
            <p14:sldId id="400"/>
            <p14:sldId id="480"/>
            <p14:sldId id="479"/>
            <p14:sldId id="448"/>
            <p14:sldId id="429"/>
            <p14:sldId id="430"/>
            <p14:sldId id="392"/>
            <p14:sldId id="454"/>
            <p14:sldId id="436"/>
            <p14:sldId id="278"/>
          </p14:sldIdLst>
        </p14:section>
        <p14:section name="Formen, Icons und Symbole" id="{DDC99B94-A4AF-4E8B-B429-C98FB4C2F1C7}">
          <p14:sldIdLst>
            <p14:sldId id="296"/>
            <p14:sldId id="323"/>
            <p14:sldId id="324"/>
            <p14:sldId id="325"/>
            <p14:sldId id="326"/>
            <p14:sldId id="327"/>
            <p14:sldId id="331"/>
          </p14:sldIdLst>
        </p14:section>
        <p14:section name="Agenda" id="{6181AC3D-778B-45B1-891E-E57FABC51B41}">
          <p14:sldIdLst>
            <p14:sldId id="334"/>
            <p14:sldId id="335"/>
            <p14:sldId id="336"/>
            <p14:sldId id="372"/>
            <p14:sldId id="373"/>
            <p14:sldId id="374"/>
            <p14:sldId id="375"/>
            <p14:sldId id="376"/>
          </p14:sldIdLst>
        </p14:section>
        <p14:section name="Keymessage" id="{ADC44A9D-6F37-4304-A9B6-60A1A8501E26}">
          <p14:sldIdLst>
            <p14:sldId id="340"/>
          </p14:sldIdLst>
        </p14:section>
        <p14:section name="Tabellen" id="{7FC7EFA0-CFC0-4B66-9C3F-267EBD084BE4}">
          <p14:sldIdLst>
            <p14:sldId id="258"/>
            <p14:sldId id="291"/>
            <p14:sldId id="341"/>
          </p14:sldIdLst>
        </p14:section>
        <p14:section name="Prozesse" id="{0DCA7C3B-EE66-46D4-B9EB-353051CF8C23}">
          <p14:sldIdLst>
            <p14:sldId id="300"/>
            <p14:sldId id="301"/>
            <p14:sldId id="289"/>
            <p14:sldId id="299"/>
            <p14:sldId id="294"/>
          </p14:sldIdLst>
        </p14:section>
        <p14:section name="Ziele und Next Steps" id="{562E3846-725A-4E3D-B604-9E8B61E109FD}">
          <p14:sldIdLst>
            <p14:sldId id="284"/>
            <p14:sldId id="342"/>
            <p14:sldId id="343"/>
          </p14:sldIdLst>
        </p14:section>
        <p14:section name="Mehrspaltig und Matrix" id="{8D5F7B64-09F0-4CDE-8773-8EDDEBF4EEF1}">
          <p14:sldIdLst>
            <p14:sldId id="268"/>
            <p14:sldId id="267"/>
            <p14:sldId id="266"/>
            <p14:sldId id="269"/>
            <p14:sldId id="270"/>
            <p14:sldId id="271"/>
            <p14:sldId id="265"/>
          </p14:sldIdLst>
        </p14:section>
        <p14:section name="Folien mit Ergebnispfeil" id="{C18F3458-A3FF-4323-8893-9E3659EBA2FD}">
          <p14:sldIdLst>
            <p14:sldId id="344"/>
            <p14:sldId id="345"/>
          </p14:sldIdLst>
        </p14:section>
        <p14:section name="Mockups" id="{F10ADECF-84AD-4119-9FA9-F79877E0A7CF}">
          <p14:sldIdLst>
            <p14:sldId id="307"/>
            <p14:sldId id="308"/>
            <p14:sldId id="317"/>
            <p14:sldId id="349"/>
            <p14:sldId id="31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795" autoAdjust="0"/>
    <p:restoredTop sz="94660"/>
  </p:normalViewPr>
  <p:slideViewPr>
    <p:cSldViewPr snapToGrid="0" showGuides="1">
      <p:cViewPr varScale="1">
        <p:scale>
          <a:sx n="128" d="100"/>
          <a:sy n="128" d="100"/>
        </p:scale>
        <p:origin x="200" y="3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9184"/>
    </p:cViewPr>
  </p:sorterViewPr>
  <p:notesViewPr>
    <p:cSldViewPr snapToGrid="0" showGuides="1">
      <p:cViewPr>
        <p:scale>
          <a:sx n="75" d="100"/>
          <a:sy n="75" d="100"/>
        </p:scale>
        <p:origin x="2964" y="2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theme" Target="theme/theme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notesMaster" Target="notesMasters/notesMaster1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handoutMaster" Target="handoutMasters/handoutMaster1.xml"/><Relationship Id="rId135" Type="http://schemas.openxmlformats.org/officeDocument/2006/relationships/tableStyles" Target="tableStyles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tags" Target="tags/tag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presProps" Target="presProps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AB4CC77-1172-4245-B688-46ACC58676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DDAED3E-3C91-4F91-AD11-D06B39C57A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59FE11-3220-458D-A9D9-E7D8AC5A99F2}" type="datetimeFigureOut">
              <a:rPr lang="en-US" smtClean="0"/>
              <a:t>5/9/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0E2377-E2E8-45C9-91C9-3A847F0D33B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23ABA9-E8D4-432B-A37A-E391F47561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19B06-7023-4DAA-8F40-2F60920D09C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1033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in"/>
          <inkml:channel name="Y" type="integer" max="32767" units="in"/>
          <inkml:channel name="F" type="integer" max="32767" units="dev"/>
        </inkml:traceFormat>
        <inkml:channelProperties>
          <inkml:channelProperty channel="X" name="resolution" value="3971.75732" units="1/in"/>
          <inkml:channelProperty channel="Y" name="resolution" value="5295.24854" units="1/in"/>
          <inkml:channelProperty channel="F" name="resolution" value="0" units="1/dev"/>
        </inkml:channelProperties>
      </inkml:inkSource>
      <inkml:timestamp xml:id="ts0" timeString="2021-07-13T11:20:46.596"/>
    </inkml:context>
    <inkml:brush xml:id="br0">
      <inkml:brushProperty name="width" value="0.07056" units="cm"/>
      <inkml:brushProperty name="height" value="0.07056" units="cm"/>
      <inkml:brushProperty name="color" value="#3F4846"/>
      <inkml:brushProperty name="fitToCurve" value="1"/>
    </inkml:brush>
  </inkml:definitions>
  <inkml:trace contextRef="#ctx0" brushRef="#br0">2052 246 5676,'14'-26'5289,"-13"11"-516,-1 1-258,-3 0-1677,-8-3-2580,0 2-387,-4 0 129,-4 1-129,-3 3 129,-3-1 0,-5 1 0,-3 0 129,-7 0 0,-2 1 0,-6 0 129,1 2 0,-7-2-129,0 4 129,-5 0 0,1 4 0,-3-2 0,-1 4-129,-1 0 0,-3 1 0,-2 4-129,-1 1-129,-5 3 129,1 1-129,-2 2 129,0 2 0,1 3 0,1 1 0,3 3 0,1 0 129,4 2-258,3 3 129,5 0 0,4 1 0,2 0-129,3 1 129,7 1 0,4 0 0,5-1 0,5 2 0,6-1 129,4 2-129,6 0 0,5-1 129,6 1-258,2-2 258,10 1-258,4-2 129,5 0 0,5-1 0,6-3 0,4 0-129,5-1 129,4 0 0,6-1 0,2-2 0,8-2 0,4-1 129,6 0-129,4-3 258,4-2-129,4-3 0,3-2 0,5-3 0,3-2 129,0-2-129,1-5 0,1-3-129,-2-3 129,1-4 0,-5-3-129,-3-2 0,-9-3 129,-4-2 0,-10-3 129,-6 0 0,-10-3 0,-9-1 0,-10-2 0,-8-1 0,-10-1 0,-8 0-129,-5 0-129,-10-2 129,-8 3-258,-9-1 0,-8 2-129,-12 1-129,-8 3 0,-12 0-387,-7 9-1161,-13-2-3225,-11 4 0,-8 4-387,-9 2-258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BC9BAB90-364F-46C8-BAB4-E7E2FF04EF57}" type="datetimeFigureOut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902CFC06-94EA-4136-9CE5-0BE03E1D131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3063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4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90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98066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79057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4366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52628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04699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8520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31602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94716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56293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93582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92816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379893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059099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74928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674088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280245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516169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18939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824431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900289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472969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1038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957589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12411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433731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73776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395635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010719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175700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000322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752377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924463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29229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68045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563580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41195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163127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505459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653031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079978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201640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1205079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630659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35349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471718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313568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516122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698270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5961655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6497939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216344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5860973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297113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1912107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3892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27761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041296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9145324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4578443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1041827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809727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2949668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1233885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09491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50925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65213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78684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55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hteck 49">
            <a:extLst>
              <a:ext uri="{FF2B5EF4-FFF2-40B4-BE49-F238E27FC236}">
                <a16:creationId xmlns:a16="http://schemas.microsoft.com/office/drawing/2014/main" id="{59C71922-AFC6-4AAC-9441-AB647BE0963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9F91AF84-CE6A-4380-BFCA-BFA8CFEBC677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52186502-0695-4C7C-ADF0-6391E14512E7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726074F6-1968-4AEC-BA38-2AC41DB10BAA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68BFF12C-5502-4471-91B2-63AE3EB563D2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66E2BEF9-FC20-467F-81F5-1170C6AF62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76" name="Grafik 7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22021C4D-425D-4A6B-BB05-52CAA2D64C3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78" name="Bildplatzhalter 77">
            <a:extLst>
              <a:ext uri="{FF2B5EF4-FFF2-40B4-BE49-F238E27FC236}">
                <a16:creationId xmlns:a16="http://schemas.microsoft.com/office/drawing/2014/main" id="{E5620436-026F-43E5-A82D-9000389363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5" y="0"/>
            <a:ext cx="12191997" cy="6858000"/>
          </a:xfrm>
          <a:custGeom>
            <a:avLst/>
            <a:gdLst>
              <a:gd name="connsiteX0" fmla="*/ 9190375 w 12191997"/>
              <a:gd name="connsiteY0" fmla="*/ 5251451 h 6858000"/>
              <a:gd name="connsiteX1" fmla="*/ 9190375 w 12191997"/>
              <a:gd name="connsiteY1" fmla="*/ 5527239 h 6858000"/>
              <a:gd name="connsiteX2" fmla="*/ 8628626 w 12191997"/>
              <a:gd name="connsiteY2" fmla="*/ 5527239 h 6858000"/>
              <a:gd name="connsiteX3" fmla="*/ 8628626 w 12191997"/>
              <a:gd name="connsiteY3" fmla="*/ 5888929 h 6858000"/>
              <a:gd name="connsiteX4" fmla="*/ 9427735 w 12191997"/>
              <a:gd name="connsiteY4" fmla="*/ 5888929 h 6858000"/>
              <a:gd name="connsiteX5" fmla="*/ 9427735 w 12191997"/>
              <a:gd name="connsiteY5" fmla="*/ 6165850 h 6858000"/>
              <a:gd name="connsiteX6" fmla="*/ 9972670 w 12191997"/>
              <a:gd name="connsiteY6" fmla="*/ 6165850 h 6858000"/>
              <a:gd name="connsiteX7" fmla="*/ 9991969 w 12191997"/>
              <a:gd name="connsiteY7" fmla="*/ 6165850 h 6858000"/>
              <a:gd name="connsiteX8" fmla="*/ 9997068 w 12191997"/>
              <a:gd name="connsiteY8" fmla="*/ 6165850 h 6858000"/>
              <a:gd name="connsiteX9" fmla="*/ 10160790 w 12191997"/>
              <a:gd name="connsiteY9" fmla="*/ 6165850 h 6858000"/>
              <a:gd name="connsiteX10" fmla="*/ 12191995 w 12191997"/>
              <a:gd name="connsiteY10" fmla="*/ 6165850 h 6858000"/>
              <a:gd name="connsiteX11" fmla="*/ 12191995 w 12191997"/>
              <a:gd name="connsiteY11" fmla="*/ 5251451 h 6858000"/>
              <a:gd name="connsiteX12" fmla="*/ 10160790 w 12191997"/>
              <a:gd name="connsiteY12" fmla="*/ 5251451 h 6858000"/>
              <a:gd name="connsiteX13" fmla="*/ 9997068 w 12191997"/>
              <a:gd name="connsiteY13" fmla="*/ 5251451 h 6858000"/>
              <a:gd name="connsiteX14" fmla="*/ 9991970 w 12191997"/>
              <a:gd name="connsiteY14" fmla="*/ 5251451 h 6858000"/>
              <a:gd name="connsiteX15" fmla="*/ 9972670 w 12191997"/>
              <a:gd name="connsiteY15" fmla="*/ 5251451 h 6858000"/>
              <a:gd name="connsiteX16" fmla="*/ 0 w 12191997"/>
              <a:gd name="connsiteY16" fmla="*/ 0 h 6858000"/>
              <a:gd name="connsiteX17" fmla="*/ 12191997 w 12191997"/>
              <a:gd name="connsiteY17" fmla="*/ 0 h 6858000"/>
              <a:gd name="connsiteX18" fmla="*/ 12191997 w 12191997"/>
              <a:gd name="connsiteY18" fmla="*/ 6858000 h 6858000"/>
              <a:gd name="connsiteX19" fmla="*/ 0 w 12191997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1997" h="6858000">
                <a:moveTo>
                  <a:pt x="9190375" y="5251451"/>
                </a:moveTo>
                <a:lnTo>
                  <a:pt x="9190375" y="5527239"/>
                </a:lnTo>
                <a:lnTo>
                  <a:pt x="8628626" y="5527239"/>
                </a:lnTo>
                <a:lnTo>
                  <a:pt x="8628626" y="5888929"/>
                </a:lnTo>
                <a:lnTo>
                  <a:pt x="9427735" y="5888929"/>
                </a:lnTo>
                <a:lnTo>
                  <a:pt x="9427735" y="6165850"/>
                </a:lnTo>
                <a:lnTo>
                  <a:pt x="9972670" y="6165850"/>
                </a:lnTo>
                <a:lnTo>
                  <a:pt x="9991969" y="6165850"/>
                </a:lnTo>
                <a:lnTo>
                  <a:pt x="9997068" y="6165850"/>
                </a:lnTo>
                <a:lnTo>
                  <a:pt x="10160790" y="6165850"/>
                </a:lnTo>
                <a:lnTo>
                  <a:pt x="12191995" y="6165850"/>
                </a:lnTo>
                <a:lnTo>
                  <a:pt x="12191995" y="5251451"/>
                </a:lnTo>
                <a:lnTo>
                  <a:pt x="10160790" y="5251451"/>
                </a:lnTo>
                <a:lnTo>
                  <a:pt x="9997068" y="5251451"/>
                </a:lnTo>
                <a:lnTo>
                  <a:pt x="9991970" y="5251451"/>
                </a:lnTo>
                <a:lnTo>
                  <a:pt x="9972670" y="5251451"/>
                </a:lnTo>
                <a:close/>
                <a:moveTo>
                  <a:pt x="0" y="0"/>
                </a:moveTo>
                <a:lnTo>
                  <a:pt x="12191997" y="0"/>
                </a:lnTo>
                <a:lnTo>
                  <a:pt x="12191997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FB72F7FD-3031-4DFA-A693-0D95418E9051}" type="datetime1">
              <a:rPr lang="de-DE" smtClean="0"/>
              <a:pPr/>
              <a:t>09.05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5276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180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F913D2-D3D4-43A2-9209-032C9D4F45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7339676-53B9-472C-AE36-FCC3A776C81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C7AECB6C-AA03-46B7-8FCA-432594FDDDA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A219364-1D52-42F6-B745-936E7843143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0C01603-A456-43F1-9F4B-471C9855572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2150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Marg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8907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>
            <a:extLst>
              <a:ext uri="{FF2B5EF4-FFF2-40B4-BE49-F238E27FC236}">
                <a16:creationId xmlns:a16="http://schemas.microsoft.com/office/drawing/2014/main" id="{7E46D37F-CB0A-4D83-BFF7-B7391EDC473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67533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9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9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EF3E733-E274-42A6-AC66-E631779850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4F5BF8FD-1887-4210-A691-568801A1F445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FE6A902-FA97-4947-9F2A-26EE9B5C3EE0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8A88D212-1526-4A75-8A7F-D07A43F9986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A94E53A2-B533-4EFA-B343-FA0631C71E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8494005" y="1592263"/>
            <a:ext cx="2966158" cy="4716461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B3E0AEFB-AB3B-40CA-B62A-FFE8604A72E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5E6973D-77DA-4EA8-A6E1-C61BCDC3D8C8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A616933-E294-45EA-A061-46E386BBD13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7311294-1DC7-4FA6-9394-9AB42866EF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70928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Kernau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1837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>
            <a:extLst>
              <a:ext uri="{FF2B5EF4-FFF2-40B4-BE49-F238E27FC236}">
                <a16:creationId xmlns:a16="http://schemas.microsoft.com/office/drawing/2014/main" id="{22C65BE4-BC29-4E74-863D-BFA08B5B8988}"/>
              </a:ext>
            </a:extLst>
          </p:cNvPr>
          <p:cNvSpPr/>
          <p:nvPr userDrawn="1"/>
        </p:nvSpPr>
        <p:spPr bwMode="gray">
          <a:xfrm>
            <a:off x="-10747" y="4516916"/>
            <a:ext cx="8135164" cy="23441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10836272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2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9" y="1592262"/>
            <a:ext cx="5238136" cy="2674937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07F26C-0334-4D27-BE72-02EB524E3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22025" y="1592262"/>
            <a:ext cx="5238136" cy="267493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2F21158-8DDE-4392-8576-C4E4D8F733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4806000"/>
            <a:ext cx="7120970" cy="738664"/>
          </a:xfrm>
        </p:spPr>
        <p:txBody>
          <a:bodyPr>
            <a:no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Wichtige Kernaussage</a:t>
            </a:r>
            <a:br>
              <a:rPr lang="de-DE" dirty="0"/>
            </a:br>
            <a:r>
              <a:rPr lang="de-DE" dirty="0"/>
              <a:t>Max. 3-zeilig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BC9D6FB-4474-4AA1-8133-F6F91EFCCF0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D9694371-55F4-4A5D-8B62-3C752AF581F2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C47C5E8-BBA1-4AA6-876C-9E94B281B0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D144EBFC-5571-472D-82C3-CFDBD5F50BE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06816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600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6994508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8630433" y="1592263"/>
            <a:ext cx="2829727" cy="4716462"/>
          </a:xfrm>
        </p:spPr>
        <p:txBody>
          <a:bodyPr anchor="ctr"/>
          <a:lstStyle>
            <a:lvl1pPr marL="0" indent="0" rtl="0">
              <a:spcAft>
                <a:spcPts val="0"/>
              </a:spcAft>
              <a:buNone/>
              <a:defRPr sz="1800">
                <a:latin typeface="+mj-lt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41DCF232-55BB-42D1-9470-B175F9DFBE9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24417" y="1592262"/>
            <a:ext cx="0" cy="471646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0BF9AEC-BAE4-479D-ADFA-4AC46CC89E3F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945823" y="3771891"/>
            <a:ext cx="357187" cy="357187"/>
            <a:chOff x="7566263" y="3771891"/>
            <a:chExt cx="357187" cy="357187"/>
          </a:xfrm>
        </p:grpSpPr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DB417A0B-A319-4D9B-9D6F-0A804AFF14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66263" y="3771891"/>
              <a:ext cx="357187" cy="357187"/>
            </a:xfrm>
            <a:prstGeom prst="rect">
              <a:avLst/>
            </a:prstGeom>
            <a:solidFill>
              <a:schemeClr val="accent1"/>
            </a:solidFill>
            <a:ln w="254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dirty="0"/>
            </a:p>
          </p:txBody>
        </p: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CC73A1C5-74EE-4A53-948A-92351B2B993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2493" y="3855500"/>
              <a:ext cx="104727" cy="189970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223FD2D0-F9D5-4C87-A572-0E0FE38C589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2D7B5D8F-4858-4D50-ADBF-ABD720F5F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979F7CC-FC00-44C5-96B9-60ABCC5E9D5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06DCC780-72F2-4856-8BEA-DE3302D0A2E8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8058F98-94C9-4646-AB9D-6F3ABB33F6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5D3DA55-D268-4B9A-B765-2855A97FA80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7122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365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2"/>
            <a:ext cx="10836275" cy="265801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996915"/>
            <a:ext cx="10836275" cy="1311809"/>
          </a:xfrm>
        </p:spPr>
        <p:txBody>
          <a:bodyPr/>
          <a:lstStyle>
            <a:lvl1pPr marL="0" indent="0" algn="ctr" rtl="0">
              <a:spcAft>
                <a:spcPts val="0"/>
              </a:spcAft>
              <a:buNone/>
              <a:defRPr sz="1800"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19EDC90-1A57-4CDB-A01B-FBDB6DE1375B}"/>
              </a:ext>
            </a:extLst>
          </p:cNvPr>
          <p:cNvGrpSpPr/>
          <p:nvPr userDrawn="1"/>
        </p:nvGrpSpPr>
        <p:grpSpPr bwMode="gray">
          <a:xfrm>
            <a:off x="623888" y="4445000"/>
            <a:ext cx="10836272" cy="357187"/>
            <a:chOff x="623888" y="3771900"/>
            <a:chExt cx="10836272" cy="357187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41DCF232-55BB-42D1-9470-B175F9DFBE96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H="1">
              <a:off x="623888" y="3950494"/>
              <a:ext cx="10836272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50BF9AEC-BAE4-479D-ADFA-4AC46CC89E3F}"/>
                </a:ext>
              </a:extLst>
            </p:cNvPr>
            <p:cNvGrpSpPr>
              <a:grpSpLocks/>
            </p:cNvGrpSpPr>
            <p:nvPr userDrawn="1"/>
          </p:nvGrpSpPr>
          <p:grpSpPr bwMode="gray">
            <a:xfrm rot="5400000">
              <a:off x="5863430" y="3771900"/>
              <a:ext cx="357187" cy="357187"/>
              <a:chOff x="7566263" y="3771891"/>
              <a:chExt cx="357187" cy="357187"/>
            </a:xfrm>
          </p:grpSpPr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DB417A0B-A319-4D9B-9D6F-0A804AFF142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66263" y="3771891"/>
                <a:ext cx="357187" cy="357187"/>
              </a:xfrm>
              <a:prstGeom prst="rect">
                <a:avLst/>
              </a:prstGeom>
              <a:solidFill>
                <a:schemeClr val="accent1"/>
              </a:solidFill>
              <a:ln w="254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CC73A1C5-74EE-4A53-948A-92351B2B993A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7692493" y="3855500"/>
                <a:ext cx="104727" cy="189970"/>
                <a:chOff x="804153" y="5133476"/>
                <a:chExt cx="68263" cy="123826"/>
              </a:xfrm>
              <a:solidFill>
                <a:schemeClr val="bg1"/>
              </a:solidFill>
            </p:grpSpPr>
            <p:sp>
              <p:nvSpPr>
                <p:cNvPr id="26" name="Freeform 6">
                  <a:extLst>
                    <a:ext uri="{FF2B5EF4-FFF2-40B4-BE49-F238E27FC236}">
                      <a16:creationId xmlns:a16="http://schemas.microsoft.com/office/drawing/2014/main" id="{223FD2D0-F9D5-4C87-A572-0E0FE38C589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5740" y="5189039"/>
                  <a:ext cx="66675" cy="68263"/>
                </a:xfrm>
                <a:custGeom>
                  <a:avLst/>
                  <a:gdLst>
                    <a:gd name="T0" fmla="*/ 496 w 549"/>
                    <a:gd name="T1" fmla="*/ 0 h 553"/>
                    <a:gd name="T2" fmla="*/ 510 w 549"/>
                    <a:gd name="T3" fmla="*/ 0 h 553"/>
                    <a:gd name="T4" fmla="*/ 524 w 549"/>
                    <a:gd name="T5" fmla="*/ 4 h 553"/>
                    <a:gd name="T6" fmla="*/ 536 w 549"/>
                    <a:gd name="T7" fmla="*/ 13 h 553"/>
                    <a:gd name="T8" fmla="*/ 544 w 549"/>
                    <a:gd name="T9" fmla="*/ 25 h 553"/>
                    <a:gd name="T10" fmla="*/ 549 w 549"/>
                    <a:gd name="T11" fmla="*/ 39 h 553"/>
                    <a:gd name="T12" fmla="*/ 549 w 549"/>
                    <a:gd name="T13" fmla="*/ 53 h 553"/>
                    <a:gd name="T14" fmla="*/ 544 w 549"/>
                    <a:gd name="T15" fmla="*/ 66 h 553"/>
                    <a:gd name="T16" fmla="*/ 536 w 549"/>
                    <a:gd name="T17" fmla="*/ 79 h 553"/>
                    <a:gd name="T18" fmla="*/ 78 w 549"/>
                    <a:gd name="T19" fmla="*/ 539 h 553"/>
                    <a:gd name="T20" fmla="*/ 68 w 549"/>
                    <a:gd name="T21" fmla="*/ 547 h 553"/>
                    <a:gd name="T22" fmla="*/ 56 w 549"/>
                    <a:gd name="T23" fmla="*/ 552 h 553"/>
                    <a:gd name="T24" fmla="*/ 45 w 549"/>
                    <a:gd name="T25" fmla="*/ 553 h 553"/>
                    <a:gd name="T26" fmla="*/ 34 w 549"/>
                    <a:gd name="T27" fmla="*/ 552 h 553"/>
                    <a:gd name="T28" fmla="*/ 22 w 549"/>
                    <a:gd name="T29" fmla="*/ 547 h 553"/>
                    <a:gd name="T30" fmla="*/ 13 w 549"/>
                    <a:gd name="T31" fmla="*/ 539 h 553"/>
                    <a:gd name="T32" fmla="*/ 4 w 549"/>
                    <a:gd name="T33" fmla="*/ 527 h 553"/>
                    <a:gd name="T34" fmla="*/ 0 w 549"/>
                    <a:gd name="T35" fmla="*/ 513 h 553"/>
                    <a:gd name="T36" fmla="*/ 0 w 549"/>
                    <a:gd name="T37" fmla="*/ 499 h 553"/>
                    <a:gd name="T38" fmla="*/ 4 w 549"/>
                    <a:gd name="T39" fmla="*/ 485 h 553"/>
                    <a:gd name="T40" fmla="*/ 13 w 549"/>
                    <a:gd name="T41" fmla="*/ 473 h 553"/>
                    <a:gd name="T42" fmla="*/ 470 w 549"/>
                    <a:gd name="T43" fmla="*/ 13 h 553"/>
                    <a:gd name="T44" fmla="*/ 482 w 549"/>
                    <a:gd name="T45" fmla="*/ 4 h 553"/>
                    <a:gd name="T46" fmla="*/ 496 w 549"/>
                    <a:gd name="T47" fmla="*/ 0 h 5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49" h="553">
                      <a:moveTo>
                        <a:pt x="496" y="0"/>
                      </a:moveTo>
                      <a:lnTo>
                        <a:pt x="510" y="0"/>
                      </a:lnTo>
                      <a:lnTo>
                        <a:pt x="524" y="4"/>
                      </a:lnTo>
                      <a:lnTo>
                        <a:pt x="536" y="13"/>
                      </a:lnTo>
                      <a:lnTo>
                        <a:pt x="544" y="25"/>
                      </a:lnTo>
                      <a:lnTo>
                        <a:pt x="549" y="39"/>
                      </a:lnTo>
                      <a:lnTo>
                        <a:pt x="549" y="53"/>
                      </a:lnTo>
                      <a:lnTo>
                        <a:pt x="544" y="66"/>
                      </a:lnTo>
                      <a:lnTo>
                        <a:pt x="536" y="79"/>
                      </a:lnTo>
                      <a:lnTo>
                        <a:pt x="78" y="539"/>
                      </a:lnTo>
                      <a:lnTo>
                        <a:pt x="68" y="547"/>
                      </a:lnTo>
                      <a:lnTo>
                        <a:pt x="56" y="552"/>
                      </a:lnTo>
                      <a:lnTo>
                        <a:pt x="45" y="553"/>
                      </a:lnTo>
                      <a:lnTo>
                        <a:pt x="34" y="552"/>
                      </a:lnTo>
                      <a:lnTo>
                        <a:pt x="22" y="547"/>
                      </a:lnTo>
                      <a:lnTo>
                        <a:pt x="13" y="539"/>
                      </a:lnTo>
                      <a:lnTo>
                        <a:pt x="4" y="527"/>
                      </a:lnTo>
                      <a:lnTo>
                        <a:pt x="0" y="513"/>
                      </a:lnTo>
                      <a:lnTo>
                        <a:pt x="0" y="499"/>
                      </a:lnTo>
                      <a:lnTo>
                        <a:pt x="4" y="485"/>
                      </a:lnTo>
                      <a:lnTo>
                        <a:pt x="13" y="473"/>
                      </a:lnTo>
                      <a:lnTo>
                        <a:pt x="470" y="13"/>
                      </a:lnTo>
                      <a:lnTo>
                        <a:pt x="482" y="4"/>
                      </a:lnTo>
                      <a:lnTo>
                        <a:pt x="496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  <p:sp>
              <p:nvSpPr>
                <p:cNvPr id="27" name="Freeform 7">
                  <a:extLst>
                    <a:ext uri="{FF2B5EF4-FFF2-40B4-BE49-F238E27FC236}">
                      <a16:creationId xmlns:a16="http://schemas.microsoft.com/office/drawing/2014/main" id="{2D7B5D8F-4858-4D50-ADBF-ABD720F5F5C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4153" y="5133476"/>
                  <a:ext cx="68263" cy="66675"/>
                </a:xfrm>
                <a:custGeom>
                  <a:avLst/>
                  <a:gdLst>
                    <a:gd name="T0" fmla="*/ 39 w 554"/>
                    <a:gd name="T1" fmla="*/ 0 h 557"/>
                    <a:gd name="T2" fmla="*/ 53 w 554"/>
                    <a:gd name="T3" fmla="*/ 0 h 557"/>
                    <a:gd name="T4" fmla="*/ 67 w 554"/>
                    <a:gd name="T5" fmla="*/ 4 h 557"/>
                    <a:gd name="T6" fmla="*/ 78 w 554"/>
                    <a:gd name="T7" fmla="*/ 13 h 557"/>
                    <a:gd name="T8" fmla="*/ 540 w 554"/>
                    <a:gd name="T9" fmla="*/ 478 h 557"/>
                    <a:gd name="T10" fmla="*/ 549 w 554"/>
                    <a:gd name="T11" fmla="*/ 490 h 557"/>
                    <a:gd name="T12" fmla="*/ 554 w 554"/>
                    <a:gd name="T13" fmla="*/ 503 h 557"/>
                    <a:gd name="T14" fmla="*/ 554 w 554"/>
                    <a:gd name="T15" fmla="*/ 518 h 557"/>
                    <a:gd name="T16" fmla="*/ 549 w 554"/>
                    <a:gd name="T17" fmla="*/ 531 h 557"/>
                    <a:gd name="T18" fmla="*/ 540 w 554"/>
                    <a:gd name="T19" fmla="*/ 544 h 557"/>
                    <a:gd name="T20" fmla="*/ 531 w 554"/>
                    <a:gd name="T21" fmla="*/ 551 h 557"/>
                    <a:gd name="T22" fmla="*/ 519 w 554"/>
                    <a:gd name="T23" fmla="*/ 556 h 557"/>
                    <a:gd name="T24" fmla="*/ 508 w 554"/>
                    <a:gd name="T25" fmla="*/ 557 h 557"/>
                    <a:gd name="T26" fmla="*/ 497 w 554"/>
                    <a:gd name="T27" fmla="*/ 556 h 557"/>
                    <a:gd name="T28" fmla="*/ 485 w 554"/>
                    <a:gd name="T29" fmla="*/ 551 h 557"/>
                    <a:gd name="T30" fmla="*/ 475 w 554"/>
                    <a:gd name="T31" fmla="*/ 544 h 557"/>
                    <a:gd name="T32" fmla="*/ 13 w 554"/>
                    <a:gd name="T33" fmla="*/ 79 h 557"/>
                    <a:gd name="T34" fmla="*/ 5 w 554"/>
                    <a:gd name="T35" fmla="*/ 66 h 557"/>
                    <a:gd name="T36" fmla="*/ 0 w 554"/>
                    <a:gd name="T37" fmla="*/ 53 h 557"/>
                    <a:gd name="T38" fmla="*/ 0 w 554"/>
                    <a:gd name="T39" fmla="*/ 39 h 557"/>
                    <a:gd name="T40" fmla="*/ 5 w 554"/>
                    <a:gd name="T41" fmla="*/ 25 h 557"/>
                    <a:gd name="T42" fmla="*/ 13 w 554"/>
                    <a:gd name="T43" fmla="*/ 13 h 557"/>
                    <a:gd name="T44" fmla="*/ 25 w 554"/>
                    <a:gd name="T45" fmla="*/ 4 h 557"/>
                    <a:gd name="T46" fmla="*/ 39 w 554"/>
                    <a:gd name="T47" fmla="*/ 0 h 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54" h="557">
                      <a:moveTo>
                        <a:pt x="39" y="0"/>
                      </a:moveTo>
                      <a:lnTo>
                        <a:pt x="53" y="0"/>
                      </a:lnTo>
                      <a:lnTo>
                        <a:pt x="67" y="4"/>
                      </a:lnTo>
                      <a:lnTo>
                        <a:pt x="78" y="13"/>
                      </a:lnTo>
                      <a:lnTo>
                        <a:pt x="540" y="478"/>
                      </a:lnTo>
                      <a:lnTo>
                        <a:pt x="549" y="490"/>
                      </a:lnTo>
                      <a:lnTo>
                        <a:pt x="554" y="503"/>
                      </a:lnTo>
                      <a:lnTo>
                        <a:pt x="554" y="518"/>
                      </a:lnTo>
                      <a:lnTo>
                        <a:pt x="549" y="531"/>
                      </a:lnTo>
                      <a:lnTo>
                        <a:pt x="540" y="544"/>
                      </a:lnTo>
                      <a:lnTo>
                        <a:pt x="531" y="551"/>
                      </a:lnTo>
                      <a:lnTo>
                        <a:pt x="519" y="556"/>
                      </a:lnTo>
                      <a:lnTo>
                        <a:pt x="508" y="557"/>
                      </a:lnTo>
                      <a:lnTo>
                        <a:pt x="497" y="556"/>
                      </a:lnTo>
                      <a:lnTo>
                        <a:pt x="485" y="551"/>
                      </a:lnTo>
                      <a:lnTo>
                        <a:pt x="475" y="544"/>
                      </a:lnTo>
                      <a:lnTo>
                        <a:pt x="13" y="79"/>
                      </a:lnTo>
                      <a:lnTo>
                        <a:pt x="5" y="66"/>
                      </a:lnTo>
                      <a:lnTo>
                        <a:pt x="0" y="53"/>
                      </a:lnTo>
                      <a:lnTo>
                        <a:pt x="0" y="39"/>
                      </a:lnTo>
                      <a:lnTo>
                        <a:pt x="5" y="25"/>
                      </a:lnTo>
                      <a:lnTo>
                        <a:pt x="13" y="13"/>
                      </a:lnTo>
                      <a:lnTo>
                        <a:pt x="25" y="4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</p:grp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6404C4E-15B1-4CC7-BEDE-E3124BF86CE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BD32FFC7-B01B-4CAB-89A3-95ACDCF4DF53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D5C0076-7653-425F-AD3D-FF2262D8E57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4DA7148-05DF-454E-9CEC-FE49728759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13006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26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2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MAX. 2-ZEILIG</a:t>
            </a:r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A32650A-39CB-4DA2-B6D6-59DBD093DA4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D074CA6-F875-4C4C-9B40-A9934022153A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0171F5E0-C8BB-4A46-A985-85FEFFBE5B06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F33D5596-4D74-4C65-AAF9-34F4540A9C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26BD8C1B-B84C-4EAF-8646-A3DA055A0721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6D613182-A26E-4AF0-90F7-83A6F4CA08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58428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3709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hteck 58">
            <a:extLst>
              <a:ext uri="{FF2B5EF4-FFF2-40B4-BE49-F238E27FC236}">
                <a16:creationId xmlns:a16="http://schemas.microsoft.com/office/drawing/2014/main" id="{2401289D-5007-4F76-B118-51701473215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144ED82E-64E0-4DB9-8C47-92070A9C37F1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D50CD14-EE51-4492-9D5A-ECF032270109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9D14EB74-57A3-4A0F-95A4-850FC3351F5E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5BCD1AA7-94B5-4C73-B57B-170467EF40B9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98821B36-2EA4-45DA-8B08-1833B37E44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58" name="Grafik 5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A7DAD66-E8EB-41B1-B177-60AA43593C7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67" name="Bildplatzhalter 66">
            <a:extLst>
              <a:ext uri="{FF2B5EF4-FFF2-40B4-BE49-F238E27FC236}">
                <a16:creationId xmlns:a16="http://schemas.microsoft.com/office/drawing/2014/main" id="{CD2487B9-CB7E-4688-AF63-0052266F0B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3" y="0"/>
            <a:ext cx="12191998" cy="6858000"/>
          </a:xfrm>
          <a:custGeom>
            <a:avLst/>
            <a:gdLst>
              <a:gd name="connsiteX0" fmla="*/ 9190379 w 12191998"/>
              <a:gd name="connsiteY0" fmla="*/ 5251451 h 6858000"/>
              <a:gd name="connsiteX1" fmla="*/ 9190379 w 12191998"/>
              <a:gd name="connsiteY1" fmla="*/ 5527239 h 6858000"/>
              <a:gd name="connsiteX2" fmla="*/ 8628629 w 12191998"/>
              <a:gd name="connsiteY2" fmla="*/ 5527239 h 6858000"/>
              <a:gd name="connsiteX3" fmla="*/ 8628629 w 12191998"/>
              <a:gd name="connsiteY3" fmla="*/ 5888929 h 6858000"/>
              <a:gd name="connsiteX4" fmla="*/ 9427739 w 12191998"/>
              <a:gd name="connsiteY4" fmla="*/ 5888929 h 6858000"/>
              <a:gd name="connsiteX5" fmla="*/ 9427739 w 12191998"/>
              <a:gd name="connsiteY5" fmla="*/ 6165850 h 6858000"/>
              <a:gd name="connsiteX6" fmla="*/ 9902822 w 12191998"/>
              <a:gd name="connsiteY6" fmla="*/ 6165850 h 6858000"/>
              <a:gd name="connsiteX7" fmla="*/ 9936366 w 12191998"/>
              <a:gd name="connsiteY7" fmla="*/ 6165850 h 6858000"/>
              <a:gd name="connsiteX8" fmla="*/ 9985532 w 12191998"/>
              <a:gd name="connsiteY8" fmla="*/ 6165850 h 6858000"/>
              <a:gd name="connsiteX9" fmla="*/ 9997070 w 12191998"/>
              <a:gd name="connsiteY9" fmla="*/ 6165850 h 6858000"/>
              <a:gd name="connsiteX10" fmla="*/ 10058397 w 12191998"/>
              <a:gd name="connsiteY10" fmla="*/ 6165850 h 6858000"/>
              <a:gd name="connsiteX11" fmla="*/ 10175872 w 12191998"/>
              <a:gd name="connsiteY11" fmla="*/ 6165850 h 6858000"/>
              <a:gd name="connsiteX12" fmla="*/ 12191997 w 12191998"/>
              <a:gd name="connsiteY12" fmla="*/ 6165850 h 6858000"/>
              <a:gd name="connsiteX13" fmla="*/ 12191997 w 12191998"/>
              <a:gd name="connsiteY13" fmla="*/ 5251451 h 6858000"/>
              <a:gd name="connsiteX14" fmla="*/ 10175872 w 12191998"/>
              <a:gd name="connsiteY14" fmla="*/ 5251451 h 6858000"/>
              <a:gd name="connsiteX15" fmla="*/ 10058397 w 12191998"/>
              <a:gd name="connsiteY15" fmla="*/ 5251451 h 6858000"/>
              <a:gd name="connsiteX16" fmla="*/ 9997070 w 12191998"/>
              <a:gd name="connsiteY16" fmla="*/ 5251451 h 6858000"/>
              <a:gd name="connsiteX17" fmla="*/ 9985532 w 12191998"/>
              <a:gd name="connsiteY17" fmla="*/ 5251451 h 6858000"/>
              <a:gd name="connsiteX18" fmla="*/ 9936366 w 12191998"/>
              <a:gd name="connsiteY18" fmla="*/ 5251451 h 6858000"/>
              <a:gd name="connsiteX19" fmla="*/ 9902822 w 12191998"/>
              <a:gd name="connsiteY19" fmla="*/ 5251451 h 6858000"/>
              <a:gd name="connsiteX20" fmla="*/ 0 w 12191998"/>
              <a:gd name="connsiteY20" fmla="*/ 0 h 6858000"/>
              <a:gd name="connsiteX21" fmla="*/ 12191998 w 12191998"/>
              <a:gd name="connsiteY21" fmla="*/ 0 h 6858000"/>
              <a:gd name="connsiteX22" fmla="*/ 12191998 w 12191998"/>
              <a:gd name="connsiteY22" fmla="*/ 6858000 h 6858000"/>
              <a:gd name="connsiteX23" fmla="*/ 0 w 12191998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8" h="6858000">
                <a:moveTo>
                  <a:pt x="9190379" y="5251451"/>
                </a:moveTo>
                <a:lnTo>
                  <a:pt x="9190379" y="5527239"/>
                </a:lnTo>
                <a:lnTo>
                  <a:pt x="8628629" y="5527239"/>
                </a:lnTo>
                <a:lnTo>
                  <a:pt x="8628629" y="5888929"/>
                </a:lnTo>
                <a:lnTo>
                  <a:pt x="9427739" y="5888929"/>
                </a:lnTo>
                <a:lnTo>
                  <a:pt x="9427739" y="6165850"/>
                </a:lnTo>
                <a:lnTo>
                  <a:pt x="9902822" y="6165850"/>
                </a:lnTo>
                <a:lnTo>
                  <a:pt x="9936366" y="6165850"/>
                </a:lnTo>
                <a:lnTo>
                  <a:pt x="9985532" y="6165850"/>
                </a:lnTo>
                <a:lnTo>
                  <a:pt x="9997070" y="6165850"/>
                </a:lnTo>
                <a:lnTo>
                  <a:pt x="10058397" y="6165850"/>
                </a:lnTo>
                <a:lnTo>
                  <a:pt x="10175872" y="6165850"/>
                </a:lnTo>
                <a:lnTo>
                  <a:pt x="12191997" y="6165850"/>
                </a:lnTo>
                <a:lnTo>
                  <a:pt x="12191997" y="5251451"/>
                </a:lnTo>
                <a:lnTo>
                  <a:pt x="10175872" y="5251451"/>
                </a:lnTo>
                <a:lnTo>
                  <a:pt x="10058397" y="5251451"/>
                </a:lnTo>
                <a:lnTo>
                  <a:pt x="9997070" y="5251451"/>
                </a:lnTo>
                <a:lnTo>
                  <a:pt x="9985532" y="5251451"/>
                </a:lnTo>
                <a:lnTo>
                  <a:pt x="9936366" y="5251451"/>
                </a:lnTo>
                <a:lnTo>
                  <a:pt x="9902822" y="5251451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noProof="0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noProof="0" dirty="0"/>
              <a:t>MAX. 2-ZEILIG</a:t>
            </a:r>
          </a:p>
        </p:txBody>
      </p:sp>
    </p:spTree>
    <p:extLst>
      <p:ext uri="{BB962C8B-B14F-4D97-AF65-F5344CB8AC3E}">
        <p14:creationId xmlns:p14="http://schemas.microsoft.com/office/powerpoint/2010/main" val="38488530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070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FCBA6E59-75DD-438F-BF77-C4A42DFB7B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23888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435F372D-CF41-40AB-839D-A5D7C578A4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286314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EBE2703F-42BD-4A4E-8077-81A7EECD87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102397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553B4F3E-F076-4020-87C7-A686D4BB7A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734165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620BAFB1-4E09-4562-8C0F-04EFEE05042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9580906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7278EC1-F284-44D6-8573-14782A988C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8" y="4525643"/>
            <a:ext cx="1879254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348A553-B922-4918-B9DC-9016A21B26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3888" y="4841114"/>
            <a:ext cx="1879254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59CE19DE-5AC0-42CC-80DD-DFEEEE5985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63142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87ADC2B1-A125-478A-8C76-FC96DCC7C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86314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739667EB-032B-4FBD-A693-505306B09E6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02398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C999B90A-668A-4560-8328-B9676FB762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102398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F0D537D6-2CC9-400F-AD47-C435F3C87C4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341652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0B3440EF-4F3C-4F19-8AEE-53F46F81D8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34165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671851D0-2D85-4A57-9D79-ECB1A4BD4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80906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72EDC16B-26CB-4369-8443-63FFCE0B00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9580906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2C9401E-FFCE-4967-BAC8-94F361F7018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 rtl="0">
              <a:defRPr/>
            </a:lvl1pPr>
          </a:lstStyle>
          <a:p>
            <a:fld id="{45F5F1E3-4E6F-49CC-9684-90F3F09EAD4D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807DC58-D1C9-4344-821A-FC7F84C975B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FF3FDD-1880-4299-9835-E8EBDDED20EB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62305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38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02E56C63-7C1B-4AE7-9628-5358CCB3E97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120005" y="2049780"/>
            <a:ext cx="5692775" cy="3534728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49EB948A-6A06-433D-94CA-F43E75A0BC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371332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95BD34B-F719-4140-8CE0-1CE46741B2B0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C99C481C-1148-4310-896C-CC74B73C34E2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BAC5562-F1B9-46A7-84A0-FE06B5DC26C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E681675-F508-4F20-8146-CEA26FBDFDF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12605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975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B2F1F866-5169-4120-8FFB-1DF9844E9D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5105400" y="1870479"/>
            <a:ext cx="1880114" cy="4113994"/>
          </a:xfrm>
          <a:custGeom>
            <a:avLst/>
            <a:gdLst>
              <a:gd name="connsiteX0" fmla="*/ 201060 w 1880114"/>
              <a:gd name="connsiteY0" fmla="*/ 0 h 4113994"/>
              <a:gd name="connsiteX1" fmla="*/ 1679055 w 1880114"/>
              <a:gd name="connsiteY1" fmla="*/ 0 h 4113994"/>
              <a:gd name="connsiteX2" fmla="*/ 1880114 w 1880114"/>
              <a:gd name="connsiteY2" fmla="*/ 201059 h 4113994"/>
              <a:gd name="connsiteX3" fmla="*/ 1880114 w 1880114"/>
              <a:gd name="connsiteY3" fmla="*/ 3912935 h 4113994"/>
              <a:gd name="connsiteX4" fmla="*/ 1679055 w 1880114"/>
              <a:gd name="connsiteY4" fmla="*/ 4113994 h 4113994"/>
              <a:gd name="connsiteX5" fmla="*/ 201060 w 1880114"/>
              <a:gd name="connsiteY5" fmla="*/ 4113994 h 4113994"/>
              <a:gd name="connsiteX6" fmla="*/ 0 w 1880114"/>
              <a:gd name="connsiteY6" fmla="*/ 3912935 h 4113994"/>
              <a:gd name="connsiteX7" fmla="*/ 0 w 1880114"/>
              <a:gd name="connsiteY7" fmla="*/ 201059 h 4113994"/>
              <a:gd name="connsiteX8" fmla="*/ 201060 w 1880114"/>
              <a:gd name="connsiteY8" fmla="*/ 0 h 4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0114" h="4113994">
                <a:moveTo>
                  <a:pt x="201060" y="0"/>
                </a:moveTo>
                <a:lnTo>
                  <a:pt x="1679055" y="0"/>
                </a:lnTo>
                <a:cubicBezTo>
                  <a:pt x="1790097" y="0"/>
                  <a:pt x="1880114" y="90017"/>
                  <a:pt x="1880114" y="201059"/>
                </a:cubicBezTo>
                <a:lnTo>
                  <a:pt x="1880114" y="3912935"/>
                </a:lnTo>
                <a:cubicBezTo>
                  <a:pt x="1880114" y="4023977"/>
                  <a:pt x="1790097" y="4113994"/>
                  <a:pt x="1679055" y="4113994"/>
                </a:cubicBezTo>
                <a:lnTo>
                  <a:pt x="201060" y="4113994"/>
                </a:lnTo>
                <a:cubicBezTo>
                  <a:pt x="90017" y="4113994"/>
                  <a:pt x="0" y="4023977"/>
                  <a:pt x="0" y="3912935"/>
                </a:cubicBezTo>
                <a:lnTo>
                  <a:pt x="0" y="201059"/>
                </a:lnTo>
                <a:cubicBezTo>
                  <a:pt x="0" y="90017"/>
                  <a:pt x="90017" y="0"/>
                  <a:pt x="2010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13098E6-17D7-4206-8B3A-BFC67A2308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919455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80187C9-2C83-4B05-AE65-463EBAC07B4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6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178EE9B-072D-47AA-A1CC-0F05E072D0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1298A29-D662-4036-868F-8CE85AC2A9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919455" y="4216400"/>
            <a:ext cx="3540706" cy="554038"/>
          </a:xfrm>
        </p:spPr>
        <p:txBody>
          <a:bodyPr anchor="b"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48D5548-1083-45A5-B2CC-E716A445E98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7919455" y="5070058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3D18FB02-2E18-4354-B214-90B188EC743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D677A22C-5B3C-41B3-8ADB-7CEBACF324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6" t="7348" r="49667" b="11621"/>
          <a:stretch/>
        </p:blipFill>
        <p:spPr bwMode="gray">
          <a:xfrm>
            <a:off x="4899889" y="1742647"/>
            <a:ext cx="2291137" cy="4374920"/>
          </a:xfrm>
          <a:custGeom>
            <a:avLst/>
            <a:gdLst>
              <a:gd name="connsiteX0" fmla="*/ 409955 w 2291137"/>
              <a:gd name="connsiteY0" fmla="*/ 143303 h 4374920"/>
              <a:gd name="connsiteX1" fmla="*/ 210408 w 2291137"/>
              <a:gd name="connsiteY1" fmla="*/ 342850 h 4374920"/>
              <a:gd name="connsiteX2" fmla="*/ 210408 w 2291137"/>
              <a:gd name="connsiteY2" fmla="*/ 4026806 h 4374920"/>
              <a:gd name="connsiteX3" fmla="*/ 409955 w 2291137"/>
              <a:gd name="connsiteY3" fmla="*/ 4226353 h 4374920"/>
              <a:gd name="connsiteX4" fmla="*/ 1876833 w 2291137"/>
              <a:gd name="connsiteY4" fmla="*/ 4226353 h 4374920"/>
              <a:gd name="connsiteX5" fmla="*/ 2076380 w 2291137"/>
              <a:gd name="connsiteY5" fmla="*/ 4026806 h 4374920"/>
              <a:gd name="connsiteX6" fmla="*/ 2076380 w 2291137"/>
              <a:gd name="connsiteY6" fmla="*/ 342850 h 4374920"/>
              <a:gd name="connsiteX7" fmla="*/ 1876833 w 2291137"/>
              <a:gd name="connsiteY7" fmla="*/ 143303 h 4374920"/>
              <a:gd name="connsiteX8" fmla="*/ 0 w 2291137"/>
              <a:gd name="connsiteY8" fmla="*/ 0 h 4374920"/>
              <a:gd name="connsiteX9" fmla="*/ 2291137 w 2291137"/>
              <a:gd name="connsiteY9" fmla="*/ 0 h 4374920"/>
              <a:gd name="connsiteX10" fmla="*/ 2291137 w 2291137"/>
              <a:gd name="connsiteY10" fmla="*/ 4374920 h 4374920"/>
              <a:gd name="connsiteX11" fmla="*/ 0 w 2291137"/>
              <a:gd name="connsiteY11" fmla="*/ 4374920 h 4374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91137" h="4374920">
                <a:moveTo>
                  <a:pt x="409955" y="143303"/>
                </a:moveTo>
                <a:cubicBezTo>
                  <a:pt x="299748" y="143303"/>
                  <a:pt x="210408" y="232643"/>
                  <a:pt x="210408" y="342850"/>
                </a:cubicBezTo>
                <a:lnTo>
                  <a:pt x="210408" y="4026806"/>
                </a:lnTo>
                <a:cubicBezTo>
                  <a:pt x="210408" y="4137013"/>
                  <a:pt x="299748" y="4226353"/>
                  <a:pt x="409955" y="4226353"/>
                </a:cubicBezTo>
                <a:lnTo>
                  <a:pt x="1876833" y="4226353"/>
                </a:lnTo>
                <a:cubicBezTo>
                  <a:pt x="1987040" y="4226353"/>
                  <a:pt x="2076380" y="4137013"/>
                  <a:pt x="2076380" y="4026806"/>
                </a:cubicBezTo>
                <a:lnTo>
                  <a:pt x="2076380" y="342850"/>
                </a:lnTo>
                <a:cubicBezTo>
                  <a:pt x="2076380" y="232643"/>
                  <a:pt x="1987040" y="143303"/>
                  <a:pt x="1876833" y="143303"/>
                </a:cubicBezTo>
                <a:close/>
                <a:moveTo>
                  <a:pt x="0" y="0"/>
                </a:moveTo>
                <a:lnTo>
                  <a:pt x="2291137" y="0"/>
                </a:lnTo>
                <a:lnTo>
                  <a:pt x="2291137" y="4374920"/>
                </a:lnTo>
                <a:lnTo>
                  <a:pt x="0" y="4374920"/>
                </a:lnTo>
                <a:close/>
              </a:path>
            </a:pathLst>
          </a:cu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26FBC61D-020A-4E88-924E-B75F6590B4F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EBC1A5AC-516A-477E-B6A4-CDC424358982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65FE241-0975-4710-A372-26DCB70C53B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D68CE49F-8E1B-483B-B4A8-549EA38F1F9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6308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927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fld id="{A76960C7-7630-405D-B656-3DDD8C123332}" type="datetime1">
              <a:rPr lang="de-DE" smtClean="0"/>
              <a:pPr/>
              <a:t>09.05.22</a:t>
            </a:fld>
            <a:endParaRPr lang="de-DE" dirty="0"/>
          </a:p>
        </p:txBody>
      </p:sp>
      <p:pic>
        <p:nvPicPr>
          <p:cNvPr id="39" name="Grafik 3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C463C1E-02BF-4CCE-9FD0-12FE4BDDC46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2" name="Grafik 39">
            <a:extLst>
              <a:ext uri="{FF2B5EF4-FFF2-40B4-BE49-F238E27FC236}">
                <a16:creationId xmlns:a16="http://schemas.microsoft.com/office/drawing/2014/main" id="{82CDFB96-B8C1-4627-A9BF-5697D7C8F0B5}"/>
              </a:ext>
            </a:extLst>
          </p:cNvPr>
          <p:cNvGrpSpPr/>
          <p:nvPr/>
        </p:nvGrpSpPr>
        <p:grpSpPr bwMode="gray">
          <a:xfrm>
            <a:off x="9282501" y="5337246"/>
            <a:ext cx="589279" cy="185137"/>
            <a:chOff x="9282501" y="5337246"/>
            <a:chExt cx="589279" cy="185137"/>
          </a:xfrm>
          <a:solidFill>
            <a:srgbClr val="FF7E21"/>
          </a:solidFill>
        </p:grpSpPr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32BAC84-5F4C-412D-8BB5-0F6AA167361D}"/>
                </a:ext>
              </a:extLst>
            </p:cNvPr>
            <p:cNvSpPr/>
            <p:nvPr/>
          </p:nvSpPr>
          <p:spPr bwMode="gray">
            <a:xfrm>
              <a:off x="9282501" y="5339504"/>
              <a:ext cx="114017" cy="180622"/>
            </a:xfrm>
            <a:custGeom>
              <a:avLst/>
              <a:gdLst>
                <a:gd name="connsiteX0" fmla="*/ 93698 w 114017"/>
                <a:gd name="connsiteY0" fmla="*/ 180622 h 180622"/>
                <a:gd name="connsiteX1" fmla="*/ 80151 w 114017"/>
                <a:gd name="connsiteY1" fmla="*/ 124178 h 180622"/>
                <a:gd name="connsiteX2" fmla="*/ 32738 w 114017"/>
                <a:gd name="connsiteY2" fmla="*/ 124178 h 180622"/>
                <a:gd name="connsiteX3" fmla="*/ 20320 w 114017"/>
                <a:gd name="connsiteY3" fmla="*/ 180622 h 180622"/>
                <a:gd name="connsiteX4" fmla="*/ 0 w 114017"/>
                <a:gd name="connsiteY4" fmla="*/ 180622 h 180622"/>
                <a:gd name="connsiteX5" fmla="*/ 44027 w 114017"/>
                <a:gd name="connsiteY5" fmla="*/ 0 h 180622"/>
                <a:gd name="connsiteX6" fmla="*/ 68862 w 114017"/>
                <a:gd name="connsiteY6" fmla="*/ 0 h 180622"/>
                <a:gd name="connsiteX7" fmla="*/ 114018 w 114017"/>
                <a:gd name="connsiteY7" fmla="*/ 180622 h 180622"/>
                <a:gd name="connsiteX8" fmla="*/ 93698 w 114017"/>
                <a:gd name="connsiteY8" fmla="*/ 180622 h 180622"/>
                <a:gd name="connsiteX9" fmla="*/ 64347 w 114017"/>
                <a:gd name="connsiteY9" fmla="*/ 55315 h 180622"/>
                <a:gd name="connsiteX10" fmla="*/ 56444 w 114017"/>
                <a:gd name="connsiteY10" fmla="*/ 15804 h 180622"/>
                <a:gd name="connsiteX11" fmla="*/ 48542 w 114017"/>
                <a:gd name="connsiteY11" fmla="*/ 55315 h 180622"/>
                <a:gd name="connsiteX12" fmla="*/ 36124 w 114017"/>
                <a:gd name="connsiteY12" fmla="*/ 107244 h 180622"/>
                <a:gd name="connsiteX13" fmla="*/ 76764 w 114017"/>
                <a:gd name="connsiteY13" fmla="*/ 107244 h 180622"/>
                <a:gd name="connsiteX14" fmla="*/ 64347 w 114017"/>
                <a:gd name="connsiteY14" fmla="*/ 55315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017" h="180622">
                  <a:moveTo>
                    <a:pt x="93698" y="180622"/>
                  </a:moveTo>
                  <a:lnTo>
                    <a:pt x="80151" y="124178"/>
                  </a:lnTo>
                  <a:lnTo>
                    <a:pt x="32738" y="124178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44027" y="0"/>
                  </a:lnTo>
                  <a:lnTo>
                    <a:pt x="68862" y="0"/>
                  </a:lnTo>
                  <a:lnTo>
                    <a:pt x="114018" y="180622"/>
                  </a:lnTo>
                  <a:lnTo>
                    <a:pt x="93698" y="180622"/>
                  </a:lnTo>
                  <a:close/>
                  <a:moveTo>
                    <a:pt x="64347" y="55315"/>
                  </a:moveTo>
                  <a:lnTo>
                    <a:pt x="56444" y="15804"/>
                  </a:lnTo>
                  <a:lnTo>
                    <a:pt x="48542" y="55315"/>
                  </a:lnTo>
                  <a:lnTo>
                    <a:pt x="36124" y="107244"/>
                  </a:lnTo>
                  <a:lnTo>
                    <a:pt x="76764" y="107244"/>
                  </a:lnTo>
                  <a:lnTo>
                    <a:pt x="64347" y="55315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C13B1D1E-6BA9-41DE-9460-45E8ED64492A}"/>
                </a:ext>
              </a:extLst>
            </p:cNvPr>
            <p:cNvSpPr/>
            <p:nvPr/>
          </p:nvSpPr>
          <p:spPr bwMode="gray">
            <a:xfrm>
              <a:off x="9425869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6AEAFC2-07DE-4D8D-A17B-ED03D8B652B5}"/>
                </a:ext>
              </a:extLst>
            </p:cNvPr>
            <p:cNvSpPr/>
            <p:nvPr/>
          </p:nvSpPr>
          <p:spPr bwMode="gray">
            <a:xfrm>
              <a:off x="9539887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F2A71D04-8916-414C-9DA8-A8AA7E08262F}"/>
                </a:ext>
              </a:extLst>
            </p:cNvPr>
            <p:cNvSpPr/>
            <p:nvPr/>
          </p:nvSpPr>
          <p:spPr bwMode="gray">
            <a:xfrm>
              <a:off x="9653905" y="5339504"/>
              <a:ext cx="89182" cy="180622"/>
            </a:xfrm>
            <a:custGeom>
              <a:avLst/>
              <a:gdLst>
                <a:gd name="connsiteX0" fmla="*/ 0 w 89182"/>
                <a:gd name="connsiteY0" fmla="*/ 180622 h 180622"/>
                <a:gd name="connsiteX1" fmla="*/ 0 w 89182"/>
                <a:gd name="connsiteY1" fmla="*/ 0 h 180622"/>
                <a:gd name="connsiteX2" fmla="*/ 86924 w 89182"/>
                <a:gd name="connsiteY2" fmla="*/ 0 h 180622"/>
                <a:gd name="connsiteX3" fmla="*/ 86924 w 89182"/>
                <a:gd name="connsiteY3" fmla="*/ 16933 h 180622"/>
                <a:gd name="connsiteX4" fmla="*/ 20320 w 89182"/>
                <a:gd name="connsiteY4" fmla="*/ 16933 h 180622"/>
                <a:gd name="connsiteX5" fmla="*/ 20320 w 89182"/>
                <a:gd name="connsiteY5" fmla="*/ 77893 h 180622"/>
                <a:gd name="connsiteX6" fmla="*/ 80151 w 89182"/>
                <a:gd name="connsiteY6" fmla="*/ 77893 h 180622"/>
                <a:gd name="connsiteX7" fmla="*/ 80151 w 89182"/>
                <a:gd name="connsiteY7" fmla="*/ 94827 h 180622"/>
                <a:gd name="connsiteX8" fmla="*/ 20320 w 89182"/>
                <a:gd name="connsiteY8" fmla="*/ 94827 h 180622"/>
                <a:gd name="connsiteX9" fmla="*/ 20320 w 89182"/>
                <a:gd name="connsiteY9" fmla="*/ 163689 h 180622"/>
                <a:gd name="connsiteX10" fmla="*/ 89182 w 89182"/>
                <a:gd name="connsiteY10" fmla="*/ 163689 h 180622"/>
                <a:gd name="connsiteX11" fmla="*/ 89182 w 89182"/>
                <a:gd name="connsiteY11" fmla="*/ 180622 h 180622"/>
                <a:gd name="connsiteX12" fmla="*/ 0 w 89182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182" h="180622">
                  <a:moveTo>
                    <a:pt x="0" y="180622"/>
                  </a:moveTo>
                  <a:lnTo>
                    <a:pt x="0" y="0"/>
                  </a:lnTo>
                  <a:lnTo>
                    <a:pt x="86924" y="0"/>
                  </a:lnTo>
                  <a:lnTo>
                    <a:pt x="86924" y="16933"/>
                  </a:lnTo>
                  <a:lnTo>
                    <a:pt x="20320" y="16933"/>
                  </a:lnTo>
                  <a:lnTo>
                    <a:pt x="20320" y="77893"/>
                  </a:lnTo>
                  <a:lnTo>
                    <a:pt x="80151" y="77893"/>
                  </a:lnTo>
                  <a:lnTo>
                    <a:pt x="80151" y="94827"/>
                  </a:lnTo>
                  <a:lnTo>
                    <a:pt x="20320" y="94827"/>
                  </a:lnTo>
                  <a:lnTo>
                    <a:pt x="20320" y="163689"/>
                  </a:lnTo>
                  <a:lnTo>
                    <a:pt x="89182" y="163689"/>
                  </a:lnTo>
                  <a:lnTo>
                    <a:pt x="89182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43F7B5A2-CCB4-4C75-95EA-A4F03F2BA6ED}"/>
                </a:ext>
              </a:extLst>
            </p:cNvPr>
            <p:cNvSpPr/>
            <p:nvPr/>
          </p:nvSpPr>
          <p:spPr bwMode="gray">
            <a:xfrm>
              <a:off x="9767922" y="5337246"/>
              <a:ext cx="103857" cy="185137"/>
            </a:xfrm>
            <a:custGeom>
              <a:avLst/>
              <a:gdLst>
                <a:gd name="connsiteX0" fmla="*/ 48542 w 103857"/>
                <a:gd name="connsiteY0" fmla="*/ 185138 h 185137"/>
                <a:gd name="connsiteX1" fmla="*/ 0 w 103857"/>
                <a:gd name="connsiteY1" fmla="*/ 178364 h 185137"/>
                <a:gd name="connsiteX2" fmla="*/ 0 w 103857"/>
                <a:gd name="connsiteY2" fmla="*/ 147884 h 185137"/>
                <a:gd name="connsiteX3" fmla="*/ 19191 w 103857"/>
                <a:gd name="connsiteY3" fmla="*/ 147884 h 185137"/>
                <a:gd name="connsiteX4" fmla="*/ 19191 w 103857"/>
                <a:gd name="connsiteY4" fmla="*/ 165946 h 185137"/>
                <a:gd name="connsiteX5" fmla="*/ 49671 w 103857"/>
                <a:gd name="connsiteY5" fmla="*/ 169333 h 185137"/>
                <a:gd name="connsiteX6" fmla="*/ 82409 w 103857"/>
                <a:gd name="connsiteY6" fmla="*/ 135467 h 185137"/>
                <a:gd name="connsiteX7" fmla="*/ 1129 w 103857"/>
                <a:gd name="connsiteY7" fmla="*/ 49671 h 185137"/>
                <a:gd name="connsiteX8" fmla="*/ 53058 w 103857"/>
                <a:gd name="connsiteY8" fmla="*/ 0 h 185137"/>
                <a:gd name="connsiteX9" fmla="*/ 97084 w 103857"/>
                <a:gd name="connsiteY9" fmla="*/ 6773 h 185137"/>
                <a:gd name="connsiteX10" fmla="*/ 97084 w 103857"/>
                <a:gd name="connsiteY10" fmla="*/ 38382 h 185137"/>
                <a:gd name="connsiteX11" fmla="*/ 77893 w 103857"/>
                <a:gd name="connsiteY11" fmla="*/ 38382 h 185137"/>
                <a:gd name="connsiteX12" fmla="*/ 77893 w 103857"/>
                <a:gd name="connsiteY12" fmla="*/ 19191 h 185137"/>
                <a:gd name="connsiteX13" fmla="*/ 56444 w 103857"/>
                <a:gd name="connsiteY13" fmla="*/ 15804 h 185137"/>
                <a:gd name="connsiteX14" fmla="*/ 21449 w 103857"/>
                <a:gd name="connsiteY14" fmla="*/ 46284 h 185137"/>
                <a:gd name="connsiteX15" fmla="*/ 103858 w 103857"/>
                <a:gd name="connsiteY15" fmla="*/ 133209 h 185137"/>
                <a:gd name="connsiteX16" fmla="*/ 48542 w 103857"/>
                <a:gd name="connsiteY16" fmla="*/ 185138 h 18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3857" h="185137">
                  <a:moveTo>
                    <a:pt x="48542" y="185138"/>
                  </a:moveTo>
                  <a:cubicBezTo>
                    <a:pt x="18062" y="185138"/>
                    <a:pt x="0" y="178364"/>
                    <a:pt x="0" y="178364"/>
                  </a:cubicBezTo>
                  <a:lnTo>
                    <a:pt x="0" y="147884"/>
                  </a:lnTo>
                  <a:lnTo>
                    <a:pt x="19191" y="147884"/>
                  </a:lnTo>
                  <a:lnTo>
                    <a:pt x="19191" y="165946"/>
                  </a:lnTo>
                  <a:cubicBezTo>
                    <a:pt x="19191" y="165946"/>
                    <a:pt x="32738" y="169333"/>
                    <a:pt x="49671" y="169333"/>
                  </a:cubicBezTo>
                  <a:cubicBezTo>
                    <a:pt x="69991" y="169333"/>
                    <a:pt x="82409" y="159173"/>
                    <a:pt x="82409" y="135467"/>
                  </a:cubicBezTo>
                  <a:cubicBezTo>
                    <a:pt x="82409" y="92569"/>
                    <a:pt x="1129" y="103858"/>
                    <a:pt x="1129" y="49671"/>
                  </a:cubicBezTo>
                  <a:cubicBezTo>
                    <a:pt x="1129" y="5644"/>
                    <a:pt x="40640" y="0"/>
                    <a:pt x="53058" y="0"/>
                  </a:cubicBezTo>
                  <a:cubicBezTo>
                    <a:pt x="81280" y="0"/>
                    <a:pt x="97084" y="6773"/>
                    <a:pt x="97084" y="6773"/>
                  </a:cubicBezTo>
                  <a:lnTo>
                    <a:pt x="97084" y="38382"/>
                  </a:lnTo>
                  <a:lnTo>
                    <a:pt x="77893" y="38382"/>
                  </a:lnTo>
                  <a:lnTo>
                    <a:pt x="77893" y="19191"/>
                  </a:lnTo>
                  <a:cubicBezTo>
                    <a:pt x="77893" y="19191"/>
                    <a:pt x="71120" y="15804"/>
                    <a:pt x="56444" y="15804"/>
                  </a:cubicBezTo>
                  <a:cubicBezTo>
                    <a:pt x="40640" y="15804"/>
                    <a:pt x="21449" y="20320"/>
                    <a:pt x="21449" y="46284"/>
                  </a:cubicBezTo>
                  <a:cubicBezTo>
                    <a:pt x="21449" y="89182"/>
                    <a:pt x="103858" y="74507"/>
                    <a:pt x="103858" y="133209"/>
                  </a:cubicBezTo>
                  <a:cubicBezTo>
                    <a:pt x="103858" y="170462"/>
                    <a:pt x="81280" y="185138"/>
                    <a:pt x="48542" y="185138"/>
                  </a:cubicBez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48" name="Grafik 39">
            <a:extLst>
              <a:ext uri="{FF2B5EF4-FFF2-40B4-BE49-F238E27FC236}">
                <a16:creationId xmlns:a16="http://schemas.microsoft.com/office/drawing/2014/main" id="{8CA0E69C-E9B9-49E5-8481-751ADEAC1C20}"/>
              </a:ext>
            </a:extLst>
          </p:cNvPr>
          <p:cNvGrpSpPr/>
          <p:nvPr/>
        </p:nvGrpSpPr>
        <p:grpSpPr bwMode="gray">
          <a:xfrm>
            <a:off x="9548918" y="5891530"/>
            <a:ext cx="325119" cy="181750"/>
            <a:chOff x="9548918" y="5891530"/>
            <a:chExt cx="325119" cy="181750"/>
          </a:xfrm>
          <a:solidFill>
            <a:srgbClr val="FF7E21"/>
          </a:solidFill>
        </p:grpSpPr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204263EA-02C3-4DE6-BD4F-00B26972324F}"/>
                </a:ext>
              </a:extLst>
            </p:cNvPr>
            <p:cNvSpPr/>
            <p:nvPr/>
          </p:nvSpPr>
          <p:spPr bwMode="gray">
            <a:xfrm>
              <a:off x="9548918" y="5891530"/>
              <a:ext cx="133208" cy="181750"/>
            </a:xfrm>
            <a:custGeom>
              <a:avLst/>
              <a:gdLst>
                <a:gd name="connsiteX0" fmla="*/ 114018 w 133208"/>
                <a:gd name="connsiteY0" fmla="*/ 181751 h 181750"/>
                <a:gd name="connsiteX1" fmla="*/ 114018 w 133208"/>
                <a:gd name="connsiteY1" fmla="*/ 31609 h 181750"/>
                <a:gd name="connsiteX2" fmla="*/ 76764 w 133208"/>
                <a:gd name="connsiteY2" fmla="*/ 180622 h 181750"/>
                <a:gd name="connsiteX3" fmla="*/ 58702 w 133208"/>
                <a:gd name="connsiteY3" fmla="*/ 180622 h 181750"/>
                <a:gd name="connsiteX4" fmla="*/ 20320 w 133208"/>
                <a:gd name="connsiteY4" fmla="*/ 31609 h 181750"/>
                <a:gd name="connsiteX5" fmla="*/ 20320 w 133208"/>
                <a:gd name="connsiteY5" fmla="*/ 180622 h 181750"/>
                <a:gd name="connsiteX6" fmla="*/ 0 w 133208"/>
                <a:gd name="connsiteY6" fmla="*/ 180622 h 181750"/>
                <a:gd name="connsiteX7" fmla="*/ 0 w 133208"/>
                <a:gd name="connsiteY7" fmla="*/ 0 h 181750"/>
                <a:gd name="connsiteX8" fmla="*/ 31609 w 133208"/>
                <a:gd name="connsiteY8" fmla="*/ 0 h 181750"/>
                <a:gd name="connsiteX9" fmla="*/ 66604 w 133208"/>
                <a:gd name="connsiteY9" fmla="*/ 139982 h 181750"/>
                <a:gd name="connsiteX10" fmla="*/ 101600 w 133208"/>
                <a:gd name="connsiteY10" fmla="*/ 0 h 181750"/>
                <a:gd name="connsiteX11" fmla="*/ 133209 w 133208"/>
                <a:gd name="connsiteY11" fmla="*/ 0 h 181750"/>
                <a:gd name="connsiteX12" fmla="*/ 133209 w 133208"/>
                <a:gd name="connsiteY12" fmla="*/ 180622 h 181750"/>
                <a:gd name="connsiteX13" fmla="*/ 114018 w 133208"/>
                <a:gd name="connsiteY13" fmla="*/ 180622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208" h="181750">
                  <a:moveTo>
                    <a:pt x="114018" y="181751"/>
                  </a:moveTo>
                  <a:lnTo>
                    <a:pt x="114018" y="31609"/>
                  </a:lnTo>
                  <a:lnTo>
                    <a:pt x="76764" y="180622"/>
                  </a:lnTo>
                  <a:lnTo>
                    <a:pt x="58702" y="180622"/>
                  </a:lnTo>
                  <a:lnTo>
                    <a:pt x="20320" y="31609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0" y="0"/>
                  </a:lnTo>
                  <a:lnTo>
                    <a:pt x="31609" y="0"/>
                  </a:lnTo>
                  <a:lnTo>
                    <a:pt x="66604" y="139982"/>
                  </a:lnTo>
                  <a:lnTo>
                    <a:pt x="101600" y="0"/>
                  </a:lnTo>
                  <a:lnTo>
                    <a:pt x="133209" y="0"/>
                  </a:lnTo>
                  <a:lnTo>
                    <a:pt x="133209" y="180622"/>
                  </a:lnTo>
                  <a:lnTo>
                    <a:pt x="114018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13B829F8-B777-439E-A528-4CA62AAF6C7B}"/>
                </a:ext>
              </a:extLst>
            </p:cNvPr>
            <p:cNvSpPr/>
            <p:nvPr/>
          </p:nvSpPr>
          <p:spPr bwMode="gray">
            <a:xfrm>
              <a:off x="9720509" y="5892659"/>
              <a:ext cx="20320" cy="180622"/>
            </a:xfrm>
            <a:custGeom>
              <a:avLst/>
              <a:gdLst>
                <a:gd name="connsiteX0" fmla="*/ 0 w 20320"/>
                <a:gd name="connsiteY0" fmla="*/ 180622 h 180622"/>
                <a:gd name="connsiteX1" fmla="*/ 0 w 20320"/>
                <a:gd name="connsiteY1" fmla="*/ 0 h 180622"/>
                <a:gd name="connsiteX2" fmla="*/ 20320 w 20320"/>
                <a:gd name="connsiteY2" fmla="*/ 0 h 180622"/>
                <a:gd name="connsiteX3" fmla="*/ 20320 w 20320"/>
                <a:gd name="connsiteY3" fmla="*/ 180622 h 180622"/>
                <a:gd name="connsiteX4" fmla="*/ 0 w 20320"/>
                <a:gd name="connsiteY4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20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96F959D5-FB04-454F-B0CE-74D3EA342755}"/>
                </a:ext>
              </a:extLst>
            </p:cNvPr>
            <p:cNvSpPr/>
            <p:nvPr/>
          </p:nvSpPr>
          <p:spPr bwMode="gray">
            <a:xfrm>
              <a:off x="9770180" y="5892659"/>
              <a:ext cx="103857" cy="180622"/>
            </a:xfrm>
            <a:custGeom>
              <a:avLst/>
              <a:gdLst>
                <a:gd name="connsiteX0" fmla="*/ 62089 w 103857"/>
                <a:gd name="connsiteY0" fmla="*/ 16933 h 180622"/>
                <a:gd name="connsiteX1" fmla="*/ 62089 w 103857"/>
                <a:gd name="connsiteY1" fmla="*/ 180622 h 180622"/>
                <a:gd name="connsiteX2" fmla="*/ 41769 w 103857"/>
                <a:gd name="connsiteY2" fmla="*/ 180622 h 180622"/>
                <a:gd name="connsiteX3" fmla="*/ 41769 w 103857"/>
                <a:gd name="connsiteY3" fmla="*/ 16933 h 180622"/>
                <a:gd name="connsiteX4" fmla="*/ 0 w 103857"/>
                <a:gd name="connsiteY4" fmla="*/ 16933 h 180622"/>
                <a:gd name="connsiteX5" fmla="*/ 0 w 103857"/>
                <a:gd name="connsiteY5" fmla="*/ 0 h 180622"/>
                <a:gd name="connsiteX6" fmla="*/ 103858 w 103857"/>
                <a:gd name="connsiteY6" fmla="*/ 0 h 180622"/>
                <a:gd name="connsiteX7" fmla="*/ 103858 w 103857"/>
                <a:gd name="connsiteY7" fmla="*/ 16933 h 180622"/>
                <a:gd name="connsiteX8" fmla="*/ 62089 w 103857"/>
                <a:gd name="connsiteY8" fmla="*/ 16933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857" h="180622">
                  <a:moveTo>
                    <a:pt x="62089" y="16933"/>
                  </a:moveTo>
                  <a:lnTo>
                    <a:pt x="62089" y="180622"/>
                  </a:lnTo>
                  <a:lnTo>
                    <a:pt x="41769" y="180622"/>
                  </a:lnTo>
                  <a:lnTo>
                    <a:pt x="41769" y="16933"/>
                  </a:lnTo>
                  <a:lnTo>
                    <a:pt x="0" y="16933"/>
                  </a:lnTo>
                  <a:lnTo>
                    <a:pt x="0" y="0"/>
                  </a:lnTo>
                  <a:lnTo>
                    <a:pt x="103858" y="0"/>
                  </a:lnTo>
                  <a:lnTo>
                    <a:pt x="103858" y="16933"/>
                  </a:lnTo>
                  <a:lnTo>
                    <a:pt x="62089" y="16933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52" name="Grafik 39">
            <a:extLst>
              <a:ext uri="{FF2B5EF4-FFF2-40B4-BE49-F238E27FC236}">
                <a16:creationId xmlns:a16="http://schemas.microsoft.com/office/drawing/2014/main" id="{202023FA-3927-4768-A5FA-7DE53DAE7E7F}"/>
              </a:ext>
            </a:extLst>
          </p:cNvPr>
          <p:cNvGrpSpPr/>
          <p:nvPr/>
        </p:nvGrpSpPr>
        <p:grpSpPr bwMode="gray">
          <a:xfrm>
            <a:off x="8730474" y="5613823"/>
            <a:ext cx="1137919" cy="187395"/>
            <a:chOff x="8730474" y="5613823"/>
            <a:chExt cx="1137919" cy="187395"/>
          </a:xfrm>
          <a:solidFill>
            <a:srgbClr val="FF7E21"/>
          </a:solidFill>
        </p:grpSpPr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1ADF0553-56BA-4D2B-85C5-79A67D78C49C}"/>
                </a:ext>
              </a:extLst>
            </p:cNvPr>
            <p:cNvSpPr/>
            <p:nvPr/>
          </p:nvSpPr>
          <p:spPr bwMode="gray">
            <a:xfrm>
              <a:off x="8730474" y="5616081"/>
              <a:ext cx="216746" cy="180622"/>
            </a:xfrm>
            <a:custGeom>
              <a:avLst/>
              <a:gdLst>
                <a:gd name="connsiteX0" fmla="*/ 104987 w 216746"/>
                <a:gd name="connsiteY0" fmla="*/ 115147 h 180622"/>
                <a:gd name="connsiteX1" fmla="*/ 104987 w 216746"/>
                <a:gd name="connsiteY1" fmla="*/ 112889 h 180622"/>
                <a:gd name="connsiteX2" fmla="*/ 107244 w 216746"/>
                <a:gd name="connsiteY2" fmla="*/ 104987 h 180622"/>
                <a:gd name="connsiteX3" fmla="*/ 110631 w 216746"/>
                <a:gd name="connsiteY3" fmla="*/ 94827 h 180622"/>
                <a:gd name="connsiteX4" fmla="*/ 114018 w 216746"/>
                <a:gd name="connsiteY4" fmla="*/ 83538 h 180622"/>
                <a:gd name="connsiteX5" fmla="*/ 139982 w 216746"/>
                <a:gd name="connsiteY5" fmla="*/ 0 h 180622"/>
                <a:gd name="connsiteX6" fmla="*/ 216746 w 216746"/>
                <a:gd name="connsiteY6" fmla="*/ 0 h 180622"/>
                <a:gd name="connsiteX7" fmla="*/ 195298 w 216746"/>
                <a:gd name="connsiteY7" fmla="*/ 180622 h 180622"/>
                <a:gd name="connsiteX8" fmla="*/ 144498 w 216746"/>
                <a:gd name="connsiteY8" fmla="*/ 180622 h 180622"/>
                <a:gd name="connsiteX9" fmla="*/ 147884 w 216746"/>
                <a:gd name="connsiteY9" fmla="*/ 146755 h 180622"/>
                <a:gd name="connsiteX10" fmla="*/ 151271 w 216746"/>
                <a:gd name="connsiteY10" fmla="*/ 111760 h 180622"/>
                <a:gd name="connsiteX11" fmla="*/ 155787 w 216746"/>
                <a:gd name="connsiteY11" fmla="*/ 77893 h 180622"/>
                <a:gd name="connsiteX12" fmla="*/ 161431 w 216746"/>
                <a:gd name="connsiteY12" fmla="*/ 47413 h 180622"/>
                <a:gd name="connsiteX13" fmla="*/ 160302 w 216746"/>
                <a:gd name="connsiteY13" fmla="*/ 47413 h 180622"/>
                <a:gd name="connsiteX14" fmla="*/ 158044 w 216746"/>
                <a:gd name="connsiteY14" fmla="*/ 54187 h 180622"/>
                <a:gd name="connsiteX15" fmla="*/ 154658 w 216746"/>
                <a:gd name="connsiteY15" fmla="*/ 65475 h 180622"/>
                <a:gd name="connsiteX16" fmla="*/ 151271 w 216746"/>
                <a:gd name="connsiteY16" fmla="*/ 77893 h 180622"/>
                <a:gd name="connsiteX17" fmla="*/ 147884 w 216746"/>
                <a:gd name="connsiteY17" fmla="*/ 88053 h 180622"/>
                <a:gd name="connsiteX18" fmla="*/ 117404 w 216746"/>
                <a:gd name="connsiteY18" fmla="*/ 179493 h 180622"/>
                <a:gd name="connsiteX19" fmla="*/ 75635 w 216746"/>
                <a:gd name="connsiteY19" fmla="*/ 179493 h 180622"/>
                <a:gd name="connsiteX20" fmla="*/ 69991 w 216746"/>
                <a:gd name="connsiteY20" fmla="*/ 114018 h 180622"/>
                <a:gd name="connsiteX21" fmla="*/ 66604 w 216746"/>
                <a:gd name="connsiteY21" fmla="*/ 49671 h 180622"/>
                <a:gd name="connsiteX22" fmla="*/ 64347 w 216746"/>
                <a:gd name="connsiteY22" fmla="*/ 49671 h 180622"/>
                <a:gd name="connsiteX23" fmla="*/ 63218 w 216746"/>
                <a:gd name="connsiteY23" fmla="*/ 56444 h 180622"/>
                <a:gd name="connsiteX24" fmla="*/ 62089 w 216746"/>
                <a:gd name="connsiteY24" fmla="*/ 67733 h 180622"/>
                <a:gd name="connsiteX25" fmla="*/ 60960 w 216746"/>
                <a:gd name="connsiteY25" fmla="*/ 80151 h 180622"/>
                <a:gd name="connsiteX26" fmla="*/ 59831 w 216746"/>
                <a:gd name="connsiteY26" fmla="*/ 89182 h 180622"/>
                <a:gd name="connsiteX27" fmla="*/ 48542 w 216746"/>
                <a:gd name="connsiteY27" fmla="*/ 180622 h 180622"/>
                <a:gd name="connsiteX28" fmla="*/ 0 w 216746"/>
                <a:gd name="connsiteY28" fmla="*/ 180622 h 180622"/>
                <a:gd name="connsiteX29" fmla="*/ 21449 w 216746"/>
                <a:gd name="connsiteY29" fmla="*/ 0 h 180622"/>
                <a:gd name="connsiteX30" fmla="*/ 95955 w 216746"/>
                <a:gd name="connsiteY30" fmla="*/ 0 h 180622"/>
                <a:gd name="connsiteX31" fmla="*/ 102729 w 216746"/>
                <a:gd name="connsiteY31" fmla="*/ 83538 h 180622"/>
                <a:gd name="connsiteX32" fmla="*/ 103858 w 216746"/>
                <a:gd name="connsiteY32" fmla="*/ 99342 h 180622"/>
                <a:gd name="connsiteX33" fmla="*/ 103858 w 216746"/>
                <a:gd name="connsiteY33" fmla="*/ 111760 h 180622"/>
                <a:gd name="connsiteX34" fmla="*/ 104987 w 216746"/>
                <a:gd name="connsiteY34" fmla="*/ 115147 h 180622"/>
                <a:gd name="connsiteX35" fmla="*/ 104987 w 216746"/>
                <a:gd name="connsiteY35" fmla="*/ 115147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16746" h="180622">
                  <a:moveTo>
                    <a:pt x="104987" y="115147"/>
                  </a:moveTo>
                  <a:lnTo>
                    <a:pt x="104987" y="112889"/>
                  </a:lnTo>
                  <a:cubicBezTo>
                    <a:pt x="104987" y="110631"/>
                    <a:pt x="106115" y="108373"/>
                    <a:pt x="107244" y="104987"/>
                  </a:cubicBezTo>
                  <a:cubicBezTo>
                    <a:pt x="108373" y="101600"/>
                    <a:pt x="109502" y="98213"/>
                    <a:pt x="110631" y="94827"/>
                  </a:cubicBezTo>
                  <a:cubicBezTo>
                    <a:pt x="111760" y="91440"/>
                    <a:pt x="112889" y="86924"/>
                    <a:pt x="114018" y="83538"/>
                  </a:cubicBezTo>
                  <a:lnTo>
                    <a:pt x="139982" y="0"/>
                  </a:lnTo>
                  <a:lnTo>
                    <a:pt x="216746" y="0"/>
                  </a:lnTo>
                  <a:lnTo>
                    <a:pt x="195298" y="180622"/>
                  </a:lnTo>
                  <a:lnTo>
                    <a:pt x="144498" y="180622"/>
                  </a:lnTo>
                  <a:cubicBezTo>
                    <a:pt x="145627" y="170462"/>
                    <a:pt x="146755" y="159173"/>
                    <a:pt x="147884" y="146755"/>
                  </a:cubicBezTo>
                  <a:cubicBezTo>
                    <a:pt x="149013" y="135467"/>
                    <a:pt x="150142" y="124178"/>
                    <a:pt x="151271" y="111760"/>
                  </a:cubicBezTo>
                  <a:cubicBezTo>
                    <a:pt x="152400" y="100471"/>
                    <a:pt x="153529" y="89182"/>
                    <a:pt x="155787" y="77893"/>
                  </a:cubicBezTo>
                  <a:cubicBezTo>
                    <a:pt x="158044" y="66604"/>
                    <a:pt x="159173" y="56444"/>
                    <a:pt x="161431" y="47413"/>
                  </a:cubicBezTo>
                  <a:lnTo>
                    <a:pt x="160302" y="47413"/>
                  </a:lnTo>
                  <a:cubicBezTo>
                    <a:pt x="160302" y="48542"/>
                    <a:pt x="159173" y="50800"/>
                    <a:pt x="158044" y="54187"/>
                  </a:cubicBezTo>
                  <a:cubicBezTo>
                    <a:pt x="156915" y="57573"/>
                    <a:pt x="155787" y="60960"/>
                    <a:pt x="154658" y="65475"/>
                  </a:cubicBezTo>
                  <a:cubicBezTo>
                    <a:pt x="153529" y="69991"/>
                    <a:pt x="152400" y="73378"/>
                    <a:pt x="151271" y="77893"/>
                  </a:cubicBezTo>
                  <a:cubicBezTo>
                    <a:pt x="150142" y="82409"/>
                    <a:pt x="149013" y="85795"/>
                    <a:pt x="147884" y="88053"/>
                  </a:cubicBezTo>
                  <a:lnTo>
                    <a:pt x="117404" y="179493"/>
                  </a:lnTo>
                  <a:lnTo>
                    <a:pt x="75635" y="179493"/>
                  </a:lnTo>
                  <a:cubicBezTo>
                    <a:pt x="73378" y="158044"/>
                    <a:pt x="71120" y="136595"/>
                    <a:pt x="69991" y="114018"/>
                  </a:cubicBezTo>
                  <a:cubicBezTo>
                    <a:pt x="67733" y="92569"/>
                    <a:pt x="66604" y="71120"/>
                    <a:pt x="66604" y="49671"/>
                  </a:cubicBezTo>
                  <a:lnTo>
                    <a:pt x="64347" y="49671"/>
                  </a:lnTo>
                  <a:cubicBezTo>
                    <a:pt x="64347" y="50800"/>
                    <a:pt x="64347" y="53058"/>
                    <a:pt x="63218" y="56444"/>
                  </a:cubicBezTo>
                  <a:cubicBezTo>
                    <a:pt x="62089" y="59831"/>
                    <a:pt x="63218" y="63218"/>
                    <a:pt x="62089" y="67733"/>
                  </a:cubicBezTo>
                  <a:cubicBezTo>
                    <a:pt x="62089" y="72249"/>
                    <a:pt x="60960" y="75635"/>
                    <a:pt x="60960" y="80151"/>
                  </a:cubicBezTo>
                  <a:cubicBezTo>
                    <a:pt x="60960" y="84667"/>
                    <a:pt x="59831" y="86924"/>
                    <a:pt x="59831" y="89182"/>
                  </a:cubicBezTo>
                  <a:lnTo>
                    <a:pt x="48542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lnTo>
                    <a:pt x="102729" y="83538"/>
                  </a:lnTo>
                  <a:cubicBezTo>
                    <a:pt x="102729" y="89182"/>
                    <a:pt x="103858" y="93698"/>
                    <a:pt x="103858" y="99342"/>
                  </a:cubicBezTo>
                  <a:cubicBezTo>
                    <a:pt x="103858" y="103858"/>
                    <a:pt x="103858" y="108373"/>
                    <a:pt x="103858" y="111760"/>
                  </a:cubicBezTo>
                  <a:lnTo>
                    <a:pt x="104987" y="115147"/>
                  </a:lnTo>
                  <a:lnTo>
                    <a:pt x="104987" y="115147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7D6EFAC6-A8E7-4F8D-8FE1-0C948DA3D461}"/>
                </a:ext>
              </a:extLst>
            </p:cNvPr>
            <p:cNvSpPr/>
            <p:nvPr/>
          </p:nvSpPr>
          <p:spPr bwMode="gray">
            <a:xfrm>
              <a:off x="8940447" y="5614952"/>
              <a:ext cx="150142" cy="181750"/>
            </a:xfrm>
            <a:custGeom>
              <a:avLst/>
              <a:gdLst>
                <a:gd name="connsiteX0" fmla="*/ 97084 w 150142"/>
                <a:gd name="connsiteY0" fmla="*/ 181751 h 181750"/>
                <a:gd name="connsiteX1" fmla="*/ 93698 w 150142"/>
                <a:gd name="connsiteY1" fmla="*/ 137724 h 181750"/>
                <a:gd name="connsiteX2" fmla="*/ 64347 w 150142"/>
                <a:gd name="connsiteY2" fmla="*/ 137724 h 181750"/>
                <a:gd name="connsiteX3" fmla="*/ 58702 w 150142"/>
                <a:gd name="connsiteY3" fmla="*/ 159173 h 181750"/>
                <a:gd name="connsiteX4" fmla="*/ 53058 w 150142"/>
                <a:gd name="connsiteY4" fmla="*/ 180622 h 181750"/>
                <a:gd name="connsiteX5" fmla="*/ 0 w 150142"/>
                <a:gd name="connsiteY5" fmla="*/ 180622 h 181750"/>
                <a:gd name="connsiteX6" fmla="*/ 28222 w 150142"/>
                <a:gd name="connsiteY6" fmla="*/ 90311 h 181750"/>
                <a:gd name="connsiteX7" fmla="*/ 56444 w 150142"/>
                <a:gd name="connsiteY7" fmla="*/ 0 h 181750"/>
                <a:gd name="connsiteX8" fmla="*/ 136595 w 150142"/>
                <a:gd name="connsiteY8" fmla="*/ 0 h 181750"/>
                <a:gd name="connsiteX9" fmla="*/ 143369 w 150142"/>
                <a:gd name="connsiteY9" fmla="*/ 90311 h 181750"/>
                <a:gd name="connsiteX10" fmla="*/ 150142 w 150142"/>
                <a:gd name="connsiteY10" fmla="*/ 180622 h 181750"/>
                <a:gd name="connsiteX11" fmla="*/ 97084 w 150142"/>
                <a:gd name="connsiteY11" fmla="*/ 180622 h 181750"/>
                <a:gd name="connsiteX12" fmla="*/ 93698 w 150142"/>
                <a:gd name="connsiteY12" fmla="*/ 69991 h 181750"/>
                <a:gd name="connsiteX13" fmla="*/ 92569 w 150142"/>
                <a:gd name="connsiteY13" fmla="*/ 48542 h 181750"/>
                <a:gd name="connsiteX14" fmla="*/ 92569 w 150142"/>
                <a:gd name="connsiteY14" fmla="*/ 31609 h 181750"/>
                <a:gd name="connsiteX15" fmla="*/ 86924 w 150142"/>
                <a:gd name="connsiteY15" fmla="*/ 50800 h 181750"/>
                <a:gd name="connsiteX16" fmla="*/ 81280 w 150142"/>
                <a:gd name="connsiteY16" fmla="*/ 69991 h 181750"/>
                <a:gd name="connsiteX17" fmla="*/ 69991 w 150142"/>
                <a:gd name="connsiteY17" fmla="*/ 103858 h 181750"/>
                <a:gd name="connsiteX18" fmla="*/ 95955 w 150142"/>
                <a:gd name="connsiteY18" fmla="*/ 103858 h 181750"/>
                <a:gd name="connsiteX19" fmla="*/ 93698 w 150142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0142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6595" y="0"/>
                  </a:lnTo>
                  <a:cubicBezTo>
                    <a:pt x="138853" y="30480"/>
                    <a:pt x="141111" y="60960"/>
                    <a:pt x="143369" y="90311"/>
                  </a:cubicBezTo>
                  <a:cubicBezTo>
                    <a:pt x="145627" y="119662"/>
                    <a:pt x="147884" y="150142"/>
                    <a:pt x="150142" y="180622"/>
                  </a:cubicBezTo>
                  <a:lnTo>
                    <a:pt x="97084" y="180622"/>
                  </a:lnTo>
                  <a:close/>
                  <a:moveTo>
                    <a:pt x="93698" y="69991"/>
                  </a:moveTo>
                  <a:cubicBezTo>
                    <a:pt x="93698" y="62089"/>
                    <a:pt x="92569" y="55315"/>
                    <a:pt x="92569" y="48542"/>
                  </a:cubicBezTo>
                  <a:cubicBezTo>
                    <a:pt x="92569" y="41769"/>
                    <a:pt x="92569" y="36124"/>
                    <a:pt x="92569" y="31609"/>
                  </a:cubicBezTo>
                  <a:cubicBezTo>
                    <a:pt x="90311" y="38382"/>
                    <a:pt x="89182" y="44027"/>
                    <a:pt x="86924" y="50800"/>
                  </a:cubicBezTo>
                  <a:cubicBezTo>
                    <a:pt x="84667" y="57573"/>
                    <a:pt x="83538" y="63218"/>
                    <a:pt x="81280" y="69991"/>
                  </a:cubicBezTo>
                  <a:lnTo>
                    <a:pt x="69991" y="103858"/>
                  </a:lnTo>
                  <a:lnTo>
                    <a:pt x="95955" y="103858"/>
                  </a:lnTo>
                  <a:lnTo>
                    <a:pt x="93698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CEDC9F05-54A4-4CAD-82B7-8F519864DBB8}"/>
                </a:ext>
              </a:extLst>
            </p:cNvPr>
            <p:cNvSpPr/>
            <p:nvPr/>
          </p:nvSpPr>
          <p:spPr bwMode="gray">
            <a:xfrm>
              <a:off x="9107523" y="5613823"/>
              <a:ext cx="142239" cy="187395"/>
            </a:xfrm>
            <a:custGeom>
              <a:avLst/>
              <a:gdLst>
                <a:gd name="connsiteX0" fmla="*/ 123049 w 142239"/>
                <a:gd name="connsiteY0" fmla="*/ 180622 h 187395"/>
                <a:gd name="connsiteX1" fmla="*/ 106115 w 142239"/>
                <a:gd name="connsiteY1" fmla="*/ 184009 h 187395"/>
                <a:gd name="connsiteX2" fmla="*/ 85795 w 142239"/>
                <a:gd name="connsiteY2" fmla="*/ 186266 h 187395"/>
                <a:gd name="connsiteX3" fmla="*/ 58702 w 142239"/>
                <a:gd name="connsiteY3" fmla="*/ 187395 h 187395"/>
                <a:gd name="connsiteX4" fmla="*/ 31609 w 142239"/>
                <a:gd name="connsiteY4" fmla="*/ 185138 h 187395"/>
                <a:gd name="connsiteX5" fmla="*/ 13547 w 142239"/>
                <a:gd name="connsiteY5" fmla="*/ 177235 h 187395"/>
                <a:gd name="connsiteX6" fmla="*/ 3387 w 142239"/>
                <a:gd name="connsiteY6" fmla="*/ 163689 h 187395"/>
                <a:gd name="connsiteX7" fmla="*/ 0 w 142239"/>
                <a:gd name="connsiteY7" fmla="*/ 144498 h 187395"/>
                <a:gd name="connsiteX8" fmla="*/ 0 w 142239"/>
                <a:gd name="connsiteY8" fmla="*/ 139982 h 187395"/>
                <a:gd name="connsiteX9" fmla="*/ 0 w 142239"/>
                <a:gd name="connsiteY9" fmla="*/ 134338 h 187395"/>
                <a:gd name="connsiteX10" fmla="*/ 10160 w 142239"/>
                <a:gd name="connsiteY10" fmla="*/ 48542 h 187395"/>
                <a:gd name="connsiteX11" fmla="*/ 18062 w 142239"/>
                <a:gd name="connsiteY11" fmla="*/ 23707 h 187395"/>
                <a:gd name="connsiteX12" fmla="*/ 33867 w 142239"/>
                <a:gd name="connsiteY12" fmla="*/ 9031 h 187395"/>
                <a:gd name="connsiteX13" fmla="*/ 55315 w 142239"/>
                <a:gd name="connsiteY13" fmla="*/ 2258 h 187395"/>
                <a:gd name="connsiteX14" fmla="*/ 81280 w 142239"/>
                <a:gd name="connsiteY14" fmla="*/ 0 h 187395"/>
                <a:gd name="connsiteX15" fmla="*/ 108373 w 142239"/>
                <a:gd name="connsiteY15" fmla="*/ 1129 h 187395"/>
                <a:gd name="connsiteX16" fmla="*/ 127564 w 142239"/>
                <a:gd name="connsiteY16" fmla="*/ 3387 h 187395"/>
                <a:gd name="connsiteX17" fmla="*/ 142240 w 142239"/>
                <a:gd name="connsiteY17" fmla="*/ 6773 h 187395"/>
                <a:gd name="connsiteX18" fmla="*/ 135467 w 142239"/>
                <a:gd name="connsiteY18" fmla="*/ 60960 h 187395"/>
                <a:gd name="connsiteX19" fmla="*/ 85795 w 142239"/>
                <a:gd name="connsiteY19" fmla="*/ 60960 h 187395"/>
                <a:gd name="connsiteX20" fmla="*/ 88053 w 142239"/>
                <a:gd name="connsiteY20" fmla="*/ 38382 h 187395"/>
                <a:gd name="connsiteX21" fmla="*/ 84667 w 142239"/>
                <a:gd name="connsiteY21" fmla="*/ 38382 h 187395"/>
                <a:gd name="connsiteX22" fmla="*/ 81280 w 142239"/>
                <a:gd name="connsiteY22" fmla="*/ 38382 h 187395"/>
                <a:gd name="connsiteX23" fmla="*/ 76764 w 142239"/>
                <a:gd name="connsiteY23" fmla="*/ 38382 h 187395"/>
                <a:gd name="connsiteX24" fmla="*/ 64347 w 142239"/>
                <a:gd name="connsiteY24" fmla="*/ 42898 h 187395"/>
                <a:gd name="connsiteX25" fmla="*/ 59831 w 142239"/>
                <a:gd name="connsiteY25" fmla="*/ 55316 h 187395"/>
                <a:gd name="connsiteX26" fmla="*/ 49671 w 142239"/>
                <a:gd name="connsiteY26" fmla="*/ 137724 h 187395"/>
                <a:gd name="connsiteX27" fmla="*/ 49671 w 142239"/>
                <a:gd name="connsiteY27" fmla="*/ 141111 h 187395"/>
                <a:gd name="connsiteX28" fmla="*/ 49671 w 142239"/>
                <a:gd name="connsiteY28" fmla="*/ 144498 h 187395"/>
                <a:gd name="connsiteX29" fmla="*/ 51929 w 142239"/>
                <a:gd name="connsiteY29" fmla="*/ 152400 h 187395"/>
                <a:gd name="connsiteX30" fmla="*/ 62089 w 142239"/>
                <a:gd name="connsiteY30" fmla="*/ 154658 h 187395"/>
                <a:gd name="connsiteX31" fmla="*/ 66604 w 142239"/>
                <a:gd name="connsiteY31" fmla="*/ 154658 h 187395"/>
                <a:gd name="connsiteX32" fmla="*/ 71120 w 142239"/>
                <a:gd name="connsiteY32" fmla="*/ 154658 h 187395"/>
                <a:gd name="connsiteX33" fmla="*/ 74507 w 142239"/>
                <a:gd name="connsiteY33" fmla="*/ 154658 h 187395"/>
                <a:gd name="connsiteX34" fmla="*/ 77893 w 142239"/>
                <a:gd name="connsiteY34" fmla="*/ 127564 h 187395"/>
                <a:gd name="connsiteX35" fmla="*/ 127564 w 142239"/>
                <a:gd name="connsiteY35" fmla="*/ 127564 h 187395"/>
                <a:gd name="connsiteX36" fmla="*/ 123049 w 142239"/>
                <a:gd name="connsiteY36" fmla="*/ 180622 h 187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2239" h="187395">
                  <a:moveTo>
                    <a:pt x="123049" y="180622"/>
                  </a:moveTo>
                  <a:cubicBezTo>
                    <a:pt x="118533" y="181751"/>
                    <a:pt x="112889" y="182880"/>
                    <a:pt x="106115" y="184009"/>
                  </a:cubicBezTo>
                  <a:cubicBezTo>
                    <a:pt x="100471" y="185138"/>
                    <a:pt x="93698" y="185138"/>
                    <a:pt x="85795" y="186266"/>
                  </a:cubicBezTo>
                  <a:cubicBezTo>
                    <a:pt x="77893" y="187395"/>
                    <a:pt x="68862" y="187395"/>
                    <a:pt x="58702" y="187395"/>
                  </a:cubicBezTo>
                  <a:cubicBezTo>
                    <a:pt x="48542" y="187395"/>
                    <a:pt x="39511" y="186266"/>
                    <a:pt x="31609" y="185138"/>
                  </a:cubicBezTo>
                  <a:cubicBezTo>
                    <a:pt x="23707" y="184009"/>
                    <a:pt x="18062" y="180622"/>
                    <a:pt x="13547" y="177235"/>
                  </a:cubicBezTo>
                  <a:cubicBezTo>
                    <a:pt x="9031" y="173849"/>
                    <a:pt x="5644" y="169333"/>
                    <a:pt x="3387" y="163689"/>
                  </a:cubicBezTo>
                  <a:cubicBezTo>
                    <a:pt x="1129" y="158044"/>
                    <a:pt x="0" y="152400"/>
                    <a:pt x="0" y="144498"/>
                  </a:cubicBezTo>
                  <a:lnTo>
                    <a:pt x="0" y="139982"/>
                  </a:lnTo>
                  <a:cubicBezTo>
                    <a:pt x="0" y="137724"/>
                    <a:pt x="0" y="136595"/>
                    <a:pt x="0" y="134338"/>
                  </a:cubicBezTo>
                  <a:lnTo>
                    <a:pt x="10160" y="48542"/>
                  </a:lnTo>
                  <a:cubicBezTo>
                    <a:pt x="11289" y="38382"/>
                    <a:pt x="14676" y="29351"/>
                    <a:pt x="18062" y="23707"/>
                  </a:cubicBezTo>
                  <a:cubicBezTo>
                    <a:pt x="22578" y="16933"/>
                    <a:pt x="27093" y="12418"/>
                    <a:pt x="33867" y="9031"/>
                  </a:cubicBezTo>
                  <a:cubicBezTo>
                    <a:pt x="40640" y="5644"/>
                    <a:pt x="47413" y="3387"/>
                    <a:pt x="55315" y="2258"/>
                  </a:cubicBezTo>
                  <a:cubicBezTo>
                    <a:pt x="63218" y="1129"/>
                    <a:pt x="72249" y="0"/>
                    <a:pt x="81280" y="0"/>
                  </a:cubicBezTo>
                  <a:cubicBezTo>
                    <a:pt x="91440" y="0"/>
                    <a:pt x="100471" y="0"/>
                    <a:pt x="108373" y="1129"/>
                  </a:cubicBezTo>
                  <a:cubicBezTo>
                    <a:pt x="116275" y="2258"/>
                    <a:pt x="121920" y="2258"/>
                    <a:pt x="127564" y="3387"/>
                  </a:cubicBezTo>
                  <a:cubicBezTo>
                    <a:pt x="133209" y="4516"/>
                    <a:pt x="138853" y="5644"/>
                    <a:pt x="142240" y="6773"/>
                  </a:cubicBezTo>
                  <a:lnTo>
                    <a:pt x="135467" y="60960"/>
                  </a:lnTo>
                  <a:lnTo>
                    <a:pt x="85795" y="60960"/>
                  </a:lnTo>
                  <a:lnTo>
                    <a:pt x="88053" y="38382"/>
                  </a:lnTo>
                  <a:cubicBezTo>
                    <a:pt x="86924" y="38382"/>
                    <a:pt x="85795" y="38382"/>
                    <a:pt x="84667" y="38382"/>
                  </a:cubicBezTo>
                  <a:cubicBezTo>
                    <a:pt x="83538" y="38382"/>
                    <a:pt x="82409" y="38382"/>
                    <a:pt x="81280" y="38382"/>
                  </a:cubicBezTo>
                  <a:cubicBezTo>
                    <a:pt x="80151" y="38382"/>
                    <a:pt x="77893" y="38382"/>
                    <a:pt x="76764" y="38382"/>
                  </a:cubicBezTo>
                  <a:cubicBezTo>
                    <a:pt x="71120" y="38382"/>
                    <a:pt x="66604" y="39511"/>
                    <a:pt x="64347" y="42898"/>
                  </a:cubicBezTo>
                  <a:cubicBezTo>
                    <a:pt x="62089" y="45156"/>
                    <a:pt x="60960" y="49671"/>
                    <a:pt x="59831" y="55316"/>
                  </a:cubicBezTo>
                  <a:lnTo>
                    <a:pt x="49671" y="137724"/>
                  </a:lnTo>
                  <a:cubicBezTo>
                    <a:pt x="49671" y="138853"/>
                    <a:pt x="49671" y="139982"/>
                    <a:pt x="49671" y="141111"/>
                  </a:cubicBezTo>
                  <a:cubicBezTo>
                    <a:pt x="49671" y="142240"/>
                    <a:pt x="49671" y="143369"/>
                    <a:pt x="49671" y="144498"/>
                  </a:cubicBezTo>
                  <a:cubicBezTo>
                    <a:pt x="49671" y="147884"/>
                    <a:pt x="50800" y="150142"/>
                    <a:pt x="51929" y="152400"/>
                  </a:cubicBezTo>
                  <a:cubicBezTo>
                    <a:pt x="54187" y="153529"/>
                    <a:pt x="56444" y="154658"/>
                    <a:pt x="62089" y="154658"/>
                  </a:cubicBezTo>
                  <a:cubicBezTo>
                    <a:pt x="63218" y="154658"/>
                    <a:pt x="65475" y="154658"/>
                    <a:pt x="66604" y="154658"/>
                  </a:cubicBezTo>
                  <a:cubicBezTo>
                    <a:pt x="67733" y="154658"/>
                    <a:pt x="68862" y="154658"/>
                    <a:pt x="71120" y="154658"/>
                  </a:cubicBezTo>
                  <a:lnTo>
                    <a:pt x="74507" y="154658"/>
                  </a:lnTo>
                  <a:lnTo>
                    <a:pt x="77893" y="127564"/>
                  </a:lnTo>
                  <a:lnTo>
                    <a:pt x="127564" y="127564"/>
                  </a:lnTo>
                  <a:lnTo>
                    <a:pt x="123049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ABE46D76-0C94-4DB3-A662-AC3592125603}"/>
                </a:ext>
              </a:extLst>
            </p:cNvPr>
            <p:cNvSpPr/>
            <p:nvPr/>
          </p:nvSpPr>
          <p:spPr bwMode="gray">
            <a:xfrm>
              <a:off x="9253149" y="5616081"/>
              <a:ext cx="154657" cy="180622"/>
            </a:xfrm>
            <a:custGeom>
              <a:avLst/>
              <a:gdLst>
                <a:gd name="connsiteX0" fmla="*/ 80151 w 154657"/>
                <a:gd name="connsiteY0" fmla="*/ 180622 h 180622"/>
                <a:gd name="connsiteX1" fmla="*/ 89182 w 154657"/>
                <a:gd name="connsiteY1" fmla="*/ 104987 h 180622"/>
                <a:gd name="connsiteX2" fmla="*/ 62089 w 154657"/>
                <a:gd name="connsiteY2" fmla="*/ 104987 h 180622"/>
                <a:gd name="connsiteX3" fmla="*/ 53058 w 154657"/>
                <a:gd name="connsiteY3" fmla="*/ 180622 h 180622"/>
                <a:gd name="connsiteX4" fmla="*/ 0 w 154657"/>
                <a:gd name="connsiteY4" fmla="*/ 180622 h 180622"/>
                <a:gd name="connsiteX5" fmla="*/ 21449 w 154657"/>
                <a:gd name="connsiteY5" fmla="*/ 0 h 180622"/>
                <a:gd name="connsiteX6" fmla="*/ 74507 w 154657"/>
                <a:gd name="connsiteY6" fmla="*/ 0 h 180622"/>
                <a:gd name="connsiteX7" fmla="*/ 66604 w 154657"/>
                <a:gd name="connsiteY7" fmla="*/ 68862 h 180622"/>
                <a:gd name="connsiteX8" fmla="*/ 93698 w 154657"/>
                <a:gd name="connsiteY8" fmla="*/ 68862 h 180622"/>
                <a:gd name="connsiteX9" fmla="*/ 101600 w 154657"/>
                <a:gd name="connsiteY9" fmla="*/ 0 h 180622"/>
                <a:gd name="connsiteX10" fmla="*/ 154658 w 154657"/>
                <a:gd name="connsiteY10" fmla="*/ 0 h 180622"/>
                <a:gd name="connsiteX11" fmla="*/ 133209 w 154657"/>
                <a:gd name="connsiteY11" fmla="*/ 180622 h 180622"/>
                <a:gd name="connsiteX12" fmla="*/ 80151 w 154657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657" h="180622">
                  <a:moveTo>
                    <a:pt x="80151" y="180622"/>
                  </a:moveTo>
                  <a:lnTo>
                    <a:pt x="89182" y="104987"/>
                  </a:lnTo>
                  <a:lnTo>
                    <a:pt x="62089" y="104987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74507" y="0"/>
                  </a:lnTo>
                  <a:lnTo>
                    <a:pt x="66604" y="68862"/>
                  </a:lnTo>
                  <a:lnTo>
                    <a:pt x="93698" y="68862"/>
                  </a:lnTo>
                  <a:lnTo>
                    <a:pt x="101600" y="0"/>
                  </a:lnTo>
                  <a:lnTo>
                    <a:pt x="154658" y="0"/>
                  </a:lnTo>
                  <a:lnTo>
                    <a:pt x="133209" y="180622"/>
                  </a:lnTo>
                  <a:lnTo>
                    <a:pt x="80151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9E222046-7E50-464B-A87A-40114E4DE340}"/>
                </a:ext>
              </a:extLst>
            </p:cNvPr>
            <p:cNvSpPr/>
            <p:nvPr/>
          </p:nvSpPr>
          <p:spPr bwMode="gray">
            <a:xfrm>
              <a:off x="9413452" y="5614952"/>
              <a:ext cx="145626" cy="180622"/>
            </a:xfrm>
            <a:custGeom>
              <a:avLst/>
              <a:gdLst>
                <a:gd name="connsiteX0" fmla="*/ 138853 w 145626"/>
                <a:gd name="connsiteY0" fmla="*/ 134338 h 180622"/>
                <a:gd name="connsiteX1" fmla="*/ 133209 w 145626"/>
                <a:gd name="connsiteY1" fmla="*/ 155786 h 180622"/>
                <a:gd name="connsiteX2" fmla="*/ 123049 w 145626"/>
                <a:gd name="connsiteY2" fmla="*/ 170462 h 180622"/>
                <a:gd name="connsiteX3" fmla="*/ 106115 w 145626"/>
                <a:gd name="connsiteY3" fmla="*/ 178364 h 180622"/>
                <a:gd name="connsiteX4" fmla="*/ 81280 w 145626"/>
                <a:gd name="connsiteY4" fmla="*/ 180622 h 180622"/>
                <a:gd name="connsiteX5" fmla="*/ 0 w 145626"/>
                <a:gd name="connsiteY5" fmla="*/ 180622 h 180622"/>
                <a:gd name="connsiteX6" fmla="*/ 21449 w 145626"/>
                <a:gd name="connsiteY6" fmla="*/ 0 h 180622"/>
                <a:gd name="connsiteX7" fmla="*/ 95955 w 145626"/>
                <a:gd name="connsiteY7" fmla="*/ 0 h 180622"/>
                <a:gd name="connsiteX8" fmla="*/ 116275 w 145626"/>
                <a:gd name="connsiteY8" fmla="*/ 1129 h 180622"/>
                <a:gd name="connsiteX9" fmla="*/ 132080 w 145626"/>
                <a:gd name="connsiteY9" fmla="*/ 4516 h 180622"/>
                <a:gd name="connsiteX10" fmla="*/ 142240 w 145626"/>
                <a:gd name="connsiteY10" fmla="*/ 13547 h 180622"/>
                <a:gd name="connsiteX11" fmla="*/ 145626 w 145626"/>
                <a:gd name="connsiteY11" fmla="*/ 30480 h 180622"/>
                <a:gd name="connsiteX12" fmla="*/ 145626 w 145626"/>
                <a:gd name="connsiteY12" fmla="*/ 34996 h 180622"/>
                <a:gd name="connsiteX13" fmla="*/ 145626 w 145626"/>
                <a:gd name="connsiteY13" fmla="*/ 39511 h 180622"/>
                <a:gd name="connsiteX14" fmla="*/ 144498 w 145626"/>
                <a:gd name="connsiteY14" fmla="*/ 48542 h 180622"/>
                <a:gd name="connsiteX15" fmla="*/ 142240 w 145626"/>
                <a:gd name="connsiteY15" fmla="*/ 60960 h 180622"/>
                <a:gd name="connsiteX16" fmla="*/ 138853 w 145626"/>
                <a:gd name="connsiteY16" fmla="*/ 72249 h 180622"/>
                <a:gd name="connsiteX17" fmla="*/ 130951 w 145626"/>
                <a:gd name="connsiteY17" fmla="*/ 81280 h 180622"/>
                <a:gd name="connsiteX18" fmla="*/ 118533 w 145626"/>
                <a:gd name="connsiteY18" fmla="*/ 86924 h 180622"/>
                <a:gd name="connsiteX19" fmla="*/ 136595 w 145626"/>
                <a:gd name="connsiteY19" fmla="*/ 97084 h 180622"/>
                <a:gd name="connsiteX20" fmla="*/ 141111 w 145626"/>
                <a:gd name="connsiteY20" fmla="*/ 112889 h 180622"/>
                <a:gd name="connsiteX21" fmla="*/ 139982 w 145626"/>
                <a:gd name="connsiteY21" fmla="*/ 124178 h 180622"/>
                <a:gd name="connsiteX22" fmla="*/ 138853 w 145626"/>
                <a:gd name="connsiteY22" fmla="*/ 134338 h 180622"/>
                <a:gd name="connsiteX23" fmla="*/ 88053 w 145626"/>
                <a:gd name="connsiteY23" fmla="*/ 117404 h 180622"/>
                <a:gd name="connsiteX24" fmla="*/ 88053 w 145626"/>
                <a:gd name="connsiteY24" fmla="*/ 112889 h 180622"/>
                <a:gd name="connsiteX25" fmla="*/ 85795 w 145626"/>
                <a:gd name="connsiteY25" fmla="*/ 106115 h 180622"/>
                <a:gd name="connsiteX26" fmla="*/ 75635 w 145626"/>
                <a:gd name="connsiteY26" fmla="*/ 103858 h 180622"/>
                <a:gd name="connsiteX27" fmla="*/ 60960 w 145626"/>
                <a:gd name="connsiteY27" fmla="*/ 103858 h 180622"/>
                <a:gd name="connsiteX28" fmla="*/ 56444 w 145626"/>
                <a:gd name="connsiteY28" fmla="*/ 144498 h 180622"/>
                <a:gd name="connsiteX29" fmla="*/ 69991 w 145626"/>
                <a:gd name="connsiteY29" fmla="*/ 144498 h 180622"/>
                <a:gd name="connsiteX30" fmla="*/ 79022 w 145626"/>
                <a:gd name="connsiteY30" fmla="*/ 143369 h 180622"/>
                <a:gd name="connsiteX31" fmla="*/ 83538 w 145626"/>
                <a:gd name="connsiteY31" fmla="*/ 139982 h 180622"/>
                <a:gd name="connsiteX32" fmla="*/ 85795 w 145626"/>
                <a:gd name="connsiteY32" fmla="*/ 135467 h 180622"/>
                <a:gd name="connsiteX33" fmla="*/ 86924 w 145626"/>
                <a:gd name="connsiteY33" fmla="*/ 129822 h 180622"/>
                <a:gd name="connsiteX34" fmla="*/ 88053 w 145626"/>
                <a:gd name="connsiteY34" fmla="*/ 117404 h 180622"/>
                <a:gd name="connsiteX35" fmla="*/ 77893 w 145626"/>
                <a:gd name="connsiteY35" fmla="*/ 69991 h 180622"/>
                <a:gd name="connsiteX36" fmla="*/ 88053 w 145626"/>
                <a:gd name="connsiteY36" fmla="*/ 66604 h 180622"/>
                <a:gd name="connsiteX37" fmla="*/ 91440 w 145626"/>
                <a:gd name="connsiteY37" fmla="*/ 57573 h 180622"/>
                <a:gd name="connsiteX38" fmla="*/ 92569 w 145626"/>
                <a:gd name="connsiteY38" fmla="*/ 45156 h 180622"/>
                <a:gd name="connsiteX39" fmla="*/ 92569 w 145626"/>
                <a:gd name="connsiteY39" fmla="*/ 44027 h 180622"/>
                <a:gd name="connsiteX40" fmla="*/ 92569 w 145626"/>
                <a:gd name="connsiteY40" fmla="*/ 42898 h 180622"/>
                <a:gd name="connsiteX41" fmla="*/ 89182 w 145626"/>
                <a:gd name="connsiteY41" fmla="*/ 37253 h 180622"/>
                <a:gd name="connsiteX42" fmla="*/ 80151 w 145626"/>
                <a:gd name="connsiteY42" fmla="*/ 36124 h 180622"/>
                <a:gd name="connsiteX43" fmla="*/ 68862 w 145626"/>
                <a:gd name="connsiteY43" fmla="*/ 36124 h 180622"/>
                <a:gd name="connsiteX44" fmla="*/ 64347 w 145626"/>
                <a:gd name="connsiteY44" fmla="*/ 71120 h 180622"/>
                <a:gd name="connsiteX45" fmla="*/ 77893 w 145626"/>
                <a:gd name="connsiteY45" fmla="*/ 71120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45626" h="180622">
                  <a:moveTo>
                    <a:pt x="138853" y="134338"/>
                  </a:moveTo>
                  <a:cubicBezTo>
                    <a:pt x="137724" y="143369"/>
                    <a:pt x="135467" y="150142"/>
                    <a:pt x="133209" y="155786"/>
                  </a:cubicBezTo>
                  <a:cubicBezTo>
                    <a:pt x="130951" y="161431"/>
                    <a:pt x="127564" y="167075"/>
                    <a:pt x="123049" y="170462"/>
                  </a:cubicBezTo>
                  <a:cubicBezTo>
                    <a:pt x="118533" y="173849"/>
                    <a:pt x="112889" y="177235"/>
                    <a:pt x="106115" y="178364"/>
                  </a:cubicBezTo>
                  <a:cubicBezTo>
                    <a:pt x="99342" y="180622"/>
                    <a:pt x="91440" y="180622"/>
                    <a:pt x="81280" y="180622"/>
                  </a:cubicBez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0631" y="0"/>
                    <a:pt x="116275" y="1129"/>
                  </a:cubicBezTo>
                  <a:cubicBezTo>
                    <a:pt x="123049" y="1129"/>
                    <a:pt x="127564" y="3387"/>
                    <a:pt x="132080" y="4516"/>
                  </a:cubicBezTo>
                  <a:cubicBezTo>
                    <a:pt x="136595" y="5644"/>
                    <a:pt x="139982" y="9031"/>
                    <a:pt x="142240" y="13547"/>
                  </a:cubicBezTo>
                  <a:cubicBezTo>
                    <a:pt x="144498" y="18062"/>
                    <a:pt x="145626" y="23707"/>
                    <a:pt x="145626" y="30480"/>
                  </a:cubicBezTo>
                  <a:cubicBezTo>
                    <a:pt x="145626" y="31609"/>
                    <a:pt x="145626" y="33867"/>
                    <a:pt x="145626" y="34996"/>
                  </a:cubicBezTo>
                  <a:cubicBezTo>
                    <a:pt x="145626" y="36124"/>
                    <a:pt x="145626" y="38382"/>
                    <a:pt x="145626" y="39511"/>
                  </a:cubicBezTo>
                  <a:lnTo>
                    <a:pt x="144498" y="48542"/>
                  </a:lnTo>
                  <a:cubicBezTo>
                    <a:pt x="144498" y="53058"/>
                    <a:pt x="143369" y="57573"/>
                    <a:pt x="142240" y="60960"/>
                  </a:cubicBezTo>
                  <a:cubicBezTo>
                    <a:pt x="141111" y="64347"/>
                    <a:pt x="139982" y="68862"/>
                    <a:pt x="138853" y="72249"/>
                  </a:cubicBezTo>
                  <a:cubicBezTo>
                    <a:pt x="136595" y="75635"/>
                    <a:pt x="134338" y="79022"/>
                    <a:pt x="130951" y="81280"/>
                  </a:cubicBezTo>
                  <a:cubicBezTo>
                    <a:pt x="127564" y="83538"/>
                    <a:pt x="123049" y="85795"/>
                    <a:pt x="118533" y="86924"/>
                  </a:cubicBezTo>
                  <a:cubicBezTo>
                    <a:pt x="127564" y="89182"/>
                    <a:pt x="133209" y="92569"/>
                    <a:pt x="136595" y="97084"/>
                  </a:cubicBezTo>
                  <a:cubicBezTo>
                    <a:pt x="139982" y="101600"/>
                    <a:pt x="141111" y="107244"/>
                    <a:pt x="141111" y="112889"/>
                  </a:cubicBezTo>
                  <a:cubicBezTo>
                    <a:pt x="141111" y="117404"/>
                    <a:pt x="141111" y="120791"/>
                    <a:pt x="139982" y="124178"/>
                  </a:cubicBezTo>
                  <a:lnTo>
                    <a:pt x="138853" y="134338"/>
                  </a:lnTo>
                  <a:close/>
                  <a:moveTo>
                    <a:pt x="88053" y="117404"/>
                  </a:moveTo>
                  <a:cubicBezTo>
                    <a:pt x="88053" y="116275"/>
                    <a:pt x="88053" y="115147"/>
                    <a:pt x="88053" y="112889"/>
                  </a:cubicBezTo>
                  <a:cubicBezTo>
                    <a:pt x="88053" y="109502"/>
                    <a:pt x="86924" y="107244"/>
                    <a:pt x="85795" y="106115"/>
                  </a:cubicBezTo>
                  <a:cubicBezTo>
                    <a:pt x="83538" y="104987"/>
                    <a:pt x="81280" y="103858"/>
                    <a:pt x="75635" y="103858"/>
                  </a:cubicBezTo>
                  <a:lnTo>
                    <a:pt x="60960" y="103858"/>
                  </a:lnTo>
                  <a:lnTo>
                    <a:pt x="56444" y="144498"/>
                  </a:lnTo>
                  <a:lnTo>
                    <a:pt x="69991" y="144498"/>
                  </a:lnTo>
                  <a:cubicBezTo>
                    <a:pt x="73378" y="144498"/>
                    <a:pt x="76764" y="144498"/>
                    <a:pt x="79022" y="143369"/>
                  </a:cubicBezTo>
                  <a:cubicBezTo>
                    <a:pt x="81280" y="142240"/>
                    <a:pt x="82409" y="141111"/>
                    <a:pt x="83538" y="139982"/>
                  </a:cubicBezTo>
                  <a:cubicBezTo>
                    <a:pt x="84667" y="138853"/>
                    <a:pt x="84667" y="136595"/>
                    <a:pt x="85795" y="135467"/>
                  </a:cubicBezTo>
                  <a:cubicBezTo>
                    <a:pt x="85795" y="133209"/>
                    <a:pt x="86924" y="132080"/>
                    <a:pt x="86924" y="129822"/>
                  </a:cubicBezTo>
                  <a:lnTo>
                    <a:pt x="88053" y="117404"/>
                  </a:lnTo>
                  <a:close/>
                  <a:moveTo>
                    <a:pt x="77893" y="69991"/>
                  </a:moveTo>
                  <a:cubicBezTo>
                    <a:pt x="83538" y="69991"/>
                    <a:pt x="86924" y="68862"/>
                    <a:pt x="88053" y="66604"/>
                  </a:cubicBezTo>
                  <a:cubicBezTo>
                    <a:pt x="89182" y="64347"/>
                    <a:pt x="90311" y="60960"/>
                    <a:pt x="91440" y="57573"/>
                  </a:cubicBezTo>
                  <a:lnTo>
                    <a:pt x="92569" y="45156"/>
                  </a:lnTo>
                  <a:cubicBezTo>
                    <a:pt x="92569" y="45156"/>
                    <a:pt x="92569" y="44027"/>
                    <a:pt x="92569" y="44027"/>
                  </a:cubicBezTo>
                  <a:cubicBezTo>
                    <a:pt x="92569" y="44027"/>
                    <a:pt x="92569" y="42898"/>
                    <a:pt x="92569" y="42898"/>
                  </a:cubicBezTo>
                  <a:cubicBezTo>
                    <a:pt x="92569" y="39511"/>
                    <a:pt x="91440" y="38382"/>
                    <a:pt x="89182" y="37253"/>
                  </a:cubicBezTo>
                  <a:cubicBezTo>
                    <a:pt x="86924" y="36124"/>
                    <a:pt x="84667" y="36124"/>
                    <a:pt x="80151" y="36124"/>
                  </a:cubicBezTo>
                  <a:lnTo>
                    <a:pt x="68862" y="36124"/>
                  </a:lnTo>
                  <a:lnTo>
                    <a:pt x="64347" y="71120"/>
                  </a:lnTo>
                  <a:lnTo>
                    <a:pt x="77893" y="71120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F84BD04D-E8D3-4A7C-B684-780454342406}"/>
                </a:ext>
              </a:extLst>
            </p:cNvPr>
            <p:cNvSpPr/>
            <p:nvPr/>
          </p:nvSpPr>
          <p:spPr bwMode="gray">
            <a:xfrm>
              <a:off x="9555691" y="5614952"/>
              <a:ext cx="151270" cy="181750"/>
            </a:xfrm>
            <a:custGeom>
              <a:avLst/>
              <a:gdLst>
                <a:gd name="connsiteX0" fmla="*/ 97084 w 151270"/>
                <a:gd name="connsiteY0" fmla="*/ 181751 h 181750"/>
                <a:gd name="connsiteX1" fmla="*/ 93698 w 151270"/>
                <a:gd name="connsiteY1" fmla="*/ 137724 h 181750"/>
                <a:gd name="connsiteX2" fmla="*/ 64347 w 151270"/>
                <a:gd name="connsiteY2" fmla="*/ 137724 h 181750"/>
                <a:gd name="connsiteX3" fmla="*/ 58702 w 151270"/>
                <a:gd name="connsiteY3" fmla="*/ 159173 h 181750"/>
                <a:gd name="connsiteX4" fmla="*/ 53058 w 151270"/>
                <a:gd name="connsiteY4" fmla="*/ 180622 h 181750"/>
                <a:gd name="connsiteX5" fmla="*/ 0 w 151270"/>
                <a:gd name="connsiteY5" fmla="*/ 180622 h 181750"/>
                <a:gd name="connsiteX6" fmla="*/ 28222 w 151270"/>
                <a:gd name="connsiteY6" fmla="*/ 90311 h 181750"/>
                <a:gd name="connsiteX7" fmla="*/ 56444 w 151270"/>
                <a:gd name="connsiteY7" fmla="*/ 0 h 181750"/>
                <a:gd name="connsiteX8" fmla="*/ 137724 w 151270"/>
                <a:gd name="connsiteY8" fmla="*/ 0 h 181750"/>
                <a:gd name="connsiteX9" fmla="*/ 144498 w 151270"/>
                <a:gd name="connsiteY9" fmla="*/ 90311 h 181750"/>
                <a:gd name="connsiteX10" fmla="*/ 151271 w 151270"/>
                <a:gd name="connsiteY10" fmla="*/ 180622 h 181750"/>
                <a:gd name="connsiteX11" fmla="*/ 97084 w 151270"/>
                <a:gd name="connsiteY11" fmla="*/ 180622 h 181750"/>
                <a:gd name="connsiteX12" fmla="*/ 94827 w 151270"/>
                <a:gd name="connsiteY12" fmla="*/ 69991 h 181750"/>
                <a:gd name="connsiteX13" fmla="*/ 93698 w 151270"/>
                <a:gd name="connsiteY13" fmla="*/ 48542 h 181750"/>
                <a:gd name="connsiteX14" fmla="*/ 93698 w 151270"/>
                <a:gd name="connsiteY14" fmla="*/ 31609 h 181750"/>
                <a:gd name="connsiteX15" fmla="*/ 88053 w 151270"/>
                <a:gd name="connsiteY15" fmla="*/ 50800 h 181750"/>
                <a:gd name="connsiteX16" fmla="*/ 82409 w 151270"/>
                <a:gd name="connsiteY16" fmla="*/ 69991 h 181750"/>
                <a:gd name="connsiteX17" fmla="*/ 71120 w 151270"/>
                <a:gd name="connsiteY17" fmla="*/ 103858 h 181750"/>
                <a:gd name="connsiteX18" fmla="*/ 97084 w 151270"/>
                <a:gd name="connsiteY18" fmla="*/ 103858 h 181750"/>
                <a:gd name="connsiteX19" fmla="*/ 94827 w 151270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1270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7724" y="0"/>
                  </a:lnTo>
                  <a:cubicBezTo>
                    <a:pt x="139982" y="30480"/>
                    <a:pt x="142240" y="60960"/>
                    <a:pt x="144498" y="90311"/>
                  </a:cubicBezTo>
                  <a:cubicBezTo>
                    <a:pt x="146755" y="119662"/>
                    <a:pt x="149013" y="150142"/>
                    <a:pt x="151271" y="180622"/>
                  </a:cubicBezTo>
                  <a:lnTo>
                    <a:pt x="97084" y="180622"/>
                  </a:lnTo>
                  <a:close/>
                  <a:moveTo>
                    <a:pt x="94827" y="69991"/>
                  </a:moveTo>
                  <a:cubicBezTo>
                    <a:pt x="94827" y="62089"/>
                    <a:pt x="93698" y="55315"/>
                    <a:pt x="93698" y="48542"/>
                  </a:cubicBezTo>
                  <a:cubicBezTo>
                    <a:pt x="93698" y="41769"/>
                    <a:pt x="93698" y="36124"/>
                    <a:pt x="93698" y="31609"/>
                  </a:cubicBezTo>
                  <a:cubicBezTo>
                    <a:pt x="91440" y="38382"/>
                    <a:pt x="90311" y="44027"/>
                    <a:pt x="88053" y="50800"/>
                  </a:cubicBezTo>
                  <a:cubicBezTo>
                    <a:pt x="85795" y="57573"/>
                    <a:pt x="84667" y="63218"/>
                    <a:pt x="82409" y="69991"/>
                  </a:cubicBezTo>
                  <a:lnTo>
                    <a:pt x="71120" y="103858"/>
                  </a:lnTo>
                  <a:lnTo>
                    <a:pt x="97084" y="103858"/>
                  </a:lnTo>
                  <a:lnTo>
                    <a:pt x="94827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75EA8D5B-7FEF-48F2-B1D8-96E5AF05BF86}"/>
                </a:ext>
              </a:extLst>
            </p:cNvPr>
            <p:cNvSpPr/>
            <p:nvPr/>
          </p:nvSpPr>
          <p:spPr bwMode="gray">
            <a:xfrm>
              <a:off x="9720509" y="5616081"/>
              <a:ext cx="147884" cy="180622"/>
            </a:xfrm>
            <a:custGeom>
              <a:avLst/>
              <a:gdLst>
                <a:gd name="connsiteX0" fmla="*/ 85795 w 147884"/>
                <a:gd name="connsiteY0" fmla="*/ 180622 h 180622"/>
                <a:gd name="connsiteX1" fmla="*/ 68862 w 147884"/>
                <a:gd name="connsiteY1" fmla="*/ 103858 h 180622"/>
                <a:gd name="connsiteX2" fmla="*/ 62089 w 147884"/>
                <a:gd name="connsiteY2" fmla="*/ 103858 h 180622"/>
                <a:gd name="connsiteX3" fmla="*/ 53058 w 147884"/>
                <a:gd name="connsiteY3" fmla="*/ 180622 h 180622"/>
                <a:gd name="connsiteX4" fmla="*/ 0 w 147884"/>
                <a:gd name="connsiteY4" fmla="*/ 180622 h 180622"/>
                <a:gd name="connsiteX5" fmla="*/ 21449 w 147884"/>
                <a:gd name="connsiteY5" fmla="*/ 0 h 180622"/>
                <a:gd name="connsiteX6" fmla="*/ 95955 w 147884"/>
                <a:gd name="connsiteY6" fmla="*/ 0 h 180622"/>
                <a:gd name="connsiteX7" fmla="*/ 117404 w 147884"/>
                <a:gd name="connsiteY7" fmla="*/ 1129 h 180622"/>
                <a:gd name="connsiteX8" fmla="*/ 134338 w 147884"/>
                <a:gd name="connsiteY8" fmla="*/ 5644 h 180622"/>
                <a:gd name="connsiteX9" fmla="*/ 144498 w 147884"/>
                <a:gd name="connsiteY9" fmla="*/ 15804 h 180622"/>
                <a:gd name="connsiteX10" fmla="*/ 147884 w 147884"/>
                <a:gd name="connsiteY10" fmla="*/ 32738 h 180622"/>
                <a:gd name="connsiteX11" fmla="*/ 147884 w 147884"/>
                <a:gd name="connsiteY11" fmla="*/ 37253 h 180622"/>
                <a:gd name="connsiteX12" fmla="*/ 147884 w 147884"/>
                <a:gd name="connsiteY12" fmla="*/ 41769 h 180622"/>
                <a:gd name="connsiteX13" fmla="*/ 146755 w 147884"/>
                <a:gd name="connsiteY13" fmla="*/ 55316 h 180622"/>
                <a:gd name="connsiteX14" fmla="*/ 143369 w 147884"/>
                <a:gd name="connsiteY14" fmla="*/ 69991 h 180622"/>
                <a:gd name="connsiteX15" fmla="*/ 137724 w 147884"/>
                <a:gd name="connsiteY15" fmla="*/ 82409 h 180622"/>
                <a:gd name="connsiteX16" fmla="*/ 129822 w 147884"/>
                <a:gd name="connsiteY16" fmla="*/ 91440 h 180622"/>
                <a:gd name="connsiteX17" fmla="*/ 117404 w 147884"/>
                <a:gd name="connsiteY17" fmla="*/ 97084 h 180622"/>
                <a:gd name="connsiteX18" fmla="*/ 138853 w 147884"/>
                <a:gd name="connsiteY18" fmla="*/ 179493 h 180622"/>
                <a:gd name="connsiteX19" fmla="*/ 85795 w 147884"/>
                <a:gd name="connsiteY19" fmla="*/ 179493 h 180622"/>
                <a:gd name="connsiteX20" fmla="*/ 95955 w 147884"/>
                <a:gd name="connsiteY20" fmla="*/ 46284 h 180622"/>
                <a:gd name="connsiteX21" fmla="*/ 95955 w 147884"/>
                <a:gd name="connsiteY21" fmla="*/ 44027 h 180622"/>
                <a:gd name="connsiteX22" fmla="*/ 95955 w 147884"/>
                <a:gd name="connsiteY22" fmla="*/ 42898 h 180622"/>
                <a:gd name="connsiteX23" fmla="*/ 92569 w 147884"/>
                <a:gd name="connsiteY23" fmla="*/ 34996 h 180622"/>
                <a:gd name="connsiteX24" fmla="*/ 80151 w 147884"/>
                <a:gd name="connsiteY24" fmla="*/ 33867 h 180622"/>
                <a:gd name="connsiteX25" fmla="*/ 71120 w 147884"/>
                <a:gd name="connsiteY25" fmla="*/ 33867 h 180622"/>
                <a:gd name="connsiteX26" fmla="*/ 66604 w 147884"/>
                <a:gd name="connsiteY26" fmla="*/ 71120 h 180622"/>
                <a:gd name="connsiteX27" fmla="*/ 74507 w 147884"/>
                <a:gd name="connsiteY27" fmla="*/ 71120 h 180622"/>
                <a:gd name="connsiteX28" fmla="*/ 88053 w 147884"/>
                <a:gd name="connsiteY28" fmla="*/ 68862 h 180622"/>
                <a:gd name="connsiteX29" fmla="*/ 93698 w 147884"/>
                <a:gd name="connsiteY29" fmla="*/ 57573 h 180622"/>
                <a:gd name="connsiteX30" fmla="*/ 95955 w 147884"/>
                <a:gd name="connsiteY30" fmla="*/ 46284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7884" h="180622">
                  <a:moveTo>
                    <a:pt x="85795" y="180622"/>
                  </a:moveTo>
                  <a:lnTo>
                    <a:pt x="68862" y="103858"/>
                  </a:lnTo>
                  <a:lnTo>
                    <a:pt x="62089" y="103858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1760" y="0"/>
                    <a:pt x="117404" y="1129"/>
                  </a:cubicBezTo>
                  <a:cubicBezTo>
                    <a:pt x="124178" y="2258"/>
                    <a:pt x="129822" y="3387"/>
                    <a:pt x="134338" y="5644"/>
                  </a:cubicBezTo>
                  <a:cubicBezTo>
                    <a:pt x="138853" y="7902"/>
                    <a:pt x="142240" y="11289"/>
                    <a:pt x="144498" y="15804"/>
                  </a:cubicBezTo>
                  <a:cubicBezTo>
                    <a:pt x="146755" y="20320"/>
                    <a:pt x="147884" y="25964"/>
                    <a:pt x="147884" y="32738"/>
                  </a:cubicBezTo>
                  <a:cubicBezTo>
                    <a:pt x="147884" y="33867"/>
                    <a:pt x="147884" y="36124"/>
                    <a:pt x="147884" y="37253"/>
                  </a:cubicBezTo>
                  <a:cubicBezTo>
                    <a:pt x="147884" y="38382"/>
                    <a:pt x="147884" y="40640"/>
                    <a:pt x="147884" y="41769"/>
                  </a:cubicBezTo>
                  <a:lnTo>
                    <a:pt x="146755" y="55316"/>
                  </a:lnTo>
                  <a:cubicBezTo>
                    <a:pt x="145627" y="60960"/>
                    <a:pt x="144498" y="65475"/>
                    <a:pt x="143369" y="69991"/>
                  </a:cubicBezTo>
                  <a:cubicBezTo>
                    <a:pt x="142240" y="74507"/>
                    <a:pt x="139982" y="79022"/>
                    <a:pt x="137724" y="82409"/>
                  </a:cubicBezTo>
                  <a:cubicBezTo>
                    <a:pt x="135467" y="85795"/>
                    <a:pt x="133209" y="89182"/>
                    <a:pt x="129822" y="91440"/>
                  </a:cubicBezTo>
                  <a:cubicBezTo>
                    <a:pt x="126435" y="93698"/>
                    <a:pt x="121920" y="95955"/>
                    <a:pt x="117404" y="97084"/>
                  </a:cubicBezTo>
                  <a:lnTo>
                    <a:pt x="138853" y="179493"/>
                  </a:lnTo>
                  <a:lnTo>
                    <a:pt x="85795" y="179493"/>
                  </a:lnTo>
                  <a:close/>
                  <a:moveTo>
                    <a:pt x="95955" y="46284"/>
                  </a:moveTo>
                  <a:cubicBezTo>
                    <a:pt x="95955" y="45156"/>
                    <a:pt x="95955" y="45156"/>
                    <a:pt x="95955" y="44027"/>
                  </a:cubicBezTo>
                  <a:cubicBezTo>
                    <a:pt x="95955" y="44027"/>
                    <a:pt x="95955" y="42898"/>
                    <a:pt x="95955" y="42898"/>
                  </a:cubicBezTo>
                  <a:cubicBezTo>
                    <a:pt x="95955" y="38382"/>
                    <a:pt x="94827" y="36124"/>
                    <a:pt x="92569" y="34996"/>
                  </a:cubicBezTo>
                  <a:cubicBezTo>
                    <a:pt x="90311" y="33867"/>
                    <a:pt x="85795" y="33867"/>
                    <a:pt x="80151" y="33867"/>
                  </a:cubicBezTo>
                  <a:lnTo>
                    <a:pt x="71120" y="33867"/>
                  </a:lnTo>
                  <a:lnTo>
                    <a:pt x="66604" y="71120"/>
                  </a:lnTo>
                  <a:lnTo>
                    <a:pt x="74507" y="71120"/>
                  </a:lnTo>
                  <a:cubicBezTo>
                    <a:pt x="80151" y="71120"/>
                    <a:pt x="85795" y="69991"/>
                    <a:pt x="88053" y="68862"/>
                  </a:cubicBezTo>
                  <a:cubicBezTo>
                    <a:pt x="90311" y="67733"/>
                    <a:pt x="92569" y="63218"/>
                    <a:pt x="93698" y="57573"/>
                  </a:cubicBezTo>
                  <a:lnTo>
                    <a:pt x="95955" y="46284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B3C5AC67-2874-4469-AA30-3F9B1A186C2D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CE14529F-386F-4C90-937F-D8391C75026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AF0F1C0B-01D3-487F-9378-CDEFE60E299C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3F0D89C1-FD26-4E13-8491-523670EE7EBE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8D4B4172-ED9E-4101-B0D7-E056B29265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5854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881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b" anchorCtr="0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9065263-13AF-47EE-A2CA-C37071AC14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>
            <a:noAutofit/>
          </a:bodyPr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0204597-DF1C-43B6-85FE-264B3BB604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3888" y="274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EA126B55-8306-4F14-ACC9-5B4801DBA42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493520" y="2929763"/>
            <a:ext cx="6251337" cy="276999"/>
          </a:xfrm>
        </p:spPr>
        <p:txBody>
          <a:bodyPr anchor="b" anchorCtr="0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F0743385-586F-496C-8B93-FF012E80DC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8E117162-B314-4F68-860E-48F72A6CB1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389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DB9C994F-AA09-48A2-B352-DE9C019709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081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4D5DAAD2-9A14-47B8-9BC6-51026D310E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5D55D619-27F6-4378-9341-171190DB7B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F189DA1C-DB23-4A0A-BE48-ACDBAEA0105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01C6ADFE-BFDA-4D41-BEF0-E490A6ABB55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1493520" y="5510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531AC1F-2A2C-4FA1-9F17-CFDE88AF2AAA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E115F2C8-395A-40E5-BA77-0DE766D22658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FEBBDB1-6FDB-4A7C-BF69-7FDB39091F9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240B7E7-12E7-4347-A20D-F433AC75075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08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6869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6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4823E66-AA06-41C6-BCA1-4C2AF382DB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5FCCEA0-7DC2-4F86-BBA7-B40C2E62D18F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2DC7629-5BF0-4DF1-8B64-93D588975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0C23BE9-9AF7-46F6-B722-3FEF6988F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4002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chluss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219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9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1ADCADF-9674-4436-9651-6811AF1BC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C56396C-B55F-46E2-9AB6-6F6A882DA77D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2020241" y="2501901"/>
            <a:ext cx="7186318" cy="1854198"/>
            <a:chOff x="8648066" y="5251451"/>
            <a:chExt cx="3543934" cy="914399"/>
          </a:xfrm>
        </p:grpSpPr>
        <p:pic>
          <p:nvPicPr>
            <p:cNvPr id="14" name="Grafik 13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E0B27AD9-8689-4C7E-A28B-C96F2586B3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97073" y="5251451"/>
              <a:ext cx="2194927" cy="914399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BD7029BE-EF7C-4C57-B1CA-51580CE66E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8648066" y="5251451"/>
              <a:ext cx="1309510" cy="9143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9360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8471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3514D721-549D-4774-97A9-16D403E8D8A9}" type="datetime1">
              <a:rPr lang="de-DE" smtClean="0"/>
              <a:pPr/>
              <a:t>09.05.22</a:t>
            </a:fld>
            <a:endParaRPr lang="de-DE" dirty="0"/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4ECD819-CC23-4CC5-A54F-0E016391559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DE37F96-F32A-4EC3-8A4D-E6F046686731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4B98BB7-8C21-4F5A-9F88-8226C7245D19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E71D6AD6-7773-48D3-8969-86469B2C23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0F153D12-85C9-4B61-A717-3B276518F84C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B4438264-1C4D-4095-B291-2A4F90B210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5342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8649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10836274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C1143A-57D5-4937-B11A-718B84B6F25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E0ABFC12-365D-452D-817D-CF5F622BFC5F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E38A36-3C65-476E-8536-C016B99F6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F42B69A-E771-4354-A2AF-860C71D1A1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8559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226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D4C4DB6-75E3-48B1-90FD-C4FD72E63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A232A8-68E8-48AD-8FEF-448166B6F9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FCF9677-B9F6-4E59-8CE0-666D657A08F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05191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77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7236CA1-8F6E-46F0-87E8-520F738A4E2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3888" y="245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F7C2524-1232-48C0-9D64-9964A9F16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93520" y="2641764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FE0840F5-80C4-4D20-A266-4657886BE5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23888" y="3320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3B509A5A-A5F2-4AEA-8C30-4DC704B764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493520" y="3505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DDFAC95C-5B2A-445C-9DA1-A0FC2995727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418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C40A4447-856C-4686-9D09-88BBBAEE8DB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369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BF1F11E5-A3CA-4F8F-9624-278ACB413E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B351BC8-F1D2-4FFB-A57A-405E4CDE16C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Fünf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D4818FD-1E7E-4451-A439-AFE53641EF22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fld id="{18CFFF75-597B-4EA2-9DAE-0F3D0378B926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BF8180C-60A5-467B-8E0D-573579D561E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6A08ECE-A02F-4695-B966-3C4B340416D8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642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671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8" name="Grafik 1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8AB7A21-ED51-4F37-8FE2-6E3DDE95CF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CB8B6634-F586-42CB-945E-4B51179905E6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52594815-36FF-42B4-B609-668364843CF7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4D9494DD-1974-485B-9E3D-C18CFEB965A4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4D74ED43-2783-48C4-9B99-4FF953BC4095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1B7F62C6-4DD7-4ACA-A368-6CB4586F06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08314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581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C05FF26-EE42-4CEB-8F65-B0495AB0DA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591B7086-528D-43CA-B9E7-8FAEFB7FB62E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F87F1CCE-E24B-44D6-8363-8279B90778E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AD2A4C1-5305-4936-8F20-5BCCD9220D02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E13AAC6-54A6-429C-9296-2E985CF10DFD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C6DE233-5B5F-4674-BF71-5DF4A6B9D5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57150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650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8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04B12E4-42A4-49DB-94AC-F612F34E7BF4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6222026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014DF91-9A5C-40A6-8E15-47AF23BCF1D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/>
            </a:lvl1pPr>
          </a:lstStyle>
          <a:p>
            <a:fld id="{8989DB65-F536-4740-823C-38C5FAC1DC61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CD2A9C1-BC04-45F0-9DB9-5DF833B82A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917C2A1-5B8D-46A4-A287-637830F77AF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26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4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3F79266-EE7D-4826-906B-64521EBDE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373785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" name="think-cell Folie" r:id="rId26" imgW="306" imgH="306" progId="TCLayout.ActiveDocument.1">
                  <p:embed/>
                </p:oleObj>
              </mc:Choice>
              <mc:Fallback>
                <p:oleObj name="think-cell Folie" r:id="rId2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21B096C-F588-4A7C-B668-6094116484E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623888" y="1592263"/>
            <a:ext cx="10836274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B26682F-6B0E-41E6-B44B-D67D9617A52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fld id="{50587009-2D9A-4287-8465-64E7ADB44FAE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E91D7F-7E8D-4562-81F7-830A5672AC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5" name="Grafik 2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094AAB8-12CD-4A52-8FF8-84177110971C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8EDC2D6F-5339-41EB-9C1B-B9E3817D9A01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01F91BB3-D153-4EDB-80D7-14D54214CB3C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535066E1-EACE-4E7E-AB71-A95FBEB5F7A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08FB1BAC-C753-4C67-BC7B-2F63C74A98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36" name="Rechteck 35">
            <a:extLst>
              <a:ext uri="{FF2B5EF4-FFF2-40B4-BE49-F238E27FC236}">
                <a16:creationId xmlns:a16="http://schemas.microsoft.com/office/drawing/2014/main" id="{F012B79F-F315-4AAE-B79B-67D7EB460693}"/>
              </a:ext>
            </a:extLst>
          </p:cNvPr>
          <p:cNvSpPr>
            <a:spLocks/>
          </p:cNvSpPr>
          <p:nvPr userDrawn="1"/>
        </p:nvSpPr>
        <p:spPr bwMode="gray">
          <a:xfrm>
            <a:off x="-10748" y="6753340"/>
            <a:ext cx="8135164" cy="1077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B7203C93-6D24-4D17-9E54-8A4AD4A6BE73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105198E-3375-40BC-9FEE-2769948611AB}"/>
              </a:ext>
            </a:extLst>
          </p:cNvPr>
          <p:cNvSpPr>
            <a:spLocks/>
          </p:cNvSpPr>
          <p:nvPr userDrawn="1"/>
        </p:nvSpPr>
        <p:spPr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6DEC33-CE63-4E7C-BFEF-280EF23489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531032"/>
            <a:ext cx="7120970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5097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83" r:id="rId4"/>
    <p:sldLayoutId id="2147483654" r:id="rId5"/>
    <p:sldLayoutId id="2147483681" r:id="rId6"/>
    <p:sldLayoutId id="2147483663" r:id="rId7"/>
    <p:sldLayoutId id="2147483664" r:id="rId8"/>
    <p:sldLayoutId id="2147483666" r:id="rId9"/>
    <p:sldLayoutId id="2147483669" r:id="rId10"/>
    <p:sldLayoutId id="2147483667" r:id="rId11"/>
    <p:sldLayoutId id="2147483668" r:id="rId12"/>
    <p:sldLayoutId id="2147483686" r:id="rId13"/>
    <p:sldLayoutId id="2147483687" r:id="rId14"/>
    <p:sldLayoutId id="2147483671" r:id="rId15"/>
    <p:sldLayoutId id="2147483670" r:id="rId16"/>
    <p:sldLayoutId id="2147483684" r:id="rId17"/>
    <p:sldLayoutId id="2147483679" r:id="rId18"/>
    <p:sldLayoutId id="2147483680" r:id="rId19"/>
    <p:sldLayoutId id="2147483685" r:id="rId20"/>
    <p:sldLayoutId id="2147483655" r:id="rId21"/>
    <p:sldLayoutId id="2147483682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3" pos="7219" userDrawn="1">
          <p15:clr>
            <a:srgbClr val="F26B43"/>
          </p15:clr>
        </p15:guide>
        <p15:guide id="4" pos="347" userDrawn="1">
          <p15:clr>
            <a:srgbClr val="F26B43"/>
          </p15:clr>
        </p15:guide>
        <p15:guide id="5" pos="393" userDrawn="1">
          <p15:clr>
            <a:srgbClr val="F26B43"/>
          </p15:clr>
        </p15:guide>
        <p15:guide id="6" orient="horz" pos="913" userDrawn="1">
          <p15:clr>
            <a:srgbClr val="F26B43"/>
          </p15:clr>
        </p15:guide>
        <p15:guide id="7" orient="horz" pos="1003" userDrawn="1">
          <p15:clr>
            <a:srgbClr val="F26B43"/>
          </p15:clr>
        </p15:guide>
        <p15:guide id="8" orient="horz" pos="2251" userDrawn="1">
          <p15:clr>
            <a:srgbClr val="F26B43"/>
          </p15:clr>
        </p15:guide>
        <p15:guide id="9" orient="horz" pos="3974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6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6.jpg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40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7.jpg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41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7.jpg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42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43.xml"/></Relationships>
</file>

<file path=ppt/slides/_rels/slide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0.png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10" Type="http://schemas.openxmlformats.org/officeDocument/2006/relationships/image" Target="../media/image59.svg"/><Relationship Id="rId4" Type="http://schemas.openxmlformats.org/officeDocument/2006/relationships/notesSlide" Target="../notesSlides/notesSlide44.xml"/><Relationship Id="rId9" Type="http://schemas.openxmlformats.org/officeDocument/2006/relationships/image" Target="../media/image58.png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45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46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47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48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4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blog.codecentric.de/en/2019/04/explain-non-blocking-i-o-like-im-five/" TargetMode="External"/><Relationship Id="rId1" Type="http://schemas.openxmlformats.org/officeDocument/2006/relationships/slideLayout" Target="../slideLayouts/slideLayout5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50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5.jpg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51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66.jpg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52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notesSlide" Target="../notesSlides/notesSlide53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54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notesSlide" Target="../notesSlides/notesSlide55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notesSlide" Target="../notesSlides/notesSlide56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notesSlide" Target="../notesSlides/notesSlide57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58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notesSlide" Target="../notesSlides/notesSlide5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oV9rvDllKEg" TargetMode="External"/><Relationship Id="rId1" Type="http://schemas.openxmlformats.org/officeDocument/2006/relationships/slideLayout" Target="../slideLayouts/slideLayout5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notesSlide" Target="../notesSlides/notesSlide60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61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62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67.jpg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63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62.jpg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64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63.jpg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65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66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6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jp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7.jp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1-callbacks.mov" TargetMode="External"/><Relationship Id="rId1" Type="http://schemas.microsoft.com/office/2007/relationships/media" Target="file:////Users/maschmid/Vortrag/videos/01-callbacks.mov" TargetMode="External"/><Relationship Id="rId4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jp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2-promises-01.mov" TargetMode="External"/><Relationship Id="rId1" Type="http://schemas.microsoft.com/office/2007/relationships/media" Target="file:////Users/maschmid/Vortrag/videos/02-promises-01.mov" TargetMode="External"/><Relationship Id="rId4" Type="http://schemas.openxmlformats.org/officeDocument/2006/relationships/image" Target="../media/image2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2-promises-02.mov" TargetMode="External"/><Relationship Id="rId1" Type="http://schemas.microsoft.com/office/2007/relationships/media" Target="file:////Users/maschmid/Vortrag/videos/02-promises-02.mov" TargetMode="External"/><Relationship Id="rId4" Type="http://schemas.openxmlformats.org/officeDocument/2006/relationships/image" Target="../media/image2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2-promises-03.mov" TargetMode="External"/><Relationship Id="rId1" Type="http://schemas.microsoft.com/office/2007/relationships/media" Target="file:////Users/maschmid/Vortrag/videos/02-promises-03.mov" TargetMode="External"/><Relationship Id="rId4" Type="http://schemas.openxmlformats.org/officeDocument/2006/relationships/image" Target="../media/image2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7.jpg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3-async-await.mov" TargetMode="External"/><Relationship Id="rId1" Type="http://schemas.microsoft.com/office/2007/relationships/media" Target="file:////Users/maschmid/Vortrag/videos/03-async-await.mov" TargetMode="External"/><Relationship Id="rId4" Type="http://schemas.openxmlformats.org/officeDocument/2006/relationships/image" Target="../media/image3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utomattic/mongoose/blob/321995d769ff085aa0a4553b2befb012eb2c11c8/lib/drivers/node-mongodb-native/collection.js#L141" TargetMode="External"/><Relationship Id="rId7" Type="http://schemas.openxmlformats.org/officeDocument/2006/relationships/hyperlink" Target="https://www.youtube.com/watch?v=oV9rvDllKEg" TargetMode="External"/><Relationship Id="rId2" Type="http://schemas.openxmlformats.org/officeDocument/2006/relationships/hyperlink" Target="https://github.com/Maximilian5189/asynchrone-patterns-training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www.youtube.com/watch?v=ztspvPYybIY" TargetMode="External"/><Relationship Id="rId5" Type="http://schemas.openxmlformats.org/officeDocument/2006/relationships/hyperlink" Target="https://www.nodejsdesignpatterns.com/" TargetMode="External"/><Relationship Id="rId4" Type="http://schemas.openxmlformats.org/officeDocument/2006/relationships/hyperlink" Target="https://github.com/brianc/node-postgres/blob/2013d77b28be5a0d563addb1852eb97e9693e452/packages/pg/lib/client.js#L549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7.jpg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hyperlink" Target="https://stackblitz.com/edit/node-xdwedr" TargetMode="Externa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hyperlink" Target="https://stackblitz.com/edit/node-akp7u8" TargetMode="Externa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github.com/sindresorhus/pify/blob/6a2d954a6fb7fec670021dee4e9a37530956a472/index.js#L6" TargetMode="Externa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4-event-emitter.mov" TargetMode="External"/><Relationship Id="rId1" Type="http://schemas.microsoft.com/office/2007/relationships/media" Target="file:////Users/maschmid/Vortrag/videos/04-event-emitter.mov" TargetMode="External"/><Relationship Id="rId4" Type="http://schemas.openxmlformats.org/officeDocument/2006/relationships/image" Target="../media/image32.pn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5-buffer.mov" TargetMode="External"/><Relationship Id="rId1" Type="http://schemas.microsoft.com/office/2007/relationships/media" Target="file:////Users/maschmid/Vortrag/videos/05-buffer.mov" TargetMode="External"/><Relationship Id="rId4" Type="http://schemas.openxmlformats.org/officeDocument/2006/relationships/image" Target="../media/image33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5-stream.mov" TargetMode="External"/><Relationship Id="rId1" Type="http://schemas.microsoft.com/office/2007/relationships/media" Target="file:////Users/maschmid/Vortrag/videos/05-stream.mov" TargetMode="External"/><Relationship Id="rId4" Type="http://schemas.openxmlformats.org/officeDocument/2006/relationships/image" Target="../media/image34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5.jpg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8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7.jp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7.jpg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9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7.jpg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20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8-custom-readable.mov" TargetMode="External"/><Relationship Id="rId1" Type="http://schemas.microsoft.com/office/2007/relationships/media" Target="file:////Users/maschmid/Vortrag/videos/08-custom-readable.mov" TargetMode="External"/><Relationship Id="rId4" Type="http://schemas.openxmlformats.org/officeDocument/2006/relationships/image" Target="../media/image36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08-custom-readable-async.mov" TargetMode="External"/><Relationship Id="rId1" Type="http://schemas.microsoft.com/office/2007/relationships/media" Target="file:////Users/maschmid/Vortrag/videos/08-custom-readable-async.mov" TargetMode="External"/><Relationship Id="rId4" Type="http://schemas.openxmlformats.org/officeDocument/2006/relationships/image" Target="../media/image37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11-custom-writable.mov" TargetMode="External"/><Relationship Id="rId1" Type="http://schemas.microsoft.com/office/2007/relationships/media" Target="file:////Users/maschmid/Vortrag/videos/11-custom-writable.mov" TargetMode="External"/><Relationship Id="rId4" Type="http://schemas.openxmlformats.org/officeDocument/2006/relationships/image" Target="../media/image38.png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11-custom-writable-async.mov" TargetMode="External"/><Relationship Id="rId1" Type="http://schemas.microsoft.com/office/2007/relationships/media" Target="file:////Users/maschmid/Vortrag/videos/11-custom-writable-async.mov" TargetMode="External"/><Relationship Id="rId4" Type="http://schemas.openxmlformats.org/officeDocument/2006/relationships/image" Target="../media/image39.png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hyperlink" Target="https://stackblitz.com/edit/node-yxuxew" TargetMode="External"/><Relationship Id="rId1" Type="http://schemas.openxmlformats.org/officeDocument/2006/relationships/slideLayout" Target="../slideLayouts/slideLayout5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hyperlink" Target="https://stackblitz.com/edit/node-cbnau8" TargetMode="External"/><Relationship Id="rId1" Type="http://schemas.openxmlformats.org/officeDocument/2006/relationships/slideLayout" Target="../slideLayouts/slideLayout5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1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12-async-init-queues.mov" TargetMode="External"/><Relationship Id="rId1" Type="http://schemas.microsoft.com/office/2007/relationships/media" Target="file:////Users/maschmid/Vortrag/videos/12-async-init-queues.mov" TargetMode="External"/><Relationship Id="rId4" Type="http://schemas.openxmlformats.org/officeDocument/2006/relationships/image" Target="../media/image40.png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13-async-init-queues.mov" TargetMode="External"/><Relationship Id="rId1" Type="http://schemas.microsoft.com/office/2007/relationships/media" Target="file:////Users/maschmid/Vortrag/videos/13-async-init-queues.mov" TargetMode="External"/><Relationship Id="rId4" Type="http://schemas.openxmlformats.org/officeDocument/2006/relationships/image" Target="../media/image41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file:////Users/maschmid/Vortrag/videos/13-async-init-queues-debugging.mov" TargetMode="External"/><Relationship Id="rId1" Type="http://schemas.microsoft.com/office/2007/relationships/media" Target="file:////Users/maschmid/Vortrag/videos/13-async-init-queues-debugging.mov" TargetMode="External"/><Relationship Id="rId4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4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3.png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11" Type="http://schemas.openxmlformats.org/officeDocument/2006/relationships/hyperlink" Target="https://github.com/brianc/node-postgres/blob/2013d77b28be5a0d563addb1852eb97e9693e452/packages/pg/lib/client.js#L549" TargetMode="External"/><Relationship Id="rId5" Type="http://schemas.openxmlformats.org/officeDocument/2006/relationships/oleObject" Target="../embeddings/oleObject28.bin"/><Relationship Id="rId10" Type="http://schemas.openxmlformats.org/officeDocument/2006/relationships/hyperlink" Target="https://github.com/Automattic/mongoose/blob/321995d769ff085aa0a4553b2befb012eb2c11c8/lib/drivers/node-mongodb-native/collection.js#L141" TargetMode="External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45.sv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3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24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25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26.xml"/></Relationships>
</file>

<file path=ppt/slides/_rels/slide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18" Type="http://schemas.openxmlformats.org/officeDocument/2006/relationships/image" Target="../media/image5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6.png"/><Relationship Id="rId12" Type="http://schemas.openxmlformats.org/officeDocument/2006/relationships/image" Target="../media/image51.png"/><Relationship Id="rId17" Type="http://schemas.openxmlformats.org/officeDocument/2006/relationships/image" Target="../media/image56.png"/><Relationship Id="rId2" Type="http://schemas.openxmlformats.org/officeDocument/2006/relationships/tags" Target="../tags/tag51.xml"/><Relationship Id="rId16" Type="http://schemas.openxmlformats.org/officeDocument/2006/relationships/image" Target="../media/image55.png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11" Type="http://schemas.openxmlformats.org/officeDocument/2006/relationships/image" Target="../media/image50.png"/><Relationship Id="rId5" Type="http://schemas.openxmlformats.org/officeDocument/2006/relationships/oleObject" Target="../embeddings/oleObject35.bin"/><Relationship Id="rId15" Type="http://schemas.openxmlformats.org/officeDocument/2006/relationships/image" Target="../media/image54.png"/><Relationship Id="rId10" Type="http://schemas.openxmlformats.org/officeDocument/2006/relationships/image" Target="../media/image49.png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0.png"/><Relationship Id="rId3" Type="http://schemas.openxmlformats.org/officeDocument/2006/relationships/slideLayout" Target="../slideLayouts/slideLayout5.xml"/><Relationship Id="rId7" Type="http://schemas.openxmlformats.org/officeDocument/2006/relationships/customXml" Target="../ink/ink1.xml"/><Relationship Id="rId12" Type="http://schemas.openxmlformats.org/officeDocument/2006/relationships/image" Target="../media/image61.svg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11" Type="http://schemas.openxmlformats.org/officeDocument/2006/relationships/image" Target="../media/image60.pn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59.svg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58.pn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5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30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31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3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33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7.jpg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3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jpg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35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2.jpg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36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3.jpg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37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4.jpg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38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5.jpg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1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8860851" cy="1107996"/>
          </a:xfrm>
        </p:spPr>
        <p:txBody>
          <a:bodyPr/>
          <a:lstStyle/>
          <a:p>
            <a:r>
              <a:rPr lang="de-DE" dirty="0"/>
              <a:t>Asynchrone </a:t>
            </a:r>
            <a:r>
              <a:rPr lang="de-DE" dirty="0" err="1"/>
              <a:t>pattern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4243113" cy="1107996"/>
          </a:xfrm>
        </p:spPr>
        <p:txBody>
          <a:bodyPr/>
          <a:lstStyle/>
          <a:p>
            <a:r>
              <a:rPr lang="de-DE" dirty="0"/>
              <a:t>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D8FE888-0245-CF42-AC02-40E538FB5F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4665600"/>
            <a:ext cx="1694145" cy="288147"/>
          </a:xfrm>
        </p:spPr>
        <p:txBody>
          <a:bodyPr/>
          <a:lstStyle/>
          <a:p>
            <a:r>
              <a:rPr lang="de-DE" dirty="0"/>
              <a:t>Maximilian Schmidt</a:t>
            </a:r>
          </a:p>
        </p:txBody>
      </p:sp>
    </p:spTree>
    <p:extLst>
      <p:ext uri="{BB962C8B-B14F-4D97-AF65-F5344CB8AC3E}">
        <p14:creationId xmlns:p14="http://schemas.microsoft.com/office/powerpoint/2010/main" val="2523747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B75EC4DB-B9CB-475B-9DF8-4350E87A1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4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B75EC4DB-B9CB-475B-9DF8-4350E87A1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B4C37F7-3830-4246-A28D-DC3FBE5D692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e Nutzung von </a:t>
            </a:r>
            <a:r>
              <a:rPr lang="de-DE" dirty="0" err="1"/>
              <a:t>blocking</a:t>
            </a:r>
            <a:r>
              <a:rPr lang="de-DE" dirty="0"/>
              <a:t> IO durch traditionelle Webserver war einer der Hauptmotivationsgründe für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5B28CA9-B46B-4440-A7BE-14308C7938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 anchor="ctr"/>
          <a:lstStyle/>
          <a:p>
            <a:r>
              <a:rPr lang="de-DE" sz="1800" dirty="0"/>
              <a:t>Zum Zeitpunkt der </a:t>
            </a:r>
            <a:r>
              <a:rPr lang="de-DE" sz="1800" dirty="0" err="1"/>
              <a:t>Enstehung</a:t>
            </a:r>
            <a:r>
              <a:rPr lang="de-DE" sz="1800" dirty="0"/>
              <a:t> von </a:t>
            </a:r>
            <a:r>
              <a:rPr lang="de-DE" sz="1800" dirty="0" err="1"/>
              <a:t>Node.js</a:t>
            </a:r>
            <a:r>
              <a:rPr lang="de-DE" sz="1800" dirty="0"/>
              <a:t> (2009) war es in traditionellen Webservern üblich, dass für eine rechenintensive Operation eine blockierende API z.B. des OS genutzt wurde</a:t>
            </a:r>
          </a:p>
          <a:p>
            <a:r>
              <a:rPr lang="de-DE" sz="1800" dirty="0"/>
              <a:t>Hierdurch benötigten traditionelle Webserver mehrere Threads, um weiterhin erreichbar zu sein</a:t>
            </a:r>
          </a:p>
          <a:p>
            <a:r>
              <a:rPr lang="de-DE" sz="1800" dirty="0"/>
              <a:t>Nebenläufigkeit in Webservern heute nicht mehr unbedingt mit Threads gelöst, z.B. Go </a:t>
            </a:r>
            <a:r>
              <a:rPr lang="de-DE" sz="1800" dirty="0" err="1"/>
              <a:t>Routines</a:t>
            </a:r>
            <a:endParaRPr lang="de-DE" sz="1800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530A0E-863A-4A0B-8FA6-117A12C525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 err="1"/>
              <a:t>Node.js</a:t>
            </a:r>
            <a:r>
              <a:rPr lang="de-DE" dirty="0"/>
              <a:t> nutzt asynchrones IO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8C85AA9-A23D-41A4-B160-A4256C7917F0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69523F1-D852-4B15-88CB-67ADB0778B75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142C348-37A0-49E0-B156-45BE4B8934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1AD1-EDC8-4980-B025-43AFE8E1E7C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37337906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0367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2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8" name="Bildplatzhalter 87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967FED84-D63F-41E5-8F20-4770DD3A466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5D84462-A004-450F-B536-F611E6C133A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1FD695BC-D664-4190-976C-557BCA96B0F9}" type="datetime1">
              <a:rPr lang="de-DE" smtClean="0">
                <a:solidFill>
                  <a:schemeClr val="bg1"/>
                </a:solidFill>
              </a:rPr>
              <a:pPr/>
              <a:t>09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100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AA4A5244-EE67-4E78-9FED-601886120B3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89914365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0828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4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6394905C-97B8-47F4-BCE3-CBBF5F9FAA4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DE5A136-56B3-465A-B374-A427810A189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079A9D57-D794-458F-8570-1774E083E315}" type="datetime1">
              <a:rPr lang="de-DE" smtClean="0">
                <a:solidFill>
                  <a:schemeClr val="bg1"/>
                </a:solidFill>
              </a:rPr>
              <a:pPr/>
              <a:t>09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101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195D31D0-1467-4F9E-BC0E-3D11729A512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22533221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213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4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5055835" cy="1107996"/>
          </a:xfrm>
        </p:spPr>
        <p:txBody>
          <a:bodyPr/>
          <a:lstStyle/>
          <a:p>
            <a:r>
              <a:rPr lang="de-DE" dirty="0"/>
              <a:t>Keymessa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F0D8899-C8E0-4CF7-924B-A95C0AC04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</p:spTree>
    <p:extLst>
      <p:ext uri="{BB962C8B-B14F-4D97-AF65-F5344CB8AC3E}">
        <p14:creationId xmlns:p14="http://schemas.microsoft.com/office/powerpoint/2010/main" val="3311710547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86905B-9C93-474F-872E-607B1C9008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737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6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86905B-9C93-474F-872E-607B1C9008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FD6536B-B593-475C-A683-08DC1A12A5F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3F556-2F93-4773-981A-BE3E41C7115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BE26F98-DD15-4550-8382-F50C99A0CE3C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0A7BD1-261B-4581-BB6B-8963E4AD4A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3</a:t>
            </a:fld>
            <a:endParaRPr lang="de-DE" dirty="0"/>
          </a:p>
        </p:txBody>
      </p:sp>
      <p:graphicFrame>
        <p:nvGraphicFramePr>
          <p:cNvPr id="5" name="Tabelle 7">
            <a:extLst>
              <a:ext uri="{FF2B5EF4-FFF2-40B4-BE49-F238E27FC236}">
                <a16:creationId xmlns:a16="http://schemas.microsoft.com/office/drawing/2014/main" id="{27787D33-5E12-4F94-99AE-622534E701FE}"/>
              </a:ext>
            </a:extLst>
          </p:cNvPr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4023389546"/>
              </p:ext>
            </p:extLst>
          </p:nvPr>
        </p:nvGraphicFramePr>
        <p:xfrm>
          <a:off x="623887" y="1592263"/>
          <a:ext cx="10836275" cy="3199920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167255">
                  <a:extLst>
                    <a:ext uri="{9D8B030D-6E8A-4147-A177-3AD203B41FA5}">
                      <a16:colId xmlns:a16="http://schemas.microsoft.com/office/drawing/2014/main" val="2576187757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438540790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334064594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528514672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54443456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21781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11475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88452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58473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121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2151412"/>
                  </a:ext>
                </a:extLst>
              </a:tr>
            </a:tbl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28CA9F8-2F07-48FB-9DC6-4E9A2ABB2E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076907526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58BD7E9-DAA3-4591-8561-C034891EAF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7313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9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58BD7E9-DAA3-4591-8561-C034891EAF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Tabelle 17">
            <a:extLst>
              <a:ext uri="{FF2B5EF4-FFF2-40B4-BE49-F238E27FC236}">
                <a16:creationId xmlns:a16="http://schemas.microsoft.com/office/drawing/2014/main" id="{37EB94C3-BF67-48B3-B86C-53BAA97A0B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4566971"/>
              </p:ext>
            </p:extLst>
          </p:nvPr>
        </p:nvGraphicFramePr>
        <p:xfrm>
          <a:off x="623888" y="1592263"/>
          <a:ext cx="10836275" cy="319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7084">
                  <a:extLst>
                    <a:ext uri="{9D8B030D-6E8A-4147-A177-3AD203B41FA5}">
                      <a16:colId xmlns:a16="http://schemas.microsoft.com/office/drawing/2014/main" val="61411051"/>
                    </a:ext>
                  </a:extLst>
                </a:gridCol>
                <a:gridCol w="2805249">
                  <a:extLst>
                    <a:ext uri="{9D8B030D-6E8A-4147-A177-3AD203B41FA5}">
                      <a16:colId xmlns:a16="http://schemas.microsoft.com/office/drawing/2014/main" val="3737125915"/>
                    </a:ext>
                  </a:extLst>
                </a:gridCol>
                <a:gridCol w="1051560">
                  <a:extLst>
                    <a:ext uri="{9D8B030D-6E8A-4147-A177-3AD203B41FA5}">
                      <a16:colId xmlns:a16="http://schemas.microsoft.com/office/drawing/2014/main" val="3822703858"/>
                    </a:ext>
                  </a:extLst>
                </a:gridCol>
                <a:gridCol w="1357449">
                  <a:extLst>
                    <a:ext uri="{9D8B030D-6E8A-4147-A177-3AD203B41FA5}">
                      <a16:colId xmlns:a16="http://schemas.microsoft.com/office/drawing/2014/main" val="1224474093"/>
                    </a:ext>
                  </a:extLst>
                </a:gridCol>
                <a:gridCol w="5004933">
                  <a:extLst>
                    <a:ext uri="{9D8B030D-6E8A-4147-A177-3AD203B41FA5}">
                      <a16:colId xmlns:a16="http://schemas.microsoft.com/office/drawing/2014/main" val="4127569785"/>
                    </a:ext>
                  </a:extLst>
                </a:gridCol>
              </a:tblGrid>
              <a:tr h="215713"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Components</a:t>
                      </a: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578059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381985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793610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53471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7827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758558"/>
                  </a:ext>
                </a:extLst>
              </a:tr>
            </a:tbl>
          </a:graphicData>
        </a:graphic>
      </p:graphicFrame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216595"/>
            <a:ext cx="288000" cy="288000"/>
            <a:chOff x="1407731" y="3276641"/>
            <a:chExt cx="558000" cy="550800"/>
          </a:xfrm>
        </p:grpSpPr>
        <p:sp>
          <p:nvSpPr>
            <p:cNvPr id="28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791285"/>
            <a:ext cx="288000" cy="288000"/>
            <a:chOff x="1407731" y="2539256"/>
            <a:chExt cx="558000" cy="550800"/>
          </a:xfrm>
        </p:grpSpPr>
        <p:sp>
          <p:nvSpPr>
            <p:cNvPr id="3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F936D67-80B9-4C1D-B245-F039FB258CE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jektstat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A2E7AD1-C50E-4945-838A-4512DB5AA19A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9ADF804-D36A-4431-93C2-3C8AD8545570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F246AD-6414-42FE-B3A2-69136AF483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4</a:t>
            </a:fld>
            <a:endParaRPr lang="de-DE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E825F81B-65DD-43AC-AEE5-70273F11E269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071141"/>
            <a:ext cx="288000" cy="288000"/>
            <a:chOff x="1407731" y="1812214"/>
            <a:chExt cx="558000" cy="550800"/>
          </a:xfrm>
        </p:grpSpPr>
        <p:sp>
          <p:nvSpPr>
            <p:cNvPr id="42" name="Freeform 70">
              <a:extLst>
                <a:ext uri="{FF2B5EF4-FFF2-40B4-BE49-F238E27FC236}">
                  <a16:creationId xmlns:a16="http://schemas.microsoft.com/office/drawing/2014/main" id="{8E080D9E-710E-4AD4-99DF-986E752E9E5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3A86FDF-7D78-42E0-B381-EFF2106C05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5E540673-CCFB-4EAE-9471-E08580A66F7A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644523"/>
            <a:ext cx="288000" cy="288000"/>
            <a:chOff x="1407731" y="1812214"/>
            <a:chExt cx="558000" cy="550800"/>
          </a:xfrm>
        </p:grpSpPr>
        <p:sp>
          <p:nvSpPr>
            <p:cNvPr id="45" name="Freeform 70">
              <a:extLst>
                <a:ext uri="{FF2B5EF4-FFF2-40B4-BE49-F238E27FC236}">
                  <a16:creationId xmlns:a16="http://schemas.microsoft.com/office/drawing/2014/main" id="{6872D89D-1B68-45C2-B2EF-B5562994FFE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07D60120-8CFB-4D92-B1EA-C2E4566A7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C9FD2319-3E36-4C6C-A85B-0BA60E1D9061}"/>
              </a:ext>
            </a:extLst>
          </p:cNvPr>
          <p:cNvGrpSpPr>
            <a:grpSpLocks/>
          </p:cNvGrpSpPr>
          <p:nvPr/>
        </p:nvGrpSpPr>
        <p:grpSpPr bwMode="gray">
          <a:xfrm>
            <a:off x="5175143" y="4368803"/>
            <a:ext cx="288000" cy="288000"/>
            <a:chOff x="1407731" y="1812214"/>
            <a:chExt cx="558000" cy="550800"/>
          </a:xfrm>
        </p:grpSpPr>
        <p:sp>
          <p:nvSpPr>
            <p:cNvPr id="54" name="Freeform 70">
              <a:extLst>
                <a:ext uri="{FF2B5EF4-FFF2-40B4-BE49-F238E27FC236}">
                  <a16:creationId xmlns:a16="http://schemas.microsoft.com/office/drawing/2014/main" id="{476A4D9E-3A33-4F4D-9CF1-D75957F32D6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55" name="Grafik 54">
              <a:extLst>
                <a:ext uri="{FF2B5EF4-FFF2-40B4-BE49-F238E27FC236}">
                  <a16:creationId xmlns:a16="http://schemas.microsoft.com/office/drawing/2014/main" id="{975BAE1C-3E1B-486E-A371-F030362BD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EF397ADF-3B27-4863-BEB2-D16803CCA7BF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6364566"/>
            <a:ext cx="150255" cy="150255"/>
            <a:chOff x="1407731" y="1812214"/>
            <a:chExt cx="558000" cy="550800"/>
          </a:xfrm>
        </p:grpSpPr>
        <p:sp>
          <p:nvSpPr>
            <p:cNvPr id="60" name="Freeform 70">
              <a:extLst>
                <a:ext uri="{FF2B5EF4-FFF2-40B4-BE49-F238E27FC236}">
                  <a16:creationId xmlns:a16="http://schemas.microsoft.com/office/drawing/2014/main" id="{21EC570C-384A-4A64-BE8C-1831772957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61" name="Grafik 60">
              <a:extLst>
                <a:ext uri="{FF2B5EF4-FFF2-40B4-BE49-F238E27FC236}">
                  <a16:creationId xmlns:a16="http://schemas.microsoft.com/office/drawing/2014/main" id="{D63219B8-7A84-4539-BED2-DDF73E61DE3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2835901" y="6364094"/>
            <a:ext cx="151200" cy="151200"/>
            <a:chOff x="1407731" y="3276641"/>
            <a:chExt cx="558000" cy="550800"/>
          </a:xfrm>
        </p:grpSpPr>
        <p:sp>
          <p:nvSpPr>
            <p:cNvPr id="34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1733654" y="6364094"/>
            <a:ext cx="151200" cy="151200"/>
            <a:chOff x="1407731" y="2539256"/>
            <a:chExt cx="558000" cy="550800"/>
          </a:xfrm>
        </p:grpSpPr>
        <p:sp>
          <p:nvSpPr>
            <p:cNvPr id="37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47" name="Textfeld 46">
            <a:extLst>
              <a:ext uri="{FF2B5EF4-FFF2-40B4-BE49-F238E27FC236}">
                <a16:creationId xmlns:a16="http://schemas.microsoft.com/office/drawing/2014/main" id="{DE2376C8-A7DD-4080-B070-8D40BD04543B}"/>
              </a:ext>
            </a:extLst>
          </p:cNvPr>
          <p:cNvSpPr txBox="1">
            <a:spLocks/>
          </p:cNvSpPr>
          <p:nvPr/>
        </p:nvSpPr>
        <p:spPr>
          <a:xfrm>
            <a:off x="846139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C8C4584-0E4B-41A0-B715-9B44EBD3347B}"/>
              </a:ext>
            </a:extLst>
          </p:cNvPr>
          <p:cNvSpPr txBox="1">
            <a:spLocks/>
          </p:cNvSpPr>
          <p:nvPr/>
        </p:nvSpPr>
        <p:spPr>
          <a:xfrm>
            <a:off x="1951596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9F6C11CA-4843-40DB-8C47-7E52F2A70AF5}"/>
              </a:ext>
            </a:extLst>
          </p:cNvPr>
          <p:cNvSpPr txBox="1">
            <a:spLocks/>
          </p:cNvSpPr>
          <p:nvPr/>
        </p:nvSpPr>
        <p:spPr>
          <a:xfrm>
            <a:off x="3057053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7253CE-E84F-4951-9B47-252B898C7E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8085089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A9E8862-37A2-4F99-8B3F-28EE0415F3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224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1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A9E8862-37A2-4F99-8B3F-28EE0415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99AAFE2-16C1-4F3A-B974-4266F40039C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D6422C5-D568-498A-93AD-99D47B336E1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218CEC6-2F85-49BB-A42C-BEA2096EB2BA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8D0937-987B-4424-9A9A-FF8DB8F3301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5</a:t>
            </a:fld>
            <a:endParaRPr lang="de-DE" dirty="0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AE4FEC6C-A25C-41BA-9664-91672F655F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49684"/>
              </p:ext>
            </p:extLst>
          </p:nvPr>
        </p:nvGraphicFramePr>
        <p:xfrm>
          <a:off x="623888" y="1592263"/>
          <a:ext cx="10836272" cy="356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4534">
                  <a:extLst>
                    <a:ext uri="{9D8B030D-6E8A-4147-A177-3AD203B41FA5}">
                      <a16:colId xmlns:a16="http://schemas.microsoft.com/office/drawing/2014/main" val="3886637944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67336448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412742053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46921429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171946892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76225312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304363884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544424074"/>
                    </a:ext>
                  </a:extLst>
                </a:gridCol>
              </a:tblGrid>
              <a:tr h="142748"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orem</a:t>
                      </a:r>
                    </a:p>
                  </a:txBody>
                  <a:tcPr marL="72000" marR="72000" marT="0" marB="72000"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Dolo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S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Ame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Consecetu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El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0789416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algn="ctr" rtl="0"/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0615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8174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74918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32495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319225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Sit amet</a:t>
                      </a:r>
                    </a:p>
                  </a:txBody>
                  <a:tcPr marL="72000" marR="72000" marT="72000" marB="72000"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97763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7670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8121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247608"/>
                  </a:ext>
                </a:extLst>
              </a:tr>
            </a:tbl>
          </a:graphicData>
        </a:graphic>
      </p:graphicFrame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6F95F7-886B-43DB-B711-739F589508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942150116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15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4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schrit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5C958DB6-C341-428F-88CE-D8350CBC3C8C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6</a:t>
            </a:fld>
            <a:endParaRPr lang="de-DE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DF6A69F-8365-4949-93FA-AC03227E8D01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3486329"/>
            <a:ext cx="10836270" cy="662651"/>
            <a:chOff x="623888" y="2910812"/>
            <a:chExt cx="10836270" cy="662651"/>
          </a:xfrm>
        </p:grpSpPr>
        <p:sp>
          <p:nvSpPr>
            <p:cNvPr id="10" name="Pfeil: Fünfeck 9">
              <a:extLst>
                <a:ext uri="{FF2B5EF4-FFF2-40B4-BE49-F238E27FC236}">
                  <a16:creationId xmlns:a16="http://schemas.microsoft.com/office/drawing/2014/main" id="{A6F5C432-6F5A-4A5A-AF55-D563DD84296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790068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1" name="Pfeil: Chevron 10">
              <a:extLst>
                <a:ext uri="{FF2B5EF4-FFF2-40B4-BE49-F238E27FC236}">
                  <a16:creationId xmlns:a16="http://schemas.microsoft.com/office/drawing/2014/main" id="{71331561-35B9-4063-9F30-30E50F2DFF9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5956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Pfeil: Chevron 11">
              <a:extLst>
                <a:ext uri="{FF2B5EF4-FFF2-40B4-BE49-F238E27FC236}">
                  <a16:creationId xmlns:a16="http://schemas.microsoft.com/office/drawing/2014/main" id="{101A5C7B-F5E0-42B7-A5D4-A3C0D6B2BC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3" name="Pfeil: Chevron 12">
              <a:extLst>
                <a:ext uri="{FF2B5EF4-FFF2-40B4-BE49-F238E27FC236}">
                  <a16:creationId xmlns:a16="http://schemas.microsoft.com/office/drawing/2014/main" id="{651612B7-3C00-4FE1-B014-5B3790A99E48}"/>
                </a:ext>
              </a:extLst>
            </p:cNvPr>
            <p:cNvSpPr>
              <a:spLocks/>
            </p:cNvSpPr>
            <p:nvPr/>
          </p:nvSpPr>
          <p:spPr bwMode="gray">
            <a:xfrm>
              <a:off x="8670090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8A95701-C8F1-46C6-9406-3FAC012C683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6438"/>
            <a:ext cx="10836270" cy="662651"/>
            <a:chOff x="623888" y="1596438"/>
            <a:chExt cx="10836270" cy="662651"/>
          </a:xfrm>
        </p:grpSpPr>
        <p:sp>
          <p:nvSpPr>
            <p:cNvPr id="14" name="Pfeil: Fünfeck 13">
              <a:extLst>
                <a:ext uri="{FF2B5EF4-FFF2-40B4-BE49-F238E27FC236}">
                  <a16:creationId xmlns:a16="http://schemas.microsoft.com/office/drawing/2014/main" id="{EC27F459-9170-4AF1-A667-5B26CE609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1596438"/>
              <a:ext cx="547213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7" name="Pfeil: Chevron 16">
              <a:extLst>
                <a:ext uri="{FF2B5EF4-FFF2-40B4-BE49-F238E27FC236}">
                  <a16:creationId xmlns:a16="http://schemas.microsoft.com/office/drawing/2014/main" id="{E259DD6C-EE5A-4EE4-A46C-16DB6BBF6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1596438"/>
              <a:ext cx="547213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FC6F811-0475-4834-878A-041F8E632A93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2541384"/>
            <a:ext cx="10836270" cy="662651"/>
            <a:chOff x="623888" y="2370834"/>
            <a:chExt cx="10836270" cy="662651"/>
          </a:xfrm>
        </p:grpSpPr>
        <p:sp>
          <p:nvSpPr>
            <p:cNvPr id="18" name="Pfeil: Fünfeck 17">
              <a:extLst>
                <a:ext uri="{FF2B5EF4-FFF2-40B4-BE49-F238E27FC236}">
                  <a16:creationId xmlns:a16="http://schemas.microsoft.com/office/drawing/2014/main" id="{C3CDC689-B6EB-46D1-865C-4B53CA9F9F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137434CB-5A8F-4D64-B327-FF20597CE6D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Pfeil: Chevron 19">
              <a:extLst>
                <a:ext uri="{FF2B5EF4-FFF2-40B4-BE49-F238E27FC236}">
                  <a16:creationId xmlns:a16="http://schemas.microsoft.com/office/drawing/2014/main" id="{3CC8EB89-2918-453D-A986-7FAF4D071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A1E2876-6859-4A88-B2AA-1C984FF0B0B4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4431274"/>
            <a:ext cx="10836270" cy="662651"/>
            <a:chOff x="623888" y="2910812"/>
            <a:chExt cx="10836270" cy="662651"/>
          </a:xfrm>
        </p:grpSpPr>
        <p:sp>
          <p:nvSpPr>
            <p:cNvPr id="25" name="Pfeil: Fünfeck 24">
              <a:extLst>
                <a:ext uri="{FF2B5EF4-FFF2-40B4-BE49-F238E27FC236}">
                  <a16:creationId xmlns:a16="http://schemas.microsoft.com/office/drawing/2014/main" id="{0CFB1959-33C9-4487-8875-E9D1376FB2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253654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6" name="Pfeil: Chevron 25">
              <a:extLst>
                <a:ext uri="{FF2B5EF4-FFF2-40B4-BE49-F238E27FC236}">
                  <a16:creationId xmlns:a16="http://schemas.microsoft.com/office/drawing/2014/main" id="{58B87E74-CC66-4E5D-9D9C-5A5DD7626D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542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7" name="Pfeil: Chevron 26">
              <a:extLst>
                <a:ext uri="{FF2B5EF4-FFF2-40B4-BE49-F238E27FC236}">
                  <a16:creationId xmlns:a16="http://schemas.microsoft.com/office/drawing/2014/main" id="{3B40EC27-5D91-422D-A3B9-1CCEB8668426}"/>
                </a:ext>
              </a:extLst>
            </p:cNvPr>
            <p:cNvSpPr>
              <a:spLocks/>
            </p:cNvSpPr>
            <p:nvPr/>
          </p:nvSpPr>
          <p:spPr bwMode="gray">
            <a:xfrm>
              <a:off x="7060850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8" name="Pfeil: Chevron 27">
              <a:extLst>
                <a:ext uri="{FF2B5EF4-FFF2-40B4-BE49-F238E27FC236}">
                  <a16:creationId xmlns:a16="http://schemas.microsoft.com/office/drawing/2014/main" id="{EEE573CD-3CB5-4F9E-9FBE-9B298601C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6504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9" name="Pfeil: Chevron 28">
              <a:extLst>
                <a:ext uri="{FF2B5EF4-FFF2-40B4-BE49-F238E27FC236}">
                  <a16:creationId xmlns:a16="http://schemas.microsoft.com/office/drawing/2014/main" id="{EBF74D32-AA46-4754-A9F7-625F5967A0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915196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217BD623-219B-4F9C-A888-B6774EACA704}"/>
              </a:ext>
            </a:extLst>
          </p:cNvPr>
          <p:cNvGrpSpPr/>
          <p:nvPr/>
        </p:nvGrpSpPr>
        <p:grpSpPr bwMode="gray">
          <a:xfrm>
            <a:off x="623889" y="5376220"/>
            <a:ext cx="10836269" cy="662651"/>
            <a:chOff x="623889" y="2910812"/>
            <a:chExt cx="10836269" cy="662651"/>
          </a:xfrm>
        </p:grpSpPr>
        <p:sp>
          <p:nvSpPr>
            <p:cNvPr id="31" name="Pfeil: Fünfeck 30">
              <a:extLst>
                <a:ext uri="{FF2B5EF4-FFF2-40B4-BE49-F238E27FC236}">
                  <a16:creationId xmlns:a16="http://schemas.microsoft.com/office/drawing/2014/main" id="{75B57E09-AA2C-4E49-95F7-41C4642E4B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9" y="2910812"/>
              <a:ext cx="189604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2" name="Pfeil: Chevron 31">
              <a:extLst>
                <a:ext uri="{FF2B5EF4-FFF2-40B4-BE49-F238E27FC236}">
                  <a16:creationId xmlns:a16="http://schemas.microsoft.com/office/drawing/2014/main" id="{271DC5CA-EF1E-4721-987D-22219E7845C4}"/>
                </a:ext>
              </a:extLst>
            </p:cNvPr>
            <p:cNvSpPr>
              <a:spLocks/>
            </p:cNvSpPr>
            <p:nvPr/>
          </p:nvSpPr>
          <p:spPr bwMode="gray">
            <a:xfrm>
              <a:off x="241193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3" name="Pfeil: Chevron 32">
              <a:extLst>
                <a:ext uri="{FF2B5EF4-FFF2-40B4-BE49-F238E27FC236}">
                  <a16:creationId xmlns:a16="http://schemas.microsoft.com/office/drawing/2014/main" id="{EC2C4280-0438-43A7-B3FF-4020EA27478E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4" name="Pfeil: Chevron 33">
              <a:extLst>
                <a:ext uri="{FF2B5EF4-FFF2-40B4-BE49-F238E27FC236}">
                  <a16:creationId xmlns:a16="http://schemas.microsoft.com/office/drawing/2014/main" id="{9741B541-709B-41D5-906C-7B2A6E393173}"/>
                </a:ext>
              </a:extLst>
            </p:cNvPr>
            <p:cNvSpPr>
              <a:spLocks/>
            </p:cNvSpPr>
            <p:nvPr/>
          </p:nvSpPr>
          <p:spPr bwMode="gray">
            <a:xfrm>
              <a:off x="956411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5" name="Pfeil: Chevron 34">
              <a:extLst>
                <a:ext uri="{FF2B5EF4-FFF2-40B4-BE49-F238E27FC236}">
                  <a16:creationId xmlns:a16="http://schemas.microsoft.com/office/drawing/2014/main" id="{A4640B27-FC76-4C48-A6D7-EE91C553F3E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Pfeil: Chevron 35">
              <a:extLst>
                <a:ext uri="{FF2B5EF4-FFF2-40B4-BE49-F238E27FC236}">
                  <a16:creationId xmlns:a16="http://schemas.microsoft.com/office/drawing/2014/main" id="{3066B0B6-34B4-4C26-9C1C-F9A947E0A9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8A280EA-CD3C-453A-8445-0A2FD7D43C2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05616068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881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6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69ED82-59A6-40BE-BCF3-8EC9F0E106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inea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7670BE74-AD3A-4410-97A6-8E7B989CABA7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7</a:t>
            </a:fld>
            <a:endParaRPr lang="de-DE" dirty="0"/>
          </a:p>
        </p:txBody>
      </p:sp>
      <p:sp>
        <p:nvSpPr>
          <p:cNvPr id="10" name="Pfeil: Fünfeck 9">
            <a:extLst>
              <a:ext uri="{FF2B5EF4-FFF2-40B4-BE49-F238E27FC236}">
                <a16:creationId xmlns:a16="http://schemas.microsoft.com/office/drawing/2014/main" id="{A6F5C432-6F5A-4A5A-AF55-D563DD842965}"/>
              </a:ext>
            </a:extLst>
          </p:cNvPr>
          <p:cNvSpPr>
            <a:spLocks/>
          </p:cNvSpPr>
          <p:nvPr/>
        </p:nvSpPr>
        <p:spPr bwMode="gray">
          <a:xfrm>
            <a:off x="623888" y="1596438"/>
            <a:ext cx="2790068" cy="662651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71331561-35B9-4063-9F30-30E50F2DFF94}"/>
              </a:ext>
            </a:extLst>
          </p:cNvPr>
          <p:cNvSpPr>
            <a:spLocks/>
          </p:cNvSpPr>
          <p:nvPr/>
        </p:nvSpPr>
        <p:spPr bwMode="gray">
          <a:xfrm>
            <a:off x="3305956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2" name="Pfeil: Chevron 11">
            <a:extLst>
              <a:ext uri="{FF2B5EF4-FFF2-40B4-BE49-F238E27FC236}">
                <a16:creationId xmlns:a16="http://schemas.microsoft.com/office/drawing/2014/main" id="{101A5C7B-F5E0-42B7-A5D4-A3C0D6B2BC45}"/>
              </a:ext>
            </a:extLst>
          </p:cNvPr>
          <p:cNvSpPr>
            <a:spLocks/>
          </p:cNvSpPr>
          <p:nvPr/>
        </p:nvSpPr>
        <p:spPr bwMode="gray">
          <a:xfrm>
            <a:off x="5988023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3" name="Pfeil: Chevron 12">
            <a:extLst>
              <a:ext uri="{FF2B5EF4-FFF2-40B4-BE49-F238E27FC236}">
                <a16:creationId xmlns:a16="http://schemas.microsoft.com/office/drawing/2014/main" id="{651612B7-3C00-4FE1-B014-5B3790A99E48}"/>
              </a:ext>
            </a:extLst>
          </p:cNvPr>
          <p:cNvSpPr>
            <a:spLocks/>
          </p:cNvSpPr>
          <p:nvPr/>
        </p:nvSpPr>
        <p:spPr bwMode="gray">
          <a:xfrm>
            <a:off x="8670090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62D57C5A-1DE1-4E47-8D4F-70F43DD691E7}"/>
              </a:ext>
            </a:extLst>
          </p:cNvPr>
          <p:cNvCxnSpPr>
            <a:cxnSpLocks/>
          </p:cNvCxnSpPr>
          <p:nvPr/>
        </p:nvCxnSpPr>
        <p:spPr bwMode="gray">
          <a:xfrm>
            <a:off x="32653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82">
            <a:extLst>
              <a:ext uri="{FF2B5EF4-FFF2-40B4-BE49-F238E27FC236}">
                <a16:creationId xmlns:a16="http://schemas.microsoft.com/office/drawing/2014/main" id="{D36E06FA-E4B9-45FD-B766-DC857816AC5B}"/>
              </a:ext>
            </a:extLst>
          </p:cNvPr>
          <p:cNvSpPr txBox="1">
            <a:spLocks/>
          </p:cNvSpPr>
          <p:nvPr/>
        </p:nvSpPr>
        <p:spPr bwMode="gray">
          <a:xfrm>
            <a:off x="626973" y="2545454"/>
            <a:ext cx="2407043" cy="1585049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7C434681-4785-4911-A40B-AFB95568BB2D}"/>
              </a:ext>
            </a:extLst>
          </p:cNvPr>
          <p:cNvCxnSpPr>
            <a:cxnSpLocks/>
          </p:cNvCxnSpPr>
          <p:nvPr/>
        </p:nvCxnSpPr>
        <p:spPr bwMode="gray">
          <a:xfrm>
            <a:off x="595135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9FB55BB4-5A70-4609-858A-87E2F3FB5EEE}"/>
              </a:ext>
            </a:extLst>
          </p:cNvPr>
          <p:cNvCxnSpPr>
            <a:cxnSpLocks/>
          </p:cNvCxnSpPr>
          <p:nvPr/>
        </p:nvCxnSpPr>
        <p:spPr bwMode="gray">
          <a:xfrm>
            <a:off x="86374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82">
            <a:extLst>
              <a:ext uri="{FF2B5EF4-FFF2-40B4-BE49-F238E27FC236}">
                <a16:creationId xmlns:a16="http://schemas.microsoft.com/office/drawing/2014/main" id="{46EC343F-950F-4E1E-8E1F-A06548B389C7}"/>
              </a:ext>
            </a:extLst>
          </p:cNvPr>
          <p:cNvSpPr txBox="1">
            <a:spLocks/>
          </p:cNvSpPr>
          <p:nvPr/>
        </p:nvSpPr>
        <p:spPr bwMode="gray">
          <a:xfrm>
            <a:off x="3495675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2" name="TextBox 82">
            <a:extLst>
              <a:ext uri="{FF2B5EF4-FFF2-40B4-BE49-F238E27FC236}">
                <a16:creationId xmlns:a16="http://schemas.microsoft.com/office/drawing/2014/main" id="{21766793-1855-4B28-B7EA-1BC34529FEB6}"/>
              </a:ext>
            </a:extLst>
          </p:cNvPr>
          <p:cNvSpPr txBox="1">
            <a:spLocks/>
          </p:cNvSpPr>
          <p:nvPr/>
        </p:nvSpPr>
        <p:spPr bwMode="gray">
          <a:xfrm>
            <a:off x="6182188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3" name="TextBox 82">
            <a:extLst>
              <a:ext uri="{FF2B5EF4-FFF2-40B4-BE49-F238E27FC236}">
                <a16:creationId xmlns:a16="http://schemas.microsoft.com/office/drawing/2014/main" id="{D9BBE962-6C95-4AED-8B90-8BA6449FA98C}"/>
              </a:ext>
            </a:extLst>
          </p:cNvPr>
          <p:cNvSpPr txBox="1">
            <a:spLocks/>
          </p:cNvSpPr>
          <p:nvPr/>
        </p:nvSpPr>
        <p:spPr bwMode="gray">
          <a:xfrm>
            <a:off x="8868700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513F3FD-BD0E-4C22-AF44-53F868413D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228684938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kt 70" hidden="1">
            <a:extLst>
              <a:ext uri="{FF2B5EF4-FFF2-40B4-BE49-F238E27FC236}">
                <a16:creationId xmlns:a16="http://schemas.microsoft.com/office/drawing/2014/main" id="{DF6FE36B-94D0-4DE1-8CB0-2907DA3A94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72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3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1" name="Objekt 70" hidden="1">
                        <a:extLst>
                          <a:ext uri="{FF2B5EF4-FFF2-40B4-BE49-F238E27FC236}">
                            <a16:creationId xmlns:a16="http://schemas.microsoft.com/office/drawing/2014/main" id="{DF6FE36B-94D0-4DE1-8CB0-2907DA3A9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1642B7-50FD-45D5-B6D6-EE00C14ED3E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kreis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7FB597-B65B-411C-9FEC-FEE35921FB1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5EB4673-88B5-422C-94F7-21B900A21C7F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4381CA-1213-4880-B012-2E76D56A09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8</a:t>
            </a:fld>
            <a:endParaRPr lang="de-DE" dirty="0"/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D7714377-62C5-459C-928C-68180BD7EB64}"/>
              </a:ext>
            </a:extLst>
          </p:cNvPr>
          <p:cNvGrpSpPr/>
          <p:nvPr/>
        </p:nvGrpSpPr>
        <p:grpSpPr bwMode="gray">
          <a:xfrm>
            <a:off x="615809" y="1610664"/>
            <a:ext cx="2333258" cy="2334307"/>
            <a:chOff x="615809" y="1610664"/>
            <a:chExt cx="2333258" cy="2334307"/>
          </a:xfrm>
          <a:solidFill>
            <a:srgbClr val="E4E4E4"/>
          </a:solidFill>
        </p:grpSpPr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7B571831-BF25-40D4-8FFA-DE62C427B50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15809" y="1610664"/>
              <a:ext cx="2333258" cy="2334307"/>
              <a:chOff x="615809" y="1610664"/>
              <a:chExt cx="2333258" cy="2334307"/>
            </a:xfrm>
            <a:grpFill/>
          </p:grpSpPr>
          <p:sp>
            <p:nvSpPr>
              <p:cNvPr id="20" name="Freeform: Shape 34">
                <a:extLst>
                  <a:ext uri="{FF2B5EF4-FFF2-40B4-BE49-F238E27FC236}">
                    <a16:creationId xmlns:a16="http://schemas.microsoft.com/office/drawing/2014/main" id="{6715EA81-389A-4B83-9959-59948E3E5A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5809" y="1610665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35">
                <a:extLst>
                  <a:ext uri="{FF2B5EF4-FFF2-40B4-BE49-F238E27FC236}">
                    <a16:creationId xmlns:a16="http://schemas.microsoft.com/office/drawing/2014/main" id="{F8B4A8AA-5D2B-4EF4-9DC5-30918663E43F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611916" y="1610664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3" name="TextBox 71">
              <a:extLst>
                <a:ext uri="{FF2B5EF4-FFF2-40B4-BE49-F238E27FC236}">
                  <a16:creationId xmlns:a16="http://schemas.microsoft.com/office/drawing/2014/main" id="{816A98B0-E1ED-4E53-AA41-5FCB0E58F8E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17006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0EFC324E-73CF-4B7B-A80D-49B87183262B}"/>
              </a:ext>
            </a:extLst>
          </p:cNvPr>
          <p:cNvGrpSpPr/>
          <p:nvPr/>
        </p:nvGrpSpPr>
        <p:grpSpPr bwMode="gray">
          <a:xfrm>
            <a:off x="3447178" y="1610664"/>
            <a:ext cx="2333258" cy="2334307"/>
            <a:chOff x="3447178" y="1610664"/>
            <a:chExt cx="2333258" cy="2334307"/>
          </a:xfrm>
          <a:solidFill>
            <a:srgbClr val="E4E4E4"/>
          </a:solidFill>
        </p:grpSpPr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DA70E3B3-9B4D-4FEA-95D5-5BF61769EFD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447178" y="1610664"/>
              <a:ext cx="2333258" cy="2334307"/>
              <a:chOff x="3447178" y="1610664"/>
              <a:chExt cx="2333258" cy="2334307"/>
            </a:xfrm>
            <a:grpFill/>
          </p:grpSpPr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1EB52826-DDEE-4BA9-8C8F-DF2D4C196C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3764" y="3051946"/>
                <a:ext cx="1980054" cy="893025"/>
              </a:xfrm>
              <a:custGeom>
                <a:avLst/>
                <a:gdLst>
                  <a:gd name="T0" fmla="*/ 177 w 1878"/>
                  <a:gd name="T1" fmla="*/ 0 h 847"/>
                  <a:gd name="T2" fmla="*/ 536 w 1878"/>
                  <a:gd name="T3" fmla="*/ 2 h 847"/>
                  <a:gd name="T4" fmla="*/ 577 w 1878"/>
                  <a:gd name="T5" fmla="*/ 61 h 847"/>
                  <a:gd name="T6" fmla="*/ 626 w 1878"/>
                  <a:gd name="T7" fmla="*/ 109 h 847"/>
                  <a:gd name="T8" fmla="*/ 682 w 1878"/>
                  <a:gd name="T9" fmla="*/ 151 h 847"/>
                  <a:gd name="T10" fmla="*/ 745 w 1878"/>
                  <a:gd name="T11" fmla="*/ 186 h 847"/>
                  <a:gd name="T12" fmla="*/ 810 w 1878"/>
                  <a:gd name="T13" fmla="*/ 210 h 847"/>
                  <a:gd name="T14" fmla="*/ 878 w 1878"/>
                  <a:gd name="T15" fmla="*/ 226 h 847"/>
                  <a:gd name="T16" fmla="*/ 950 w 1878"/>
                  <a:gd name="T17" fmla="*/ 230 h 847"/>
                  <a:gd name="T18" fmla="*/ 1027 w 1878"/>
                  <a:gd name="T19" fmla="*/ 224 h 847"/>
                  <a:gd name="T20" fmla="*/ 1101 w 1878"/>
                  <a:gd name="T21" fmla="*/ 205 h 847"/>
                  <a:gd name="T22" fmla="*/ 1171 w 1878"/>
                  <a:gd name="T23" fmla="*/ 177 h 847"/>
                  <a:gd name="T24" fmla="*/ 1236 w 1878"/>
                  <a:gd name="T25" fmla="*/ 137 h 847"/>
                  <a:gd name="T26" fmla="*/ 1294 w 1878"/>
                  <a:gd name="T27" fmla="*/ 86 h 847"/>
                  <a:gd name="T28" fmla="*/ 1345 w 1878"/>
                  <a:gd name="T29" fmla="*/ 28 h 847"/>
                  <a:gd name="T30" fmla="*/ 1525 w 1878"/>
                  <a:gd name="T31" fmla="*/ 342 h 847"/>
                  <a:gd name="T32" fmla="*/ 1878 w 1878"/>
                  <a:gd name="T33" fmla="*/ 340 h 847"/>
                  <a:gd name="T34" fmla="*/ 1813 w 1878"/>
                  <a:gd name="T35" fmla="*/ 431 h 847"/>
                  <a:gd name="T36" fmla="*/ 1741 w 1878"/>
                  <a:gd name="T37" fmla="*/ 512 h 847"/>
                  <a:gd name="T38" fmla="*/ 1660 w 1878"/>
                  <a:gd name="T39" fmla="*/ 587 h 847"/>
                  <a:gd name="T40" fmla="*/ 1571 w 1878"/>
                  <a:gd name="T41" fmla="*/ 654 h 847"/>
                  <a:gd name="T42" fmla="*/ 1478 w 1878"/>
                  <a:gd name="T43" fmla="*/ 710 h 847"/>
                  <a:gd name="T44" fmla="*/ 1380 w 1878"/>
                  <a:gd name="T45" fmla="*/ 759 h 847"/>
                  <a:gd name="T46" fmla="*/ 1278 w 1878"/>
                  <a:gd name="T47" fmla="*/ 796 h 847"/>
                  <a:gd name="T48" fmla="*/ 1171 w 1878"/>
                  <a:gd name="T49" fmla="*/ 824 h 847"/>
                  <a:gd name="T50" fmla="*/ 1061 w 1878"/>
                  <a:gd name="T51" fmla="*/ 840 h 847"/>
                  <a:gd name="T52" fmla="*/ 950 w 1878"/>
                  <a:gd name="T53" fmla="*/ 847 h 847"/>
                  <a:gd name="T54" fmla="*/ 833 w 1878"/>
                  <a:gd name="T55" fmla="*/ 840 h 847"/>
                  <a:gd name="T56" fmla="*/ 722 w 1878"/>
                  <a:gd name="T57" fmla="*/ 822 h 847"/>
                  <a:gd name="T58" fmla="*/ 610 w 1878"/>
                  <a:gd name="T59" fmla="*/ 794 h 847"/>
                  <a:gd name="T60" fmla="*/ 505 w 1878"/>
                  <a:gd name="T61" fmla="*/ 754 h 847"/>
                  <a:gd name="T62" fmla="*/ 405 w 1878"/>
                  <a:gd name="T63" fmla="*/ 703 h 847"/>
                  <a:gd name="T64" fmla="*/ 310 w 1878"/>
                  <a:gd name="T65" fmla="*/ 643 h 847"/>
                  <a:gd name="T66" fmla="*/ 221 w 1878"/>
                  <a:gd name="T67" fmla="*/ 573 h 847"/>
                  <a:gd name="T68" fmla="*/ 140 w 1878"/>
                  <a:gd name="T69" fmla="*/ 494 h 847"/>
                  <a:gd name="T70" fmla="*/ 65 w 1878"/>
                  <a:gd name="T71" fmla="*/ 405 h 847"/>
                  <a:gd name="T72" fmla="*/ 0 w 1878"/>
                  <a:gd name="T73" fmla="*/ 310 h 847"/>
                  <a:gd name="T74" fmla="*/ 177 w 1878"/>
                  <a:gd name="T75" fmla="*/ 0 h 8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878" h="847">
                    <a:moveTo>
                      <a:pt x="177" y="0"/>
                    </a:moveTo>
                    <a:lnTo>
                      <a:pt x="536" y="2"/>
                    </a:lnTo>
                    <a:lnTo>
                      <a:pt x="577" y="61"/>
                    </a:lnTo>
                    <a:lnTo>
                      <a:pt x="626" y="109"/>
                    </a:lnTo>
                    <a:lnTo>
                      <a:pt x="682" y="151"/>
                    </a:lnTo>
                    <a:lnTo>
                      <a:pt x="745" y="186"/>
                    </a:lnTo>
                    <a:lnTo>
                      <a:pt x="810" y="210"/>
                    </a:lnTo>
                    <a:lnTo>
                      <a:pt x="878" y="226"/>
                    </a:lnTo>
                    <a:lnTo>
                      <a:pt x="950" y="230"/>
                    </a:lnTo>
                    <a:lnTo>
                      <a:pt x="1027" y="224"/>
                    </a:lnTo>
                    <a:lnTo>
                      <a:pt x="1101" y="205"/>
                    </a:lnTo>
                    <a:lnTo>
                      <a:pt x="1171" y="177"/>
                    </a:lnTo>
                    <a:lnTo>
                      <a:pt x="1236" y="137"/>
                    </a:lnTo>
                    <a:lnTo>
                      <a:pt x="1294" y="86"/>
                    </a:lnTo>
                    <a:lnTo>
                      <a:pt x="1345" y="28"/>
                    </a:lnTo>
                    <a:lnTo>
                      <a:pt x="1525" y="342"/>
                    </a:lnTo>
                    <a:lnTo>
                      <a:pt x="1878" y="340"/>
                    </a:lnTo>
                    <a:lnTo>
                      <a:pt x="1813" y="431"/>
                    </a:lnTo>
                    <a:lnTo>
                      <a:pt x="1741" y="512"/>
                    </a:lnTo>
                    <a:lnTo>
                      <a:pt x="1660" y="587"/>
                    </a:lnTo>
                    <a:lnTo>
                      <a:pt x="1571" y="654"/>
                    </a:lnTo>
                    <a:lnTo>
                      <a:pt x="1478" y="710"/>
                    </a:lnTo>
                    <a:lnTo>
                      <a:pt x="1380" y="759"/>
                    </a:lnTo>
                    <a:lnTo>
                      <a:pt x="1278" y="796"/>
                    </a:lnTo>
                    <a:lnTo>
                      <a:pt x="1171" y="824"/>
                    </a:lnTo>
                    <a:lnTo>
                      <a:pt x="1061" y="840"/>
                    </a:lnTo>
                    <a:lnTo>
                      <a:pt x="950" y="847"/>
                    </a:lnTo>
                    <a:lnTo>
                      <a:pt x="833" y="840"/>
                    </a:lnTo>
                    <a:lnTo>
                      <a:pt x="722" y="822"/>
                    </a:lnTo>
                    <a:lnTo>
                      <a:pt x="610" y="794"/>
                    </a:lnTo>
                    <a:lnTo>
                      <a:pt x="505" y="754"/>
                    </a:lnTo>
                    <a:lnTo>
                      <a:pt x="405" y="703"/>
                    </a:lnTo>
                    <a:lnTo>
                      <a:pt x="310" y="643"/>
                    </a:lnTo>
                    <a:lnTo>
                      <a:pt x="221" y="573"/>
                    </a:lnTo>
                    <a:lnTo>
                      <a:pt x="140" y="494"/>
                    </a:lnTo>
                    <a:lnTo>
                      <a:pt x="65" y="405"/>
                    </a:lnTo>
                    <a:lnTo>
                      <a:pt x="0" y="310"/>
                    </a:lnTo>
                    <a:lnTo>
                      <a:pt x="177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EC0D8D97-ADD1-4151-A6FB-B4F49FFDB8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69160" y="1610664"/>
                <a:ext cx="1111276" cy="1733333"/>
              </a:xfrm>
              <a:custGeom>
                <a:avLst/>
                <a:gdLst>
                  <a:gd name="T0" fmla="*/ 2 w 1054"/>
                  <a:gd name="T1" fmla="*/ 0 h 1644"/>
                  <a:gd name="T2" fmla="*/ 126 w 1054"/>
                  <a:gd name="T3" fmla="*/ 14 h 1644"/>
                  <a:gd name="T4" fmla="*/ 244 w 1054"/>
                  <a:gd name="T5" fmla="*/ 40 h 1644"/>
                  <a:gd name="T6" fmla="*/ 358 w 1054"/>
                  <a:gd name="T7" fmla="*/ 77 h 1644"/>
                  <a:gd name="T8" fmla="*/ 468 w 1054"/>
                  <a:gd name="T9" fmla="*/ 128 h 1644"/>
                  <a:gd name="T10" fmla="*/ 568 w 1054"/>
                  <a:gd name="T11" fmla="*/ 189 h 1644"/>
                  <a:gd name="T12" fmla="*/ 663 w 1054"/>
                  <a:gd name="T13" fmla="*/ 261 h 1644"/>
                  <a:gd name="T14" fmla="*/ 747 w 1054"/>
                  <a:gd name="T15" fmla="*/ 343 h 1644"/>
                  <a:gd name="T16" fmla="*/ 824 w 1054"/>
                  <a:gd name="T17" fmla="*/ 431 h 1644"/>
                  <a:gd name="T18" fmla="*/ 891 w 1054"/>
                  <a:gd name="T19" fmla="*/ 529 h 1644"/>
                  <a:gd name="T20" fmla="*/ 950 w 1054"/>
                  <a:gd name="T21" fmla="*/ 634 h 1644"/>
                  <a:gd name="T22" fmla="*/ 994 w 1054"/>
                  <a:gd name="T23" fmla="*/ 743 h 1644"/>
                  <a:gd name="T24" fmla="*/ 1026 w 1054"/>
                  <a:gd name="T25" fmla="*/ 859 h 1644"/>
                  <a:gd name="T26" fmla="*/ 1047 w 1054"/>
                  <a:gd name="T27" fmla="*/ 981 h 1644"/>
                  <a:gd name="T28" fmla="*/ 1054 w 1054"/>
                  <a:gd name="T29" fmla="*/ 1106 h 1644"/>
                  <a:gd name="T30" fmla="*/ 1050 w 1054"/>
                  <a:gd name="T31" fmla="*/ 1218 h 1644"/>
                  <a:gd name="T32" fmla="*/ 1031 w 1054"/>
                  <a:gd name="T33" fmla="*/ 1330 h 1644"/>
                  <a:gd name="T34" fmla="*/ 1005 w 1054"/>
                  <a:gd name="T35" fmla="*/ 1437 h 1644"/>
                  <a:gd name="T36" fmla="*/ 966 w 1054"/>
                  <a:gd name="T37" fmla="*/ 1542 h 1644"/>
                  <a:gd name="T38" fmla="*/ 917 w 1054"/>
                  <a:gd name="T39" fmla="*/ 1642 h 1644"/>
                  <a:gd name="T40" fmla="*/ 561 w 1054"/>
                  <a:gd name="T41" fmla="*/ 1644 h 1644"/>
                  <a:gd name="T42" fmla="*/ 384 w 1054"/>
                  <a:gd name="T43" fmla="*/ 1334 h 1644"/>
                  <a:gd name="T44" fmla="*/ 414 w 1054"/>
                  <a:gd name="T45" fmla="*/ 1260 h 1644"/>
                  <a:gd name="T46" fmla="*/ 433 w 1054"/>
                  <a:gd name="T47" fmla="*/ 1185 h 1644"/>
                  <a:gd name="T48" fmla="*/ 438 w 1054"/>
                  <a:gd name="T49" fmla="*/ 1106 h 1644"/>
                  <a:gd name="T50" fmla="*/ 431 w 1054"/>
                  <a:gd name="T51" fmla="*/ 1025 h 1644"/>
                  <a:gd name="T52" fmla="*/ 412 w 1054"/>
                  <a:gd name="T53" fmla="*/ 946 h 1644"/>
                  <a:gd name="T54" fmla="*/ 379 w 1054"/>
                  <a:gd name="T55" fmla="*/ 873 h 1644"/>
                  <a:gd name="T56" fmla="*/ 337 w 1054"/>
                  <a:gd name="T57" fmla="*/ 808 h 1644"/>
                  <a:gd name="T58" fmla="*/ 284 w 1054"/>
                  <a:gd name="T59" fmla="*/ 750 h 1644"/>
                  <a:gd name="T60" fmla="*/ 223 w 1054"/>
                  <a:gd name="T61" fmla="*/ 699 h 1644"/>
                  <a:gd name="T62" fmla="*/ 154 w 1054"/>
                  <a:gd name="T63" fmla="*/ 662 h 1644"/>
                  <a:gd name="T64" fmla="*/ 79 w 1054"/>
                  <a:gd name="T65" fmla="*/ 634 h 1644"/>
                  <a:gd name="T66" fmla="*/ 0 w 1054"/>
                  <a:gd name="T67" fmla="*/ 617 h 1644"/>
                  <a:gd name="T68" fmla="*/ 182 w 1054"/>
                  <a:gd name="T69" fmla="*/ 308 h 1644"/>
                  <a:gd name="T70" fmla="*/ 2 w 1054"/>
                  <a:gd name="T71" fmla="*/ 0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54" h="1644">
                    <a:moveTo>
                      <a:pt x="2" y="0"/>
                    </a:moveTo>
                    <a:lnTo>
                      <a:pt x="126" y="14"/>
                    </a:lnTo>
                    <a:lnTo>
                      <a:pt x="244" y="40"/>
                    </a:lnTo>
                    <a:lnTo>
                      <a:pt x="358" y="77"/>
                    </a:lnTo>
                    <a:lnTo>
                      <a:pt x="468" y="128"/>
                    </a:lnTo>
                    <a:lnTo>
                      <a:pt x="568" y="189"/>
                    </a:lnTo>
                    <a:lnTo>
                      <a:pt x="663" y="261"/>
                    </a:lnTo>
                    <a:lnTo>
                      <a:pt x="747" y="343"/>
                    </a:lnTo>
                    <a:lnTo>
                      <a:pt x="824" y="431"/>
                    </a:lnTo>
                    <a:lnTo>
                      <a:pt x="891" y="529"/>
                    </a:lnTo>
                    <a:lnTo>
                      <a:pt x="950" y="634"/>
                    </a:lnTo>
                    <a:lnTo>
                      <a:pt x="994" y="743"/>
                    </a:lnTo>
                    <a:lnTo>
                      <a:pt x="1026" y="859"/>
                    </a:lnTo>
                    <a:lnTo>
                      <a:pt x="1047" y="981"/>
                    </a:lnTo>
                    <a:lnTo>
                      <a:pt x="1054" y="1106"/>
                    </a:lnTo>
                    <a:lnTo>
                      <a:pt x="1050" y="1218"/>
                    </a:lnTo>
                    <a:lnTo>
                      <a:pt x="1031" y="1330"/>
                    </a:lnTo>
                    <a:lnTo>
                      <a:pt x="1005" y="1437"/>
                    </a:lnTo>
                    <a:lnTo>
                      <a:pt x="966" y="1542"/>
                    </a:lnTo>
                    <a:lnTo>
                      <a:pt x="917" y="1642"/>
                    </a:lnTo>
                    <a:lnTo>
                      <a:pt x="561" y="1644"/>
                    </a:lnTo>
                    <a:lnTo>
                      <a:pt x="384" y="1334"/>
                    </a:lnTo>
                    <a:lnTo>
                      <a:pt x="414" y="1260"/>
                    </a:lnTo>
                    <a:lnTo>
                      <a:pt x="433" y="1185"/>
                    </a:lnTo>
                    <a:lnTo>
                      <a:pt x="438" y="1106"/>
                    </a:lnTo>
                    <a:lnTo>
                      <a:pt x="431" y="1025"/>
                    </a:lnTo>
                    <a:lnTo>
                      <a:pt x="412" y="946"/>
                    </a:lnTo>
                    <a:lnTo>
                      <a:pt x="379" y="873"/>
                    </a:lnTo>
                    <a:lnTo>
                      <a:pt x="337" y="808"/>
                    </a:lnTo>
                    <a:lnTo>
                      <a:pt x="284" y="750"/>
                    </a:lnTo>
                    <a:lnTo>
                      <a:pt x="223" y="699"/>
                    </a:lnTo>
                    <a:lnTo>
                      <a:pt x="154" y="662"/>
                    </a:lnTo>
                    <a:lnTo>
                      <a:pt x="79" y="634"/>
                    </a:lnTo>
                    <a:lnTo>
                      <a:pt x="0" y="617"/>
                    </a:lnTo>
                    <a:lnTo>
                      <a:pt x="182" y="30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" name="Freeform 8">
                <a:extLst>
                  <a:ext uri="{FF2B5EF4-FFF2-40B4-BE49-F238E27FC236}">
                    <a16:creationId xmlns:a16="http://schemas.microsoft.com/office/drawing/2014/main" id="{14987DED-8550-4764-AA8B-8329920F05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47178" y="1610664"/>
                <a:ext cx="1334796" cy="1698540"/>
              </a:xfrm>
              <a:custGeom>
                <a:avLst/>
                <a:gdLst>
                  <a:gd name="T0" fmla="*/ 1087 w 1266"/>
                  <a:gd name="T1" fmla="*/ 0 h 1611"/>
                  <a:gd name="T2" fmla="*/ 1266 w 1266"/>
                  <a:gd name="T3" fmla="*/ 308 h 1611"/>
                  <a:gd name="T4" fmla="*/ 1085 w 1266"/>
                  <a:gd name="T5" fmla="*/ 615 h 1611"/>
                  <a:gd name="T6" fmla="*/ 1010 w 1266"/>
                  <a:gd name="T7" fmla="*/ 624 h 1611"/>
                  <a:gd name="T8" fmla="*/ 936 w 1266"/>
                  <a:gd name="T9" fmla="*/ 645 h 1611"/>
                  <a:gd name="T10" fmla="*/ 870 w 1266"/>
                  <a:gd name="T11" fmla="*/ 678 h 1611"/>
                  <a:gd name="T12" fmla="*/ 808 w 1266"/>
                  <a:gd name="T13" fmla="*/ 717 h 1611"/>
                  <a:gd name="T14" fmla="*/ 754 w 1266"/>
                  <a:gd name="T15" fmla="*/ 766 h 1611"/>
                  <a:gd name="T16" fmla="*/ 705 w 1266"/>
                  <a:gd name="T17" fmla="*/ 822 h 1611"/>
                  <a:gd name="T18" fmla="*/ 668 w 1266"/>
                  <a:gd name="T19" fmla="*/ 887 h 1611"/>
                  <a:gd name="T20" fmla="*/ 640 w 1266"/>
                  <a:gd name="T21" fmla="*/ 955 h 1611"/>
                  <a:gd name="T22" fmla="*/ 621 w 1266"/>
                  <a:gd name="T23" fmla="*/ 1029 h 1611"/>
                  <a:gd name="T24" fmla="*/ 617 w 1266"/>
                  <a:gd name="T25" fmla="*/ 1106 h 1611"/>
                  <a:gd name="T26" fmla="*/ 621 w 1266"/>
                  <a:gd name="T27" fmla="*/ 1174 h 1611"/>
                  <a:gd name="T28" fmla="*/ 635 w 1266"/>
                  <a:gd name="T29" fmla="*/ 1241 h 1611"/>
                  <a:gd name="T30" fmla="*/ 659 w 1266"/>
                  <a:gd name="T31" fmla="*/ 1306 h 1611"/>
                  <a:gd name="T32" fmla="*/ 298 w 1266"/>
                  <a:gd name="T33" fmla="*/ 1304 h 1611"/>
                  <a:gd name="T34" fmla="*/ 121 w 1266"/>
                  <a:gd name="T35" fmla="*/ 1611 h 1611"/>
                  <a:gd name="T36" fmla="*/ 79 w 1266"/>
                  <a:gd name="T37" fmla="*/ 1516 h 1611"/>
                  <a:gd name="T38" fmla="*/ 44 w 1266"/>
                  <a:gd name="T39" fmla="*/ 1418 h 1611"/>
                  <a:gd name="T40" fmla="*/ 21 w 1266"/>
                  <a:gd name="T41" fmla="*/ 1316 h 1611"/>
                  <a:gd name="T42" fmla="*/ 5 w 1266"/>
                  <a:gd name="T43" fmla="*/ 1211 h 1611"/>
                  <a:gd name="T44" fmla="*/ 0 w 1266"/>
                  <a:gd name="T45" fmla="*/ 1106 h 1611"/>
                  <a:gd name="T46" fmla="*/ 7 w 1266"/>
                  <a:gd name="T47" fmla="*/ 978 h 1611"/>
                  <a:gd name="T48" fmla="*/ 28 w 1266"/>
                  <a:gd name="T49" fmla="*/ 855 h 1611"/>
                  <a:gd name="T50" fmla="*/ 63 w 1266"/>
                  <a:gd name="T51" fmla="*/ 738 h 1611"/>
                  <a:gd name="T52" fmla="*/ 109 w 1266"/>
                  <a:gd name="T53" fmla="*/ 624 h 1611"/>
                  <a:gd name="T54" fmla="*/ 170 w 1266"/>
                  <a:gd name="T55" fmla="*/ 520 h 1611"/>
                  <a:gd name="T56" fmla="*/ 237 w 1266"/>
                  <a:gd name="T57" fmla="*/ 422 h 1611"/>
                  <a:gd name="T58" fmla="*/ 319 w 1266"/>
                  <a:gd name="T59" fmla="*/ 331 h 1611"/>
                  <a:gd name="T60" fmla="*/ 407 w 1266"/>
                  <a:gd name="T61" fmla="*/ 249 h 1611"/>
                  <a:gd name="T62" fmla="*/ 503 w 1266"/>
                  <a:gd name="T63" fmla="*/ 180 h 1611"/>
                  <a:gd name="T64" fmla="*/ 607 w 1266"/>
                  <a:gd name="T65" fmla="*/ 119 h 1611"/>
                  <a:gd name="T66" fmla="*/ 719 w 1266"/>
                  <a:gd name="T67" fmla="*/ 70 h 1611"/>
                  <a:gd name="T68" fmla="*/ 838 w 1266"/>
                  <a:gd name="T69" fmla="*/ 33 h 1611"/>
                  <a:gd name="T70" fmla="*/ 959 w 1266"/>
                  <a:gd name="T71" fmla="*/ 10 h 1611"/>
                  <a:gd name="T72" fmla="*/ 1087 w 1266"/>
                  <a:gd name="T73" fmla="*/ 0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66" h="1611">
                    <a:moveTo>
                      <a:pt x="1087" y="0"/>
                    </a:moveTo>
                    <a:lnTo>
                      <a:pt x="1266" y="308"/>
                    </a:lnTo>
                    <a:lnTo>
                      <a:pt x="1085" y="615"/>
                    </a:lnTo>
                    <a:lnTo>
                      <a:pt x="1010" y="624"/>
                    </a:lnTo>
                    <a:lnTo>
                      <a:pt x="936" y="645"/>
                    </a:lnTo>
                    <a:lnTo>
                      <a:pt x="870" y="678"/>
                    </a:lnTo>
                    <a:lnTo>
                      <a:pt x="808" y="717"/>
                    </a:lnTo>
                    <a:lnTo>
                      <a:pt x="754" y="766"/>
                    </a:lnTo>
                    <a:lnTo>
                      <a:pt x="705" y="822"/>
                    </a:lnTo>
                    <a:lnTo>
                      <a:pt x="668" y="887"/>
                    </a:lnTo>
                    <a:lnTo>
                      <a:pt x="640" y="955"/>
                    </a:lnTo>
                    <a:lnTo>
                      <a:pt x="621" y="1029"/>
                    </a:lnTo>
                    <a:lnTo>
                      <a:pt x="617" y="1106"/>
                    </a:lnTo>
                    <a:lnTo>
                      <a:pt x="621" y="1174"/>
                    </a:lnTo>
                    <a:lnTo>
                      <a:pt x="635" y="1241"/>
                    </a:lnTo>
                    <a:lnTo>
                      <a:pt x="659" y="1306"/>
                    </a:lnTo>
                    <a:lnTo>
                      <a:pt x="298" y="1304"/>
                    </a:lnTo>
                    <a:lnTo>
                      <a:pt x="121" y="1611"/>
                    </a:lnTo>
                    <a:lnTo>
                      <a:pt x="79" y="1516"/>
                    </a:lnTo>
                    <a:lnTo>
                      <a:pt x="44" y="1418"/>
                    </a:lnTo>
                    <a:lnTo>
                      <a:pt x="21" y="1316"/>
                    </a:lnTo>
                    <a:lnTo>
                      <a:pt x="5" y="1211"/>
                    </a:lnTo>
                    <a:lnTo>
                      <a:pt x="0" y="1106"/>
                    </a:lnTo>
                    <a:lnTo>
                      <a:pt x="7" y="978"/>
                    </a:lnTo>
                    <a:lnTo>
                      <a:pt x="28" y="855"/>
                    </a:lnTo>
                    <a:lnTo>
                      <a:pt x="63" y="738"/>
                    </a:lnTo>
                    <a:lnTo>
                      <a:pt x="109" y="624"/>
                    </a:lnTo>
                    <a:lnTo>
                      <a:pt x="170" y="520"/>
                    </a:lnTo>
                    <a:lnTo>
                      <a:pt x="237" y="422"/>
                    </a:lnTo>
                    <a:lnTo>
                      <a:pt x="319" y="331"/>
                    </a:lnTo>
                    <a:lnTo>
                      <a:pt x="407" y="249"/>
                    </a:lnTo>
                    <a:lnTo>
                      <a:pt x="503" y="180"/>
                    </a:lnTo>
                    <a:lnTo>
                      <a:pt x="607" y="119"/>
                    </a:lnTo>
                    <a:lnTo>
                      <a:pt x="719" y="70"/>
                    </a:lnTo>
                    <a:lnTo>
                      <a:pt x="838" y="33"/>
                    </a:lnTo>
                    <a:lnTo>
                      <a:pt x="959" y="10"/>
                    </a:lnTo>
                    <a:lnTo>
                      <a:pt x="1087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4" name="TextBox 72">
              <a:extLst>
                <a:ext uri="{FF2B5EF4-FFF2-40B4-BE49-F238E27FC236}">
                  <a16:creationId xmlns:a16="http://schemas.microsoft.com/office/drawing/2014/main" id="{7C406EFC-5CC2-4D7F-AD33-A14127E4740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44415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7FA52CF3-AA85-455F-B981-3492B21283DC}"/>
              </a:ext>
            </a:extLst>
          </p:cNvPr>
          <p:cNvGrpSpPr/>
          <p:nvPr/>
        </p:nvGrpSpPr>
        <p:grpSpPr bwMode="gray">
          <a:xfrm>
            <a:off x="6278546" y="1610664"/>
            <a:ext cx="2333258" cy="2334307"/>
            <a:chOff x="6278546" y="1610664"/>
            <a:chExt cx="2333258" cy="2334307"/>
          </a:xfrm>
          <a:solidFill>
            <a:srgbClr val="E4E4E4"/>
          </a:solidFill>
        </p:grpSpPr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8D8F59C3-5051-4A5F-830B-2D022845998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278546" y="1610664"/>
              <a:ext cx="2333258" cy="2334307"/>
              <a:chOff x="6278546" y="1610664"/>
              <a:chExt cx="2333258" cy="2334307"/>
            </a:xfrm>
            <a:grpFill/>
          </p:grpSpPr>
          <p:sp>
            <p:nvSpPr>
              <p:cNvPr id="11" name="Freeform 9">
                <a:extLst>
                  <a:ext uri="{FF2B5EF4-FFF2-40B4-BE49-F238E27FC236}">
                    <a16:creationId xmlns:a16="http://schemas.microsoft.com/office/drawing/2014/main" id="{24F522A3-B83F-4F38-9B45-AF6B24B592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8546" y="2608115"/>
                <a:ext cx="1113694" cy="1334780"/>
              </a:xfrm>
              <a:custGeom>
                <a:avLst/>
                <a:gdLst>
                  <a:gd name="T0" fmla="*/ 312 w 1073"/>
                  <a:gd name="T1" fmla="*/ 0 h 1286"/>
                  <a:gd name="T2" fmla="*/ 626 w 1073"/>
                  <a:gd name="T3" fmla="*/ 184 h 1286"/>
                  <a:gd name="T4" fmla="*/ 638 w 1073"/>
                  <a:gd name="T5" fmla="*/ 266 h 1286"/>
                  <a:gd name="T6" fmla="*/ 659 w 1073"/>
                  <a:gd name="T7" fmla="*/ 340 h 1286"/>
                  <a:gd name="T8" fmla="*/ 694 w 1073"/>
                  <a:gd name="T9" fmla="*/ 413 h 1286"/>
                  <a:gd name="T10" fmla="*/ 738 w 1073"/>
                  <a:gd name="T11" fmla="*/ 475 h 1286"/>
                  <a:gd name="T12" fmla="*/ 789 w 1073"/>
                  <a:gd name="T13" fmla="*/ 531 h 1286"/>
                  <a:gd name="T14" fmla="*/ 852 w 1073"/>
                  <a:gd name="T15" fmla="*/ 580 h 1286"/>
                  <a:gd name="T16" fmla="*/ 919 w 1073"/>
                  <a:gd name="T17" fmla="*/ 617 h 1286"/>
                  <a:gd name="T18" fmla="*/ 994 w 1073"/>
                  <a:gd name="T19" fmla="*/ 643 h 1286"/>
                  <a:gd name="T20" fmla="*/ 1073 w 1073"/>
                  <a:gd name="T21" fmla="*/ 659 h 1286"/>
                  <a:gd name="T22" fmla="*/ 887 w 1073"/>
                  <a:gd name="T23" fmla="*/ 976 h 1286"/>
                  <a:gd name="T24" fmla="*/ 1071 w 1073"/>
                  <a:gd name="T25" fmla="*/ 1286 h 1286"/>
                  <a:gd name="T26" fmla="*/ 945 w 1073"/>
                  <a:gd name="T27" fmla="*/ 1274 h 1286"/>
                  <a:gd name="T28" fmla="*/ 826 w 1073"/>
                  <a:gd name="T29" fmla="*/ 1248 h 1286"/>
                  <a:gd name="T30" fmla="*/ 712 w 1073"/>
                  <a:gd name="T31" fmla="*/ 1209 h 1286"/>
                  <a:gd name="T32" fmla="*/ 603 w 1073"/>
                  <a:gd name="T33" fmla="*/ 1160 h 1286"/>
                  <a:gd name="T34" fmla="*/ 500 w 1073"/>
                  <a:gd name="T35" fmla="*/ 1097 h 1286"/>
                  <a:gd name="T36" fmla="*/ 405 w 1073"/>
                  <a:gd name="T37" fmla="*/ 1027 h 1286"/>
                  <a:gd name="T38" fmla="*/ 319 w 1073"/>
                  <a:gd name="T39" fmla="*/ 946 h 1286"/>
                  <a:gd name="T40" fmla="*/ 242 w 1073"/>
                  <a:gd name="T41" fmla="*/ 857 h 1286"/>
                  <a:gd name="T42" fmla="*/ 172 w 1073"/>
                  <a:gd name="T43" fmla="*/ 759 h 1286"/>
                  <a:gd name="T44" fmla="*/ 114 w 1073"/>
                  <a:gd name="T45" fmla="*/ 657 h 1286"/>
                  <a:gd name="T46" fmla="*/ 68 w 1073"/>
                  <a:gd name="T47" fmla="*/ 545 h 1286"/>
                  <a:gd name="T48" fmla="*/ 33 w 1073"/>
                  <a:gd name="T49" fmla="*/ 429 h 1286"/>
                  <a:gd name="T50" fmla="*/ 9 w 1073"/>
                  <a:gd name="T51" fmla="*/ 308 h 1286"/>
                  <a:gd name="T52" fmla="*/ 0 w 1073"/>
                  <a:gd name="T53" fmla="*/ 184 h 1286"/>
                  <a:gd name="T54" fmla="*/ 312 w 1073"/>
                  <a:gd name="T55" fmla="*/ 0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3" h="1286">
                    <a:moveTo>
                      <a:pt x="312" y="0"/>
                    </a:moveTo>
                    <a:lnTo>
                      <a:pt x="626" y="184"/>
                    </a:lnTo>
                    <a:lnTo>
                      <a:pt x="638" y="266"/>
                    </a:lnTo>
                    <a:lnTo>
                      <a:pt x="659" y="340"/>
                    </a:lnTo>
                    <a:lnTo>
                      <a:pt x="694" y="413"/>
                    </a:lnTo>
                    <a:lnTo>
                      <a:pt x="738" y="475"/>
                    </a:lnTo>
                    <a:lnTo>
                      <a:pt x="789" y="531"/>
                    </a:lnTo>
                    <a:lnTo>
                      <a:pt x="852" y="580"/>
                    </a:lnTo>
                    <a:lnTo>
                      <a:pt x="919" y="617"/>
                    </a:lnTo>
                    <a:lnTo>
                      <a:pt x="994" y="643"/>
                    </a:lnTo>
                    <a:lnTo>
                      <a:pt x="1073" y="659"/>
                    </a:lnTo>
                    <a:lnTo>
                      <a:pt x="887" y="976"/>
                    </a:lnTo>
                    <a:lnTo>
                      <a:pt x="1071" y="1286"/>
                    </a:lnTo>
                    <a:lnTo>
                      <a:pt x="945" y="1274"/>
                    </a:lnTo>
                    <a:lnTo>
                      <a:pt x="826" y="1248"/>
                    </a:lnTo>
                    <a:lnTo>
                      <a:pt x="712" y="1209"/>
                    </a:lnTo>
                    <a:lnTo>
                      <a:pt x="603" y="1160"/>
                    </a:lnTo>
                    <a:lnTo>
                      <a:pt x="500" y="1097"/>
                    </a:lnTo>
                    <a:lnTo>
                      <a:pt x="405" y="1027"/>
                    </a:lnTo>
                    <a:lnTo>
                      <a:pt x="319" y="946"/>
                    </a:lnTo>
                    <a:lnTo>
                      <a:pt x="242" y="857"/>
                    </a:lnTo>
                    <a:lnTo>
                      <a:pt x="172" y="759"/>
                    </a:lnTo>
                    <a:lnTo>
                      <a:pt x="114" y="657"/>
                    </a:lnTo>
                    <a:lnTo>
                      <a:pt x="68" y="545"/>
                    </a:lnTo>
                    <a:lnTo>
                      <a:pt x="33" y="429"/>
                    </a:lnTo>
                    <a:lnTo>
                      <a:pt x="9" y="308"/>
                    </a:lnTo>
                    <a:lnTo>
                      <a:pt x="0" y="1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E7A6C1FE-47EB-409A-B706-04ECD8BA53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75993" y="2831271"/>
                <a:ext cx="1335811" cy="1113700"/>
              </a:xfrm>
              <a:custGeom>
                <a:avLst/>
                <a:gdLst>
                  <a:gd name="T0" fmla="*/ 659 w 1287"/>
                  <a:gd name="T1" fmla="*/ 0 h 1073"/>
                  <a:gd name="T2" fmla="*/ 975 w 1287"/>
                  <a:gd name="T3" fmla="*/ 186 h 1073"/>
                  <a:gd name="T4" fmla="*/ 1287 w 1287"/>
                  <a:gd name="T5" fmla="*/ 4 h 1073"/>
                  <a:gd name="T6" fmla="*/ 1273 w 1287"/>
                  <a:gd name="T7" fmla="*/ 128 h 1073"/>
                  <a:gd name="T8" fmla="*/ 1248 w 1287"/>
                  <a:gd name="T9" fmla="*/ 246 h 1073"/>
                  <a:gd name="T10" fmla="*/ 1210 w 1287"/>
                  <a:gd name="T11" fmla="*/ 361 h 1073"/>
                  <a:gd name="T12" fmla="*/ 1159 w 1287"/>
                  <a:gd name="T13" fmla="*/ 470 h 1073"/>
                  <a:gd name="T14" fmla="*/ 1099 w 1287"/>
                  <a:gd name="T15" fmla="*/ 572 h 1073"/>
                  <a:gd name="T16" fmla="*/ 1027 w 1287"/>
                  <a:gd name="T17" fmla="*/ 668 h 1073"/>
                  <a:gd name="T18" fmla="*/ 947 w 1287"/>
                  <a:gd name="T19" fmla="*/ 754 h 1073"/>
                  <a:gd name="T20" fmla="*/ 859 w 1287"/>
                  <a:gd name="T21" fmla="*/ 833 h 1073"/>
                  <a:gd name="T22" fmla="*/ 761 w 1287"/>
                  <a:gd name="T23" fmla="*/ 901 h 1073"/>
                  <a:gd name="T24" fmla="*/ 657 w 1287"/>
                  <a:gd name="T25" fmla="*/ 959 h 1073"/>
                  <a:gd name="T26" fmla="*/ 547 w 1287"/>
                  <a:gd name="T27" fmla="*/ 1005 h 1073"/>
                  <a:gd name="T28" fmla="*/ 431 w 1287"/>
                  <a:gd name="T29" fmla="*/ 1040 h 1073"/>
                  <a:gd name="T30" fmla="*/ 310 w 1287"/>
                  <a:gd name="T31" fmla="*/ 1064 h 1073"/>
                  <a:gd name="T32" fmla="*/ 184 w 1287"/>
                  <a:gd name="T33" fmla="*/ 1073 h 1073"/>
                  <a:gd name="T34" fmla="*/ 0 w 1287"/>
                  <a:gd name="T35" fmla="*/ 761 h 1073"/>
                  <a:gd name="T36" fmla="*/ 186 w 1287"/>
                  <a:gd name="T37" fmla="*/ 447 h 1073"/>
                  <a:gd name="T38" fmla="*/ 266 w 1287"/>
                  <a:gd name="T39" fmla="*/ 437 h 1073"/>
                  <a:gd name="T40" fmla="*/ 342 w 1287"/>
                  <a:gd name="T41" fmla="*/ 414 h 1073"/>
                  <a:gd name="T42" fmla="*/ 412 w 1287"/>
                  <a:gd name="T43" fmla="*/ 379 h 1073"/>
                  <a:gd name="T44" fmla="*/ 477 w 1287"/>
                  <a:gd name="T45" fmla="*/ 335 h 1073"/>
                  <a:gd name="T46" fmla="*/ 533 w 1287"/>
                  <a:gd name="T47" fmla="*/ 284 h 1073"/>
                  <a:gd name="T48" fmla="*/ 580 w 1287"/>
                  <a:gd name="T49" fmla="*/ 221 h 1073"/>
                  <a:gd name="T50" fmla="*/ 619 w 1287"/>
                  <a:gd name="T51" fmla="*/ 153 h 1073"/>
                  <a:gd name="T52" fmla="*/ 645 w 1287"/>
                  <a:gd name="T53" fmla="*/ 79 h 1073"/>
                  <a:gd name="T54" fmla="*/ 659 w 1287"/>
                  <a:gd name="T55" fmla="*/ 0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7" h="1073">
                    <a:moveTo>
                      <a:pt x="659" y="0"/>
                    </a:moveTo>
                    <a:lnTo>
                      <a:pt x="975" y="186"/>
                    </a:lnTo>
                    <a:lnTo>
                      <a:pt x="1287" y="4"/>
                    </a:lnTo>
                    <a:lnTo>
                      <a:pt x="1273" y="128"/>
                    </a:lnTo>
                    <a:lnTo>
                      <a:pt x="1248" y="246"/>
                    </a:lnTo>
                    <a:lnTo>
                      <a:pt x="1210" y="361"/>
                    </a:lnTo>
                    <a:lnTo>
                      <a:pt x="1159" y="470"/>
                    </a:lnTo>
                    <a:lnTo>
                      <a:pt x="1099" y="572"/>
                    </a:lnTo>
                    <a:lnTo>
                      <a:pt x="1027" y="668"/>
                    </a:lnTo>
                    <a:lnTo>
                      <a:pt x="947" y="754"/>
                    </a:lnTo>
                    <a:lnTo>
                      <a:pt x="859" y="833"/>
                    </a:lnTo>
                    <a:lnTo>
                      <a:pt x="761" y="901"/>
                    </a:lnTo>
                    <a:lnTo>
                      <a:pt x="657" y="959"/>
                    </a:lnTo>
                    <a:lnTo>
                      <a:pt x="547" y="1005"/>
                    </a:lnTo>
                    <a:lnTo>
                      <a:pt x="431" y="1040"/>
                    </a:lnTo>
                    <a:lnTo>
                      <a:pt x="310" y="1064"/>
                    </a:lnTo>
                    <a:lnTo>
                      <a:pt x="184" y="1073"/>
                    </a:lnTo>
                    <a:lnTo>
                      <a:pt x="0" y="761"/>
                    </a:lnTo>
                    <a:lnTo>
                      <a:pt x="186" y="447"/>
                    </a:lnTo>
                    <a:lnTo>
                      <a:pt x="266" y="437"/>
                    </a:lnTo>
                    <a:lnTo>
                      <a:pt x="342" y="414"/>
                    </a:lnTo>
                    <a:lnTo>
                      <a:pt x="412" y="379"/>
                    </a:lnTo>
                    <a:lnTo>
                      <a:pt x="477" y="335"/>
                    </a:lnTo>
                    <a:lnTo>
                      <a:pt x="533" y="284"/>
                    </a:lnTo>
                    <a:lnTo>
                      <a:pt x="580" y="221"/>
                    </a:lnTo>
                    <a:lnTo>
                      <a:pt x="619" y="153"/>
                    </a:lnTo>
                    <a:lnTo>
                      <a:pt x="645" y="79"/>
                    </a:lnTo>
                    <a:lnTo>
                      <a:pt x="659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C8534E1E-8444-4FCD-BCA6-85B783F086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01222" y="1610664"/>
                <a:ext cx="1110581" cy="1335818"/>
              </a:xfrm>
              <a:custGeom>
                <a:avLst/>
                <a:gdLst>
                  <a:gd name="T0" fmla="*/ 2 w 1070"/>
                  <a:gd name="T1" fmla="*/ 0 h 1287"/>
                  <a:gd name="T2" fmla="*/ 125 w 1070"/>
                  <a:gd name="T3" fmla="*/ 14 h 1287"/>
                  <a:gd name="T4" fmla="*/ 246 w 1070"/>
                  <a:gd name="T5" fmla="*/ 40 h 1287"/>
                  <a:gd name="T6" fmla="*/ 360 w 1070"/>
                  <a:gd name="T7" fmla="*/ 77 h 1287"/>
                  <a:gd name="T8" fmla="*/ 470 w 1070"/>
                  <a:gd name="T9" fmla="*/ 128 h 1287"/>
                  <a:gd name="T10" fmla="*/ 572 w 1070"/>
                  <a:gd name="T11" fmla="*/ 189 h 1287"/>
                  <a:gd name="T12" fmla="*/ 665 w 1070"/>
                  <a:gd name="T13" fmla="*/ 261 h 1287"/>
                  <a:gd name="T14" fmla="*/ 754 w 1070"/>
                  <a:gd name="T15" fmla="*/ 340 h 1287"/>
                  <a:gd name="T16" fmla="*/ 831 w 1070"/>
                  <a:gd name="T17" fmla="*/ 431 h 1287"/>
                  <a:gd name="T18" fmla="*/ 900 w 1070"/>
                  <a:gd name="T19" fmla="*/ 526 h 1287"/>
                  <a:gd name="T20" fmla="*/ 959 w 1070"/>
                  <a:gd name="T21" fmla="*/ 631 h 1287"/>
                  <a:gd name="T22" fmla="*/ 1005 w 1070"/>
                  <a:gd name="T23" fmla="*/ 740 h 1287"/>
                  <a:gd name="T24" fmla="*/ 1040 w 1070"/>
                  <a:gd name="T25" fmla="*/ 857 h 1287"/>
                  <a:gd name="T26" fmla="*/ 1061 w 1070"/>
                  <a:gd name="T27" fmla="*/ 978 h 1287"/>
                  <a:gd name="T28" fmla="*/ 1070 w 1070"/>
                  <a:gd name="T29" fmla="*/ 1104 h 1287"/>
                  <a:gd name="T30" fmla="*/ 758 w 1070"/>
                  <a:gd name="T31" fmla="*/ 1287 h 1287"/>
                  <a:gd name="T32" fmla="*/ 444 w 1070"/>
                  <a:gd name="T33" fmla="*/ 1104 h 1287"/>
                  <a:gd name="T34" fmla="*/ 435 w 1070"/>
                  <a:gd name="T35" fmla="*/ 1022 h 1287"/>
                  <a:gd name="T36" fmla="*/ 412 w 1070"/>
                  <a:gd name="T37" fmla="*/ 945 h 1287"/>
                  <a:gd name="T38" fmla="*/ 379 w 1070"/>
                  <a:gd name="T39" fmla="*/ 875 h 1287"/>
                  <a:gd name="T40" fmla="*/ 335 w 1070"/>
                  <a:gd name="T41" fmla="*/ 810 h 1287"/>
                  <a:gd name="T42" fmla="*/ 281 w 1070"/>
                  <a:gd name="T43" fmla="*/ 754 h 1287"/>
                  <a:gd name="T44" fmla="*/ 221 w 1070"/>
                  <a:gd name="T45" fmla="*/ 708 h 1287"/>
                  <a:gd name="T46" fmla="*/ 153 w 1070"/>
                  <a:gd name="T47" fmla="*/ 670 h 1287"/>
                  <a:gd name="T48" fmla="*/ 79 w 1070"/>
                  <a:gd name="T49" fmla="*/ 643 h 1287"/>
                  <a:gd name="T50" fmla="*/ 0 w 1070"/>
                  <a:gd name="T51" fmla="*/ 629 h 1287"/>
                  <a:gd name="T52" fmla="*/ 186 w 1070"/>
                  <a:gd name="T53" fmla="*/ 312 h 1287"/>
                  <a:gd name="T54" fmla="*/ 2 w 1070"/>
                  <a:gd name="T55" fmla="*/ 0 h 1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0" h="1287">
                    <a:moveTo>
                      <a:pt x="2" y="0"/>
                    </a:moveTo>
                    <a:lnTo>
                      <a:pt x="125" y="14"/>
                    </a:lnTo>
                    <a:lnTo>
                      <a:pt x="246" y="40"/>
                    </a:lnTo>
                    <a:lnTo>
                      <a:pt x="360" y="77"/>
                    </a:lnTo>
                    <a:lnTo>
                      <a:pt x="470" y="128"/>
                    </a:lnTo>
                    <a:lnTo>
                      <a:pt x="572" y="189"/>
                    </a:lnTo>
                    <a:lnTo>
                      <a:pt x="665" y="261"/>
                    </a:lnTo>
                    <a:lnTo>
                      <a:pt x="754" y="340"/>
                    </a:lnTo>
                    <a:lnTo>
                      <a:pt x="831" y="431"/>
                    </a:lnTo>
                    <a:lnTo>
                      <a:pt x="900" y="526"/>
                    </a:lnTo>
                    <a:lnTo>
                      <a:pt x="959" y="631"/>
                    </a:lnTo>
                    <a:lnTo>
                      <a:pt x="1005" y="740"/>
                    </a:lnTo>
                    <a:lnTo>
                      <a:pt x="1040" y="857"/>
                    </a:lnTo>
                    <a:lnTo>
                      <a:pt x="1061" y="978"/>
                    </a:lnTo>
                    <a:lnTo>
                      <a:pt x="1070" y="1104"/>
                    </a:lnTo>
                    <a:lnTo>
                      <a:pt x="758" y="1287"/>
                    </a:lnTo>
                    <a:lnTo>
                      <a:pt x="444" y="1104"/>
                    </a:lnTo>
                    <a:lnTo>
                      <a:pt x="435" y="1022"/>
                    </a:lnTo>
                    <a:lnTo>
                      <a:pt x="412" y="945"/>
                    </a:lnTo>
                    <a:lnTo>
                      <a:pt x="379" y="875"/>
                    </a:lnTo>
                    <a:lnTo>
                      <a:pt x="335" y="810"/>
                    </a:lnTo>
                    <a:lnTo>
                      <a:pt x="281" y="754"/>
                    </a:lnTo>
                    <a:lnTo>
                      <a:pt x="221" y="708"/>
                    </a:lnTo>
                    <a:lnTo>
                      <a:pt x="153" y="670"/>
                    </a:lnTo>
                    <a:lnTo>
                      <a:pt x="79" y="643"/>
                    </a:lnTo>
                    <a:lnTo>
                      <a:pt x="0" y="629"/>
                    </a:lnTo>
                    <a:lnTo>
                      <a:pt x="186" y="31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4" name="Freeform 12">
                <a:extLst>
                  <a:ext uri="{FF2B5EF4-FFF2-40B4-BE49-F238E27FC236}">
                    <a16:creationId xmlns:a16="http://schemas.microsoft.com/office/drawing/2014/main" id="{5278C061-2191-4628-9144-E2AEB45E9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80621" y="1610664"/>
                <a:ext cx="1333735" cy="1111625"/>
              </a:xfrm>
              <a:custGeom>
                <a:avLst/>
                <a:gdLst>
                  <a:gd name="T0" fmla="*/ 1101 w 1285"/>
                  <a:gd name="T1" fmla="*/ 0 h 1071"/>
                  <a:gd name="T2" fmla="*/ 1285 w 1285"/>
                  <a:gd name="T3" fmla="*/ 312 h 1071"/>
                  <a:gd name="T4" fmla="*/ 1101 w 1285"/>
                  <a:gd name="T5" fmla="*/ 626 h 1071"/>
                  <a:gd name="T6" fmla="*/ 1022 w 1285"/>
                  <a:gd name="T7" fmla="*/ 636 h 1071"/>
                  <a:gd name="T8" fmla="*/ 945 w 1285"/>
                  <a:gd name="T9" fmla="*/ 659 h 1071"/>
                  <a:gd name="T10" fmla="*/ 875 w 1285"/>
                  <a:gd name="T11" fmla="*/ 691 h 1071"/>
                  <a:gd name="T12" fmla="*/ 810 w 1285"/>
                  <a:gd name="T13" fmla="*/ 736 h 1071"/>
                  <a:gd name="T14" fmla="*/ 754 w 1285"/>
                  <a:gd name="T15" fmla="*/ 789 h 1071"/>
                  <a:gd name="T16" fmla="*/ 706 w 1285"/>
                  <a:gd name="T17" fmla="*/ 850 h 1071"/>
                  <a:gd name="T18" fmla="*/ 668 w 1285"/>
                  <a:gd name="T19" fmla="*/ 917 h 1071"/>
                  <a:gd name="T20" fmla="*/ 643 w 1285"/>
                  <a:gd name="T21" fmla="*/ 992 h 1071"/>
                  <a:gd name="T22" fmla="*/ 626 w 1285"/>
                  <a:gd name="T23" fmla="*/ 1071 h 1071"/>
                  <a:gd name="T24" fmla="*/ 310 w 1285"/>
                  <a:gd name="T25" fmla="*/ 885 h 1071"/>
                  <a:gd name="T26" fmla="*/ 0 w 1285"/>
                  <a:gd name="T27" fmla="*/ 1069 h 1071"/>
                  <a:gd name="T28" fmla="*/ 12 w 1285"/>
                  <a:gd name="T29" fmla="*/ 945 h 1071"/>
                  <a:gd name="T30" fmla="*/ 40 w 1285"/>
                  <a:gd name="T31" fmla="*/ 824 h 1071"/>
                  <a:gd name="T32" fmla="*/ 77 w 1285"/>
                  <a:gd name="T33" fmla="*/ 710 h 1071"/>
                  <a:gd name="T34" fmla="*/ 128 w 1285"/>
                  <a:gd name="T35" fmla="*/ 601 h 1071"/>
                  <a:gd name="T36" fmla="*/ 189 w 1285"/>
                  <a:gd name="T37" fmla="*/ 498 h 1071"/>
                  <a:gd name="T38" fmla="*/ 259 w 1285"/>
                  <a:gd name="T39" fmla="*/ 405 h 1071"/>
                  <a:gd name="T40" fmla="*/ 340 w 1285"/>
                  <a:gd name="T41" fmla="*/ 317 h 1071"/>
                  <a:gd name="T42" fmla="*/ 429 w 1285"/>
                  <a:gd name="T43" fmla="*/ 240 h 1071"/>
                  <a:gd name="T44" fmla="*/ 526 w 1285"/>
                  <a:gd name="T45" fmla="*/ 172 h 1071"/>
                  <a:gd name="T46" fmla="*/ 629 w 1285"/>
                  <a:gd name="T47" fmla="*/ 114 h 1071"/>
                  <a:gd name="T48" fmla="*/ 741 w 1285"/>
                  <a:gd name="T49" fmla="*/ 65 h 1071"/>
                  <a:gd name="T50" fmla="*/ 857 w 1285"/>
                  <a:gd name="T51" fmla="*/ 30 h 1071"/>
                  <a:gd name="T52" fmla="*/ 978 w 1285"/>
                  <a:gd name="T53" fmla="*/ 9 h 1071"/>
                  <a:gd name="T54" fmla="*/ 1101 w 1285"/>
                  <a:gd name="T55" fmla="*/ 0 h 10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5" h="1071">
                    <a:moveTo>
                      <a:pt x="1101" y="0"/>
                    </a:moveTo>
                    <a:lnTo>
                      <a:pt x="1285" y="312"/>
                    </a:lnTo>
                    <a:lnTo>
                      <a:pt x="1101" y="626"/>
                    </a:lnTo>
                    <a:lnTo>
                      <a:pt x="1022" y="636"/>
                    </a:lnTo>
                    <a:lnTo>
                      <a:pt x="945" y="659"/>
                    </a:lnTo>
                    <a:lnTo>
                      <a:pt x="875" y="691"/>
                    </a:lnTo>
                    <a:lnTo>
                      <a:pt x="810" y="736"/>
                    </a:lnTo>
                    <a:lnTo>
                      <a:pt x="754" y="789"/>
                    </a:lnTo>
                    <a:lnTo>
                      <a:pt x="706" y="850"/>
                    </a:lnTo>
                    <a:lnTo>
                      <a:pt x="668" y="917"/>
                    </a:lnTo>
                    <a:lnTo>
                      <a:pt x="643" y="992"/>
                    </a:lnTo>
                    <a:lnTo>
                      <a:pt x="626" y="1071"/>
                    </a:lnTo>
                    <a:lnTo>
                      <a:pt x="310" y="885"/>
                    </a:lnTo>
                    <a:lnTo>
                      <a:pt x="0" y="1069"/>
                    </a:lnTo>
                    <a:lnTo>
                      <a:pt x="12" y="945"/>
                    </a:lnTo>
                    <a:lnTo>
                      <a:pt x="40" y="824"/>
                    </a:lnTo>
                    <a:lnTo>
                      <a:pt x="77" y="710"/>
                    </a:lnTo>
                    <a:lnTo>
                      <a:pt x="128" y="601"/>
                    </a:lnTo>
                    <a:lnTo>
                      <a:pt x="189" y="498"/>
                    </a:lnTo>
                    <a:lnTo>
                      <a:pt x="259" y="405"/>
                    </a:lnTo>
                    <a:lnTo>
                      <a:pt x="340" y="317"/>
                    </a:lnTo>
                    <a:lnTo>
                      <a:pt x="429" y="240"/>
                    </a:lnTo>
                    <a:lnTo>
                      <a:pt x="526" y="172"/>
                    </a:lnTo>
                    <a:lnTo>
                      <a:pt x="629" y="114"/>
                    </a:lnTo>
                    <a:lnTo>
                      <a:pt x="741" y="65"/>
                    </a:lnTo>
                    <a:lnTo>
                      <a:pt x="857" y="30"/>
                    </a:lnTo>
                    <a:lnTo>
                      <a:pt x="978" y="9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73">
              <a:extLst>
                <a:ext uri="{FF2B5EF4-FFF2-40B4-BE49-F238E27FC236}">
                  <a16:creationId xmlns:a16="http://schemas.microsoft.com/office/drawing/2014/main" id="{78EADE85-C7FB-4707-B96E-D8E5BEADCA6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75783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0B42A7C9-B1E1-4BCC-9683-99B79E73185D}"/>
              </a:ext>
            </a:extLst>
          </p:cNvPr>
          <p:cNvGrpSpPr/>
          <p:nvPr/>
        </p:nvGrpSpPr>
        <p:grpSpPr bwMode="gray">
          <a:xfrm>
            <a:off x="9141959" y="1576058"/>
            <a:ext cx="2333258" cy="2334307"/>
            <a:chOff x="9141959" y="1576058"/>
            <a:chExt cx="2333258" cy="2334307"/>
          </a:xfrm>
          <a:solidFill>
            <a:srgbClr val="E4E4E4"/>
          </a:solidFill>
        </p:grpSpPr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3F6230C6-E6F1-46E6-A4F1-3A1A537E28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9141959" y="1576058"/>
              <a:ext cx="2333258" cy="2334307"/>
              <a:chOff x="9141959" y="1576058"/>
              <a:chExt cx="2333258" cy="2334307"/>
            </a:xfrm>
            <a:grpFill/>
          </p:grpSpPr>
          <p:sp>
            <p:nvSpPr>
              <p:cNvPr id="15" name="Freeform 13">
                <a:extLst>
                  <a:ext uri="{FF2B5EF4-FFF2-40B4-BE49-F238E27FC236}">
                    <a16:creationId xmlns:a16="http://schemas.microsoft.com/office/drawing/2014/main" id="{C2AD65DE-2195-43CE-8F66-03586BD543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640070" y="3171063"/>
                <a:ext cx="1310819" cy="739302"/>
              </a:xfrm>
              <a:custGeom>
                <a:avLst/>
                <a:gdLst>
                  <a:gd name="T0" fmla="*/ 365 w 1250"/>
                  <a:gd name="T1" fmla="*/ 0 h 705"/>
                  <a:gd name="T2" fmla="*/ 428 w 1250"/>
                  <a:gd name="T3" fmla="*/ 35 h 705"/>
                  <a:gd name="T4" fmla="*/ 496 w 1250"/>
                  <a:gd name="T5" fmla="*/ 60 h 705"/>
                  <a:gd name="T6" fmla="*/ 565 w 1250"/>
                  <a:gd name="T7" fmla="*/ 76 h 705"/>
                  <a:gd name="T8" fmla="*/ 638 w 1250"/>
                  <a:gd name="T9" fmla="*/ 81 h 705"/>
                  <a:gd name="T10" fmla="*/ 703 w 1250"/>
                  <a:gd name="T11" fmla="*/ 79 h 705"/>
                  <a:gd name="T12" fmla="*/ 766 w 1250"/>
                  <a:gd name="T13" fmla="*/ 65 h 705"/>
                  <a:gd name="T14" fmla="*/ 828 w 1250"/>
                  <a:gd name="T15" fmla="*/ 44 h 705"/>
                  <a:gd name="T16" fmla="*/ 884 w 1250"/>
                  <a:gd name="T17" fmla="*/ 16 h 705"/>
                  <a:gd name="T18" fmla="*/ 921 w 1250"/>
                  <a:gd name="T19" fmla="*/ 377 h 705"/>
                  <a:gd name="T20" fmla="*/ 1250 w 1250"/>
                  <a:gd name="T21" fmla="*/ 521 h 705"/>
                  <a:gd name="T22" fmla="*/ 1157 w 1250"/>
                  <a:gd name="T23" fmla="*/ 577 h 705"/>
                  <a:gd name="T24" fmla="*/ 1059 w 1250"/>
                  <a:gd name="T25" fmla="*/ 621 h 705"/>
                  <a:gd name="T26" fmla="*/ 959 w 1250"/>
                  <a:gd name="T27" fmla="*/ 659 h 705"/>
                  <a:gd name="T28" fmla="*/ 854 w 1250"/>
                  <a:gd name="T29" fmla="*/ 684 h 705"/>
                  <a:gd name="T30" fmla="*/ 747 w 1250"/>
                  <a:gd name="T31" fmla="*/ 700 h 705"/>
                  <a:gd name="T32" fmla="*/ 638 w 1250"/>
                  <a:gd name="T33" fmla="*/ 705 h 705"/>
                  <a:gd name="T34" fmla="*/ 524 w 1250"/>
                  <a:gd name="T35" fmla="*/ 698 h 705"/>
                  <a:gd name="T36" fmla="*/ 412 w 1250"/>
                  <a:gd name="T37" fmla="*/ 682 h 705"/>
                  <a:gd name="T38" fmla="*/ 302 w 1250"/>
                  <a:gd name="T39" fmla="*/ 654 h 705"/>
                  <a:gd name="T40" fmla="*/ 198 w 1250"/>
                  <a:gd name="T41" fmla="*/ 614 h 705"/>
                  <a:gd name="T42" fmla="*/ 95 w 1250"/>
                  <a:gd name="T43" fmla="*/ 563 h 705"/>
                  <a:gd name="T44" fmla="*/ 0 w 1250"/>
                  <a:gd name="T45" fmla="*/ 503 h 705"/>
                  <a:gd name="T46" fmla="*/ 35 w 1250"/>
                  <a:gd name="T47" fmla="*/ 144 h 705"/>
                  <a:gd name="T48" fmla="*/ 365 w 1250"/>
                  <a:gd name="T49" fmla="*/ 0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50" h="705">
                    <a:moveTo>
                      <a:pt x="365" y="0"/>
                    </a:moveTo>
                    <a:lnTo>
                      <a:pt x="428" y="35"/>
                    </a:lnTo>
                    <a:lnTo>
                      <a:pt x="496" y="60"/>
                    </a:lnTo>
                    <a:lnTo>
                      <a:pt x="565" y="76"/>
                    </a:lnTo>
                    <a:lnTo>
                      <a:pt x="638" y="81"/>
                    </a:lnTo>
                    <a:lnTo>
                      <a:pt x="703" y="79"/>
                    </a:lnTo>
                    <a:lnTo>
                      <a:pt x="766" y="65"/>
                    </a:lnTo>
                    <a:lnTo>
                      <a:pt x="828" y="44"/>
                    </a:lnTo>
                    <a:lnTo>
                      <a:pt x="884" y="16"/>
                    </a:lnTo>
                    <a:lnTo>
                      <a:pt x="921" y="377"/>
                    </a:lnTo>
                    <a:lnTo>
                      <a:pt x="1250" y="521"/>
                    </a:lnTo>
                    <a:lnTo>
                      <a:pt x="1157" y="577"/>
                    </a:lnTo>
                    <a:lnTo>
                      <a:pt x="1059" y="621"/>
                    </a:lnTo>
                    <a:lnTo>
                      <a:pt x="959" y="659"/>
                    </a:lnTo>
                    <a:lnTo>
                      <a:pt x="854" y="684"/>
                    </a:lnTo>
                    <a:lnTo>
                      <a:pt x="747" y="700"/>
                    </a:lnTo>
                    <a:lnTo>
                      <a:pt x="638" y="705"/>
                    </a:lnTo>
                    <a:lnTo>
                      <a:pt x="524" y="698"/>
                    </a:lnTo>
                    <a:lnTo>
                      <a:pt x="412" y="682"/>
                    </a:lnTo>
                    <a:lnTo>
                      <a:pt x="302" y="654"/>
                    </a:lnTo>
                    <a:lnTo>
                      <a:pt x="198" y="614"/>
                    </a:lnTo>
                    <a:lnTo>
                      <a:pt x="95" y="563"/>
                    </a:lnTo>
                    <a:lnTo>
                      <a:pt x="0" y="503"/>
                    </a:lnTo>
                    <a:lnTo>
                      <a:pt x="35" y="144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" name="Freeform 14">
                <a:extLst>
                  <a:ext uri="{FF2B5EF4-FFF2-40B4-BE49-F238E27FC236}">
                    <a16:creationId xmlns:a16="http://schemas.microsoft.com/office/drawing/2014/main" id="{945C106E-BABB-4DD8-8CF6-9D445E60DF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7903" y="2433858"/>
                <a:ext cx="847314" cy="1242657"/>
              </a:xfrm>
              <a:custGeom>
                <a:avLst/>
                <a:gdLst>
                  <a:gd name="T0" fmla="*/ 768 w 808"/>
                  <a:gd name="T1" fmla="*/ 0 h 1185"/>
                  <a:gd name="T2" fmla="*/ 789 w 808"/>
                  <a:gd name="T3" fmla="*/ 97 h 1185"/>
                  <a:gd name="T4" fmla="*/ 803 w 808"/>
                  <a:gd name="T5" fmla="*/ 195 h 1185"/>
                  <a:gd name="T6" fmla="*/ 808 w 808"/>
                  <a:gd name="T7" fmla="*/ 295 h 1185"/>
                  <a:gd name="T8" fmla="*/ 801 w 808"/>
                  <a:gd name="T9" fmla="*/ 412 h 1185"/>
                  <a:gd name="T10" fmla="*/ 785 w 808"/>
                  <a:gd name="T11" fmla="*/ 523 h 1185"/>
                  <a:gd name="T12" fmla="*/ 754 w 808"/>
                  <a:gd name="T13" fmla="*/ 633 h 1185"/>
                  <a:gd name="T14" fmla="*/ 715 w 808"/>
                  <a:gd name="T15" fmla="*/ 740 h 1185"/>
                  <a:gd name="T16" fmla="*/ 664 w 808"/>
                  <a:gd name="T17" fmla="*/ 842 h 1185"/>
                  <a:gd name="T18" fmla="*/ 603 w 808"/>
                  <a:gd name="T19" fmla="*/ 938 h 1185"/>
                  <a:gd name="T20" fmla="*/ 533 w 808"/>
                  <a:gd name="T21" fmla="*/ 1026 h 1185"/>
                  <a:gd name="T22" fmla="*/ 452 w 808"/>
                  <a:gd name="T23" fmla="*/ 1110 h 1185"/>
                  <a:gd name="T24" fmla="*/ 363 w 808"/>
                  <a:gd name="T25" fmla="*/ 1185 h 1185"/>
                  <a:gd name="T26" fmla="*/ 35 w 808"/>
                  <a:gd name="T27" fmla="*/ 1040 h 1185"/>
                  <a:gd name="T28" fmla="*/ 0 w 808"/>
                  <a:gd name="T29" fmla="*/ 679 h 1185"/>
                  <a:gd name="T30" fmla="*/ 54 w 808"/>
                  <a:gd name="T31" fmla="*/ 630 h 1185"/>
                  <a:gd name="T32" fmla="*/ 101 w 808"/>
                  <a:gd name="T33" fmla="*/ 572 h 1185"/>
                  <a:gd name="T34" fmla="*/ 135 w 808"/>
                  <a:gd name="T35" fmla="*/ 509 h 1185"/>
                  <a:gd name="T36" fmla="*/ 163 w 808"/>
                  <a:gd name="T37" fmla="*/ 442 h 1185"/>
                  <a:gd name="T38" fmla="*/ 180 w 808"/>
                  <a:gd name="T39" fmla="*/ 370 h 1185"/>
                  <a:gd name="T40" fmla="*/ 187 w 808"/>
                  <a:gd name="T41" fmla="*/ 295 h 1185"/>
                  <a:gd name="T42" fmla="*/ 182 w 808"/>
                  <a:gd name="T43" fmla="*/ 242 h 1185"/>
                  <a:gd name="T44" fmla="*/ 175 w 808"/>
                  <a:gd name="T45" fmla="*/ 190 h 1185"/>
                  <a:gd name="T46" fmla="*/ 529 w 808"/>
                  <a:gd name="T47" fmla="*/ 270 h 1185"/>
                  <a:gd name="T48" fmla="*/ 768 w 808"/>
                  <a:gd name="T49" fmla="*/ 0 h 1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08" h="1185">
                    <a:moveTo>
                      <a:pt x="768" y="0"/>
                    </a:moveTo>
                    <a:lnTo>
                      <a:pt x="789" y="97"/>
                    </a:lnTo>
                    <a:lnTo>
                      <a:pt x="803" y="195"/>
                    </a:lnTo>
                    <a:lnTo>
                      <a:pt x="808" y="295"/>
                    </a:lnTo>
                    <a:lnTo>
                      <a:pt x="801" y="412"/>
                    </a:lnTo>
                    <a:lnTo>
                      <a:pt x="785" y="523"/>
                    </a:lnTo>
                    <a:lnTo>
                      <a:pt x="754" y="633"/>
                    </a:lnTo>
                    <a:lnTo>
                      <a:pt x="715" y="740"/>
                    </a:lnTo>
                    <a:lnTo>
                      <a:pt x="664" y="842"/>
                    </a:lnTo>
                    <a:lnTo>
                      <a:pt x="603" y="938"/>
                    </a:lnTo>
                    <a:lnTo>
                      <a:pt x="533" y="1026"/>
                    </a:lnTo>
                    <a:lnTo>
                      <a:pt x="452" y="1110"/>
                    </a:lnTo>
                    <a:lnTo>
                      <a:pt x="363" y="1185"/>
                    </a:lnTo>
                    <a:lnTo>
                      <a:pt x="35" y="1040"/>
                    </a:lnTo>
                    <a:lnTo>
                      <a:pt x="0" y="679"/>
                    </a:lnTo>
                    <a:lnTo>
                      <a:pt x="54" y="630"/>
                    </a:lnTo>
                    <a:lnTo>
                      <a:pt x="101" y="572"/>
                    </a:lnTo>
                    <a:lnTo>
                      <a:pt x="135" y="509"/>
                    </a:lnTo>
                    <a:lnTo>
                      <a:pt x="163" y="442"/>
                    </a:lnTo>
                    <a:lnTo>
                      <a:pt x="180" y="370"/>
                    </a:lnTo>
                    <a:lnTo>
                      <a:pt x="187" y="295"/>
                    </a:lnTo>
                    <a:lnTo>
                      <a:pt x="182" y="242"/>
                    </a:lnTo>
                    <a:lnTo>
                      <a:pt x="175" y="190"/>
                    </a:lnTo>
                    <a:lnTo>
                      <a:pt x="529" y="270"/>
                    </a:lnTo>
                    <a:lnTo>
                      <a:pt x="768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7" name="Freeform 15">
                <a:extLst>
                  <a:ext uri="{FF2B5EF4-FFF2-40B4-BE49-F238E27FC236}">
                    <a16:creationId xmlns:a16="http://schemas.microsoft.com/office/drawing/2014/main" id="{A3FF2EFA-ADEA-4551-9D84-ABD27C7502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41959" y="2320604"/>
                <a:ext cx="825292" cy="1333890"/>
              </a:xfrm>
              <a:custGeom>
                <a:avLst/>
                <a:gdLst>
                  <a:gd name="T0" fmla="*/ 400 w 787"/>
                  <a:gd name="T1" fmla="*/ 0 h 1272"/>
                  <a:gd name="T2" fmla="*/ 640 w 787"/>
                  <a:gd name="T3" fmla="*/ 271 h 1272"/>
                  <a:gd name="T4" fmla="*/ 628 w 787"/>
                  <a:gd name="T5" fmla="*/ 336 h 1272"/>
                  <a:gd name="T6" fmla="*/ 624 w 787"/>
                  <a:gd name="T7" fmla="*/ 403 h 1272"/>
                  <a:gd name="T8" fmla="*/ 628 w 787"/>
                  <a:gd name="T9" fmla="*/ 473 h 1272"/>
                  <a:gd name="T10" fmla="*/ 642 w 787"/>
                  <a:gd name="T11" fmla="*/ 541 h 1272"/>
                  <a:gd name="T12" fmla="*/ 666 w 787"/>
                  <a:gd name="T13" fmla="*/ 603 h 1272"/>
                  <a:gd name="T14" fmla="*/ 698 w 787"/>
                  <a:gd name="T15" fmla="*/ 664 h 1272"/>
                  <a:gd name="T16" fmla="*/ 740 w 787"/>
                  <a:gd name="T17" fmla="*/ 720 h 1272"/>
                  <a:gd name="T18" fmla="*/ 787 w 787"/>
                  <a:gd name="T19" fmla="*/ 769 h 1272"/>
                  <a:gd name="T20" fmla="*/ 454 w 787"/>
                  <a:gd name="T21" fmla="*/ 915 h 1272"/>
                  <a:gd name="T22" fmla="*/ 419 w 787"/>
                  <a:gd name="T23" fmla="*/ 1272 h 1272"/>
                  <a:gd name="T24" fmla="*/ 335 w 787"/>
                  <a:gd name="T25" fmla="*/ 1199 h 1272"/>
                  <a:gd name="T26" fmla="*/ 261 w 787"/>
                  <a:gd name="T27" fmla="*/ 1118 h 1272"/>
                  <a:gd name="T28" fmla="*/ 193 w 787"/>
                  <a:gd name="T29" fmla="*/ 1030 h 1272"/>
                  <a:gd name="T30" fmla="*/ 137 w 787"/>
                  <a:gd name="T31" fmla="*/ 934 h 1272"/>
                  <a:gd name="T32" fmla="*/ 89 w 787"/>
                  <a:gd name="T33" fmla="*/ 836 h 1272"/>
                  <a:gd name="T34" fmla="*/ 51 w 787"/>
                  <a:gd name="T35" fmla="*/ 732 h 1272"/>
                  <a:gd name="T36" fmla="*/ 23 w 787"/>
                  <a:gd name="T37" fmla="*/ 624 h 1272"/>
                  <a:gd name="T38" fmla="*/ 7 w 787"/>
                  <a:gd name="T39" fmla="*/ 515 h 1272"/>
                  <a:gd name="T40" fmla="*/ 0 w 787"/>
                  <a:gd name="T41" fmla="*/ 403 h 1272"/>
                  <a:gd name="T42" fmla="*/ 7 w 787"/>
                  <a:gd name="T43" fmla="*/ 294 h 1272"/>
                  <a:gd name="T44" fmla="*/ 23 w 787"/>
                  <a:gd name="T45" fmla="*/ 184 h 1272"/>
                  <a:gd name="T46" fmla="*/ 49 w 787"/>
                  <a:gd name="T47" fmla="*/ 77 h 1272"/>
                  <a:gd name="T48" fmla="*/ 400 w 787"/>
                  <a:gd name="T49" fmla="*/ 0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87" h="1272">
                    <a:moveTo>
                      <a:pt x="400" y="0"/>
                    </a:moveTo>
                    <a:lnTo>
                      <a:pt x="640" y="271"/>
                    </a:lnTo>
                    <a:lnTo>
                      <a:pt x="628" y="336"/>
                    </a:lnTo>
                    <a:lnTo>
                      <a:pt x="624" y="403"/>
                    </a:lnTo>
                    <a:lnTo>
                      <a:pt x="628" y="473"/>
                    </a:lnTo>
                    <a:lnTo>
                      <a:pt x="642" y="541"/>
                    </a:lnTo>
                    <a:lnTo>
                      <a:pt x="666" y="603"/>
                    </a:lnTo>
                    <a:lnTo>
                      <a:pt x="698" y="664"/>
                    </a:lnTo>
                    <a:lnTo>
                      <a:pt x="740" y="720"/>
                    </a:lnTo>
                    <a:lnTo>
                      <a:pt x="787" y="769"/>
                    </a:lnTo>
                    <a:lnTo>
                      <a:pt x="454" y="915"/>
                    </a:lnTo>
                    <a:lnTo>
                      <a:pt x="419" y="1272"/>
                    </a:lnTo>
                    <a:lnTo>
                      <a:pt x="335" y="1199"/>
                    </a:lnTo>
                    <a:lnTo>
                      <a:pt x="261" y="1118"/>
                    </a:lnTo>
                    <a:lnTo>
                      <a:pt x="193" y="1030"/>
                    </a:lnTo>
                    <a:lnTo>
                      <a:pt x="137" y="934"/>
                    </a:lnTo>
                    <a:lnTo>
                      <a:pt x="89" y="836"/>
                    </a:lnTo>
                    <a:lnTo>
                      <a:pt x="51" y="732"/>
                    </a:lnTo>
                    <a:lnTo>
                      <a:pt x="23" y="624"/>
                    </a:lnTo>
                    <a:lnTo>
                      <a:pt x="7" y="515"/>
                    </a:lnTo>
                    <a:lnTo>
                      <a:pt x="0" y="403"/>
                    </a:lnTo>
                    <a:lnTo>
                      <a:pt x="7" y="294"/>
                    </a:lnTo>
                    <a:lnTo>
                      <a:pt x="23" y="184"/>
                    </a:lnTo>
                    <a:lnTo>
                      <a:pt x="49" y="77"/>
                    </a:lnTo>
                    <a:lnTo>
                      <a:pt x="400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8" name="Freeform 16">
                <a:extLst>
                  <a:ext uri="{FF2B5EF4-FFF2-40B4-BE49-F238E27FC236}">
                    <a16:creationId xmlns:a16="http://schemas.microsoft.com/office/drawing/2014/main" id="{6004A9BE-DBB9-4349-A1A8-8B9691DF4F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17463" y="1576058"/>
                <a:ext cx="1261533" cy="962665"/>
              </a:xfrm>
              <a:custGeom>
                <a:avLst/>
                <a:gdLst>
                  <a:gd name="T0" fmla="*/ 1022 w 1203"/>
                  <a:gd name="T1" fmla="*/ 0 h 918"/>
                  <a:gd name="T2" fmla="*/ 1203 w 1203"/>
                  <a:gd name="T3" fmla="*/ 312 h 918"/>
                  <a:gd name="T4" fmla="*/ 1022 w 1203"/>
                  <a:gd name="T5" fmla="*/ 624 h 918"/>
                  <a:gd name="T6" fmla="*/ 943 w 1203"/>
                  <a:gd name="T7" fmla="*/ 634 h 918"/>
                  <a:gd name="T8" fmla="*/ 866 w 1203"/>
                  <a:gd name="T9" fmla="*/ 655 h 918"/>
                  <a:gd name="T10" fmla="*/ 796 w 1203"/>
                  <a:gd name="T11" fmla="*/ 689 h 918"/>
                  <a:gd name="T12" fmla="*/ 733 w 1203"/>
                  <a:gd name="T13" fmla="*/ 731 h 918"/>
                  <a:gd name="T14" fmla="*/ 678 w 1203"/>
                  <a:gd name="T15" fmla="*/ 785 h 918"/>
                  <a:gd name="T16" fmla="*/ 629 w 1203"/>
                  <a:gd name="T17" fmla="*/ 848 h 918"/>
                  <a:gd name="T18" fmla="*/ 591 w 1203"/>
                  <a:gd name="T19" fmla="*/ 918 h 918"/>
                  <a:gd name="T20" fmla="*/ 352 w 1203"/>
                  <a:gd name="T21" fmla="*/ 645 h 918"/>
                  <a:gd name="T22" fmla="*/ 0 w 1203"/>
                  <a:gd name="T23" fmla="*/ 722 h 918"/>
                  <a:gd name="T24" fmla="*/ 44 w 1203"/>
                  <a:gd name="T25" fmla="*/ 617 h 918"/>
                  <a:gd name="T26" fmla="*/ 98 w 1203"/>
                  <a:gd name="T27" fmla="*/ 522 h 918"/>
                  <a:gd name="T28" fmla="*/ 163 w 1203"/>
                  <a:gd name="T29" fmla="*/ 431 h 918"/>
                  <a:gd name="T30" fmla="*/ 233 w 1203"/>
                  <a:gd name="T31" fmla="*/ 347 h 918"/>
                  <a:gd name="T32" fmla="*/ 312 w 1203"/>
                  <a:gd name="T33" fmla="*/ 270 h 918"/>
                  <a:gd name="T34" fmla="*/ 398 w 1203"/>
                  <a:gd name="T35" fmla="*/ 205 h 918"/>
                  <a:gd name="T36" fmla="*/ 491 w 1203"/>
                  <a:gd name="T37" fmla="*/ 147 h 918"/>
                  <a:gd name="T38" fmla="*/ 589 w 1203"/>
                  <a:gd name="T39" fmla="*/ 96 h 918"/>
                  <a:gd name="T40" fmla="*/ 691 w 1203"/>
                  <a:gd name="T41" fmla="*/ 56 h 918"/>
                  <a:gd name="T42" fmla="*/ 799 w 1203"/>
                  <a:gd name="T43" fmla="*/ 28 h 918"/>
                  <a:gd name="T44" fmla="*/ 908 w 1203"/>
                  <a:gd name="T45" fmla="*/ 10 h 918"/>
                  <a:gd name="T46" fmla="*/ 1022 w 1203"/>
                  <a:gd name="T47" fmla="*/ 0 h 9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03" h="918">
                    <a:moveTo>
                      <a:pt x="1022" y="0"/>
                    </a:moveTo>
                    <a:lnTo>
                      <a:pt x="1203" y="312"/>
                    </a:lnTo>
                    <a:lnTo>
                      <a:pt x="1022" y="624"/>
                    </a:lnTo>
                    <a:lnTo>
                      <a:pt x="943" y="634"/>
                    </a:lnTo>
                    <a:lnTo>
                      <a:pt x="866" y="655"/>
                    </a:lnTo>
                    <a:lnTo>
                      <a:pt x="796" y="689"/>
                    </a:lnTo>
                    <a:lnTo>
                      <a:pt x="733" y="731"/>
                    </a:lnTo>
                    <a:lnTo>
                      <a:pt x="678" y="785"/>
                    </a:lnTo>
                    <a:lnTo>
                      <a:pt x="629" y="848"/>
                    </a:lnTo>
                    <a:lnTo>
                      <a:pt x="591" y="918"/>
                    </a:lnTo>
                    <a:lnTo>
                      <a:pt x="352" y="645"/>
                    </a:lnTo>
                    <a:lnTo>
                      <a:pt x="0" y="722"/>
                    </a:lnTo>
                    <a:lnTo>
                      <a:pt x="44" y="617"/>
                    </a:lnTo>
                    <a:lnTo>
                      <a:pt x="98" y="522"/>
                    </a:lnTo>
                    <a:lnTo>
                      <a:pt x="163" y="431"/>
                    </a:lnTo>
                    <a:lnTo>
                      <a:pt x="233" y="347"/>
                    </a:lnTo>
                    <a:lnTo>
                      <a:pt x="312" y="270"/>
                    </a:lnTo>
                    <a:lnTo>
                      <a:pt x="398" y="205"/>
                    </a:lnTo>
                    <a:lnTo>
                      <a:pt x="491" y="147"/>
                    </a:lnTo>
                    <a:lnTo>
                      <a:pt x="589" y="96"/>
                    </a:lnTo>
                    <a:lnTo>
                      <a:pt x="691" y="56"/>
                    </a:lnTo>
                    <a:lnTo>
                      <a:pt x="799" y="28"/>
                    </a:lnTo>
                    <a:lnTo>
                      <a:pt x="908" y="10"/>
                    </a:lnTo>
                    <a:lnTo>
                      <a:pt x="1022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Freeform 17">
                <a:extLst>
                  <a:ext uri="{FF2B5EF4-FFF2-40B4-BE49-F238E27FC236}">
                    <a16:creationId xmlns:a16="http://schemas.microsoft.com/office/drawing/2014/main" id="{ACB842A7-2355-43E2-A016-CF5F5000D4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59448" y="1579205"/>
                <a:ext cx="1051802" cy="1066483"/>
              </a:xfrm>
              <a:custGeom>
                <a:avLst/>
                <a:gdLst>
                  <a:gd name="T0" fmla="*/ 3 w 1003"/>
                  <a:gd name="T1" fmla="*/ 0 h 1017"/>
                  <a:gd name="T2" fmla="*/ 114 w 1003"/>
                  <a:gd name="T3" fmla="*/ 9 h 1017"/>
                  <a:gd name="T4" fmla="*/ 224 w 1003"/>
                  <a:gd name="T5" fmla="*/ 32 h 1017"/>
                  <a:gd name="T6" fmla="*/ 331 w 1003"/>
                  <a:gd name="T7" fmla="*/ 65 h 1017"/>
                  <a:gd name="T8" fmla="*/ 431 w 1003"/>
                  <a:gd name="T9" fmla="*/ 107 h 1017"/>
                  <a:gd name="T10" fmla="*/ 526 w 1003"/>
                  <a:gd name="T11" fmla="*/ 158 h 1017"/>
                  <a:gd name="T12" fmla="*/ 617 w 1003"/>
                  <a:gd name="T13" fmla="*/ 219 h 1017"/>
                  <a:gd name="T14" fmla="*/ 701 w 1003"/>
                  <a:gd name="T15" fmla="*/ 288 h 1017"/>
                  <a:gd name="T16" fmla="*/ 778 w 1003"/>
                  <a:gd name="T17" fmla="*/ 365 h 1017"/>
                  <a:gd name="T18" fmla="*/ 848 w 1003"/>
                  <a:gd name="T19" fmla="*/ 451 h 1017"/>
                  <a:gd name="T20" fmla="*/ 908 w 1003"/>
                  <a:gd name="T21" fmla="*/ 544 h 1017"/>
                  <a:gd name="T22" fmla="*/ 962 w 1003"/>
                  <a:gd name="T23" fmla="*/ 642 h 1017"/>
                  <a:gd name="T24" fmla="*/ 1003 w 1003"/>
                  <a:gd name="T25" fmla="*/ 749 h 1017"/>
                  <a:gd name="T26" fmla="*/ 764 w 1003"/>
                  <a:gd name="T27" fmla="*/ 1017 h 1017"/>
                  <a:gd name="T28" fmla="*/ 410 w 1003"/>
                  <a:gd name="T29" fmla="*/ 940 h 1017"/>
                  <a:gd name="T30" fmla="*/ 377 w 1003"/>
                  <a:gd name="T31" fmla="*/ 868 h 1017"/>
                  <a:gd name="T32" fmla="*/ 333 w 1003"/>
                  <a:gd name="T33" fmla="*/ 803 h 1017"/>
                  <a:gd name="T34" fmla="*/ 280 w 1003"/>
                  <a:gd name="T35" fmla="*/ 747 h 1017"/>
                  <a:gd name="T36" fmla="*/ 219 w 1003"/>
                  <a:gd name="T37" fmla="*/ 700 h 1017"/>
                  <a:gd name="T38" fmla="*/ 152 w 1003"/>
                  <a:gd name="T39" fmla="*/ 663 h 1017"/>
                  <a:gd name="T40" fmla="*/ 77 w 1003"/>
                  <a:gd name="T41" fmla="*/ 638 h 1017"/>
                  <a:gd name="T42" fmla="*/ 0 w 1003"/>
                  <a:gd name="T43" fmla="*/ 624 h 1017"/>
                  <a:gd name="T44" fmla="*/ 184 w 1003"/>
                  <a:gd name="T45" fmla="*/ 309 h 1017"/>
                  <a:gd name="T46" fmla="*/ 3 w 1003"/>
                  <a:gd name="T47" fmla="*/ 0 h 10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3" h="1017">
                    <a:moveTo>
                      <a:pt x="3" y="0"/>
                    </a:moveTo>
                    <a:lnTo>
                      <a:pt x="114" y="9"/>
                    </a:lnTo>
                    <a:lnTo>
                      <a:pt x="224" y="32"/>
                    </a:lnTo>
                    <a:lnTo>
                      <a:pt x="331" y="65"/>
                    </a:lnTo>
                    <a:lnTo>
                      <a:pt x="431" y="107"/>
                    </a:lnTo>
                    <a:lnTo>
                      <a:pt x="526" y="158"/>
                    </a:lnTo>
                    <a:lnTo>
                      <a:pt x="617" y="219"/>
                    </a:lnTo>
                    <a:lnTo>
                      <a:pt x="701" y="288"/>
                    </a:lnTo>
                    <a:lnTo>
                      <a:pt x="778" y="365"/>
                    </a:lnTo>
                    <a:lnTo>
                      <a:pt x="848" y="451"/>
                    </a:lnTo>
                    <a:lnTo>
                      <a:pt x="908" y="544"/>
                    </a:lnTo>
                    <a:lnTo>
                      <a:pt x="962" y="642"/>
                    </a:lnTo>
                    <a:lnTo>
                      <a:pt x="1003" y="749"/>
                    </a:lnTo>
                    <a:lnTo>
                      <a:pt x="764" y="1017"/>
                    </a:lnTo>
                    <a:lnTo>
                      <a:pt x="410" y="940"/>
                    </a:lnTo>
                    <a:lnTo>
                      <a:pt x="377" y="868"/>
                    </a:lnTo>
                    <a:lnTo>
                      <a:pt x="333" y="803"/>
                    </a:lnTo>
                    <a:lnTo>
                      <a:pt x="280" y="747"/>
                    </a:lnTo>
                    <a:lnTo>
                      <a:pt x="219" y="700"/>
                    </a:lnTo>
                    <a:lnTo>
                      <a:pt x="152" y="663"/>
                    </a:lnTo>
                    <a:lnTo>
                      <a:pt x="77" y="638"/>
                    </a:lnTo>
                    <a:lnTo>
                      <a:pt x="0" y="624"/>
                    </a:lnTo>
                    <a:lnTo>
                      <a:pt x="184" y="309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6" name="TextBox 74">
              <a:extLst>
                <a:ext uri="{FF2B5EF4-FFF2-40B4-BE49-F238E27FC236}">
                  <a16:creationId xmlns:a16="http://schemas.microsoft.com/office/drawing/2014/main" id="{1C1E3E59-3C6A-43E8-A070-B825F978F72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839196" y="251237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A9A3AD76-0981-442B-B65C-87956951AC32}"/>
              </a:ext>
            </a:extLst>
          </p:cNvPr>
          <p:cNvGrpSpPr/>
          <p:nvPr/>
        </p:nvGrpSpPr>
        <p:grpSpPr bwMode="gray">
          <a:xfrm>
            <a:off x="7743519" y="3964520"/>
            <a:ext cx="2333258" cy="2334307"/>
            <a:chOff x="7743519" y="3964520"/>
            <a:chExt cx="2333258" cy="2334307"/>
          </a:xfrm>
          <a:solidFill>
            <a:srgbClr val="E4E4E4"/>
          </a:solidFill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F6997AE6-609B-4A28-A9C8-DE3AADF9463E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743519" y="3964520"/>
              <a:ext cx="2333258" cy="2334307"/>
              <a:chOff x="7743519" y="3964520"/>
              <a:chExt cx="2333258" cy="2334307"/>
            </a:xfrm>
            <a:grpFill/>
          </p:grpSpPr>
          <p:sp>
            <p:nvSpPr>
              <p:cNvPr id="35" name="Freeform 35">
                <a:extLst>
                  <a:ext uri="{FF2B5EF4-FFF2-40B4-BE49-F238E27FC236}">
                    <a16:creationId xmlns:a16="http://schemas.microsoft.com/office/drawing/2014/main" id="{FBEDEAEA-34E9-4922-A764-A3F2A388A9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95797" y="5566863"/>
                <a:ext cx="776187" cy="731964"/>
              </a:xfrm>
              <a:custGeom>
                <a:avLst/>
                <a:gdLst>
                  <a:gd name="T0" fmla="*/ 342 w 661"/>
                  <a:gd name="T1" fmla="*/ 0 h 624"/>
                  <a:gd name="T2" fmla="*/ 398 w 661"/>
                  <a:gd name="T3" fmla="*/ 46 h 624"/>
                  <a:gd name="T4" fmla="*/ 458 w 661"/>
                  <a:gd name="T5" fmla="*/ 83 h 624"/>
                  <a:gd name="T6" fmla="*/ 521 w 661"/>
                  <a:gd name="T7" fmla="*/ 111 h 624"/>
                  <a:gd name="T8" fmla="*/ 591 w 661"/>
                  <a:gd name="T9" fmla="*/ 130 h 624"/>
                  <a:gd name="T10" fmla="*/ 661 w 661"/>
                  <a:gd name="T11" fmla="*/ 139 h 624"/>
                  <a:gd name="T12" fmla="*/ 519 w 661"/>
                  <a:gd name="T13" fmla="*/ 384 h 624"/>
                  <a:gd name="T14" fmla="*/ 658 w 661"/>
                  <a:gd name="T15" fmla="*/ 624 h 624"/>
                  <a:gd name="T16" fmla="*/ 554 w 661"/>
                  <a:gd name="T17" fmla="*/ 615 h 624"/>
                  <a:gd name="T18" fmla="*/ 451 w 661"/>
                  <a:gd name="T19" fmla="*/ 594 h 624"/>
                  <a:gd name="T20" fmla="*/ 351 w 661"/>
                  <a:gd name="T21" fmla="*/ 563 h 624"/>
                  <a:gd name="T22" fmla="*/ 256 w 661"/>
                  <a:gd name="T23" fmla="*/ 521 h 624"/>
                  <a:gd name="T24" fmla="*/ 165 w 661"/>
                  <a:gd name="T25" fmla="*/ 470 h 624"/>
                  <a:gd name="T26" fmla="*/ 79 w 661"/>
                  <a:gd name="T27" fmla="*/ 410 h 624"/>
                  <a:gd name="T28" fmla="*/ 0 w 661"/>
                  <a:gd name="T29" fmla="*/ 340 h 624"/>
                  <a:gd name="T30" fmla="*/ 70 w 661"/>
                  <a:gd name="T31" fmla="*/ 72 h 624"/>
                  <a:gd name="T32" fmla="*/ 342 w 661"/>
                  <a:gd name="T33" fmla="*/ 0 h 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1" h="624">
                    <a:moveTo>
                      <a:pt x="342" y="0"/>
                    </a:moveTo>
                    <a:lnTo>
                      <a:pt x="398" y="46"/>
                    </a:lnTo>
                    <a:lnTo>
                      <a:pt x="458" y="83"/>
                    </a:lnTo>
                    <a:lnTo>
                      <a:pt x="521" y="111"/>
                    </a:lnTo>
                    <a:lnTo>
                      <a:pt x="591" y="130"/>
                    </a:lnTo>
                    <a:lnTo>
                      <a:pt x="661" y="139"/>
                    </a:lnTo>
                    <a:lnTo>
                      <a:pt x="519" y="384"/>
                    </a:lnTo>
                    <a:lnTo>
                      <a:pt x="658" y="624"/>
                    </a:lnTo>
                    <a:lnTo>
                      <a:pt x="554" y="615"/>
                    </a:lnTo>
                    <a:lnTo>
                      <a:pt x="451" y="594"/>
                    </a:lnTo>
                    <a:lnTo>
                      <a:pt x="351" y="563"/>
                    </a:lnTo>
                    <a:lnTo>
                      <a:pt x="256" y="521"/>
                    </a:lnTo>
                    <a:lnTo>
                      <a:pt x="165" y="470"/>
                    </a:lnTo>
                    <a:lnTo>
                      <a:pt x="79" y="410"/>
                    </a:lnTo>
                    <a:lnTo>
                      <a:pt x="0" y="340"/>
                    </a:lnTo>
                    <a:lnTo>
                      <a:pt x="70" y="72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6" name="Freeform 36">
                <a:extLst>
                  <a:ext uri="{FF2B5EF4-FFF2-40B4-BE49-F238E27FC236}">
                    <a16:creationId xmlns:a16="http://schemas.microsoft.com/office/drawing/2014/main" id="{1A88E6FB-5E5B-462C-9CAC-A3050359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48311" y="3964520"/>
                <a:ext cx="778536" cy="729618"/>
              </a:xfrm>
              <a:custGeom>
                <a:avLst/>
                <a:gdLst>
                  <a:gd name="T0" fmla="*/ 2 w 663"/>
                  <a:gd name="T1" fmla="*/ 0 h 622"/>
                  <a:gd name="T2" fmla="*/ 109 w 663"/>
                  <a:gd name="T3" fmla="*/ 10 h 622"/>
                  <a:gd name="T4" fmla="*/ 212 w 663"/>
                  <a:gd name="T5" fmla="*/ 28 h 622"/>
                  <a:gd name="T6" fmla="*/ 312 w 663"/>
                  <a:gd name="T7" fmla="*/ 61 h 622"/>
                  <a:gd name="T8" fmla="*/ 407 w 663"/>
                  <a:gd name="T9" fmla="*/ 101 h 622"/>
                  <a:gd name="T10" fmla="*/ 498 w 663"/>
                  <a:gd name="T11" fmla="*/ 152 h 622"/>
                  <a:gd name="T12" fmla="*/ 584 w 663"/>
                  <a:gd name="T13" fmla="*/ 212 h 622"/>
                  <a:gd name="T14" fmla="*/ 663 w 663"/>
                  <a:gd name="T15" fmla="*/ 282 h 622"/>
                  <a:gd name="T16" fmla="*/ 593 w 663"/>
                  <a:gd name="T17" fmla="*/ 552 h 622"/>
                  <a:gd name="T18" fmla="*/ 321 w 663"/>
                  <a:gd name="T19" fmla="*/ 622 h 622"/>
                  <a:gd name="T20" fmla="*/ 265 w 663"/>
                  <a:gd name="T21" fmla="*/ 578 h 622"/>
                  <a:gd name="T22" fmla="*/ 205 w 663"/>
                  <a:gd name="T23" fmla="*/ 541 h 622"/>
                  <a:gd name="T24" fmla="*/ 139 w 663"/>
                  <a:gd name="T25" fmla="*/ 511 h 622"/>
                  <a:gd name="T26" fmla="*/ 72 w 663"/>
                  <a:gd name="T27" fmla="*/ 492 h 622"/>
                  <a:gd name="T28" fmla="*/ 0 w 663"/>
                  <a:gd name="T29" fmla="*/ 483 h 622"/>
                  <a:gd name="T30" fmla="*/ 144 w 663"/>
                  <a:gd name="T31" fmla="*/ 240 h 622"/>
                  <a:gd name="T32" fmla="*/ 2 w 663"/>
                  <a:gd name="T33" fmla="*/ 0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3" h="622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28"/>
                    </a:lnTo>
                    <a:lnTo>
                      <a:pt x="312" y="61"/>
                    </a:lnTo>
                    <a:lnTo>
                      <a:pt x="407" y="101"/>
                    </a:lnTo>
                    <a:lnTo>
                      <a:pt x="498" y="152"/>
                    </a:lnTo>
                    <a:lnTo>
                      <a:pt x="584" y="212"/>
                    </a:lnTo>
                    <a:lnTo>
                      <a:pt x="663" y="282"/>
                    </a:lnTo>
                    <a:lnTo>
                      <a:pt x="593" y="552"/>
                    </a:lnTo>
                    <a:lnTo>
                      <a:pt x="321" y="622"/>
                    </a:lnTo>
                    <a:lnTo>
                      <a:pt x="265" y="578"/>
                    </a:lnTo>
                    <a:lnTo>
                      <a:pt x="205" y="541"/>
                    </a:lnTo>
                    <a:lnTo>
                      <a:pt x="139" y="511"/>
                    </a:lnTo>
                    <a:lnTo>
                      <a:pt x="72" y="492"/>
                    </a:lnTo>
                    <a:lnTo>
                      <a:pt x="0" y="483"/>
                    </a:lnTo>
                    <a:lnTo>
                      <a:pt x="144" y="24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Freeform 37">
                <a:extLst>
                  <a:ext uri="{FF2B5EF4-FFF2-40B4-BE49-F238E27FC236}">
                    <a16:creationId xmlns:a16="http://schemas.microsoft.com/office/drawing/2014/main" id="{B98D049D-C193-4E4F-8F9E-D821721C25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47560" y="5170383"/>
                <a:ext cx="729217" cy="775366"/>
              </a:xfrm>
              <a:custGeom>
                <a:avLst/>
                <a:gdLst>
                  <a:gd name="T0" fmla="*/ 139 w 621"/>
                  <a:gd name="T1" fmla="*/ 0 h 661"/>
                  <a:gd name="T2" fmla="*/ 381 w 621"/>
                  <a:gd name="T3" fmla="*/ 142 h 661"/>
                  <a:gd name="T4" fmla="*/ 621 w 621"/>
                  <a:gd name="T5" fmla="*/ 2 h 661"/>
                  <a:gd name="T6" fmla="*/ 612 w 621"/>
                  <a:gd name="T7" fmla="*/ 107 h 661"/>
                  <a:gd name="T8" fmla="*/ 593 w 621"/>
                  <a:gd name="T9" fmla="*/ 209 h 661"/>
                  <a:gd name="T10" fmla="*/ 561 w 621"/>
                  <a:gd name="T11" fmla="*/ 310 h 661"/>
                  <a:gd name="T12" fmla="*/ 521 w 621"/>
                  <a:gd name="T13" fmla="*/ 405 h 661"/>
                  <a:gd name="T14" fmla="*/ 470 w 621"/>
                  <a:gd name="T15" fmla="*/ 496 h 661"/>
                  <a:gd name="T16" fmla="*/ 409 w 621"/>
                  <a:gd name="T17" fmla="*/ 582 h 661"/>
                  <a:gd name="T18" fmla="*/ 339 w 621"/>
                  <a:gd name="T19" fmla="*/ 661 h 661"/>
                  <a:gd name="T20" fmla="*/ 69 w 621"/>
                  <a:gd name="T21" fmla="*/ 592 h 661"/>
                  <a:gd name="T22" fmla="*/ 0 w 621"/>
                  <a:gd name="T23" fmla="*/ 319 h 661"/>
                  <a:gd name="T24" fmla="*/ 44 w 621"/>
                  <a:gd name="T25" fmla="*/ 263 h 661"/>
                  <a:gd name="T26" fmla="*/ 81 w 621"/>
                  <a:gd name="T27" fmla="*/ 202 h 661"/>
                  <a:gd name="T28" fmla="*/ 111 w 621"/>
                  <a:gd name="T29" fmla="*/ 140 h 661"/>
                  <a:gd name="T30" fmla="*/ 130 w 621"/>
                  <a:gd name="T31" fmla="*/ 70 h 661"/>
                  <a:gd name="T32" fmla="*/ 139 w 621"/>
                  <a:gd name="T33" fmla="*/ 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1" h="661">
                    <a:moveTo>
                      <a:pt x="139" y="0"/>
                    </a:moveTo>
                    <a:lnTo>
                      <a:pt x="381" y="142"/>
                    </a:lnTo>
                    <a:lnTo>
                      <a:pt x="621" y="2"/>
                    </a:lnTo>
                    <a:lnTo>
                      <a:pt x="612" y="107"/>
                    </a:lnTo>
                    <a:lnTo>
                      <a:pt x="593" y="209"/>
                    </a:lnTo>
                    <a:lnTo>
                      <a:pt x="561" y="310"/>
                    </a:lnTo>
                    <a:lnTo>
                      <a:pt x="521" y="405"/>
                    </a:lnTo>
                    <a:lnTo>
                      <a:pt x="470" y="496"/>
                    </a:lnTo>
                    <a:lnTo>
                      <a:pt x="409" y="582"/>
                    </a:lnTo>
                    <a:lnTo>
                      <a:pt x="339" y="661"/>
                    </a:lnTo>
                    <a:lnTo>
                      <a:pt x="69" y="592"/>
                    </a:lnTo>
                    <a:lnTo>
                      <a:pt x="0" y="319"/>
                    </a:lnTo>
                    <a:lnTo>
                      <a:pt x="44" y="263"/>
                    </a:lnTo>
                    <a:lnTo>
                      <a:pt x="81" y="202"/>
                    </a:lnTo>
                    <a:lnTo>
                      <a:pt x="111" y="140"/>
                    </a:lnTo>
                    <a:lnTo>
                      <a:pt x="130" y="7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" name="Freeform 38">
                <a:extLst>
                  <a:ext uri="{FF2B5EF4-FFF2-40B4-BE49-F238E27FC236}">
                    <a16:creationId xmlns:a16="http://schemas.microsoft.com/office/drawing/2014/main" id="{A078C6C6-0154-4116-8AA2-8FE0B91EAD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759256" y="5583286"/>
                <a:ext cx="946455" cy="715541"/>
              </a:xfrm>
              <a:custGeom>
                <a:avLst/>
                <a:gdLst>
                  <a:gd name="T0" fmla="*/ 468 w 806"/>
                  <a:gd name="T1" fmla="*/ 0 h 610"/>
                  <a:gd name="T2" fmla="*/ 538 w 806"/>
                  <a:gd name="T3" fmla="*/ 272 h 610"/>
                  <a:gd name="T4" fmla="*/ 806 w 806"/>
                  <a:gd name="T5" fmla="*/ 342 h 610"/>
                  <a:gd name="T6" fmla="*/ 726 w 806"/>
                  <a:gd name="T7" fmla="*/ 410 h 610"/>
                  <a:gd name="T8" fmla="*/ 638 w 806"/>
                  <a:gd name="T9" fmla="*/ 470 h 610"/>
                  <a:gd name="T10" fmla="*/ 547 w 806"/>
                  <a:gd name="T11" fmla="*/ 519 h 610"/>
                  <a:gd name="T12" fmla="*/ 449 w 806"/>
                  <a:gd name="T13" fmla="*/ 556 h 610"/>
                  <a:gd name="T14" fmla="*/ 349 w 806"/>
                  <a:gd name="T15" fmla="*/ 584 h 610"/>
                  <a:gd name="T16" fmla="*/ 247 w 806"/>
                  <a:gd name="T17" fmla="*/ 603 h 610"/>
                  <a:gd name="T18" fmla="*/ 140 w 806"/>
                  <a:gd name="T19" fmla="*/ 610 h 610"/>
                  <a:gd name="T20" fmla="*/ 0 w 806"/>
                  <a:gd name="T21" fmla="*/ 370 h 610"/>
                  <a:gd name="T22" fmla="*/ 142 w 806"/>
                  <a:gd name="T23" fmla="*/ 128 h 610"/>
                  <a:gd name="T24" fmla="*/ 214 w 806"/>
                  <a:gd name="T25" fmla="*/ 121 h 610"/>
                  <a:gd name="T26" fmla="*/ 282 w 806"/>
                  <a:gd name="T27" fmla="*/ 104 h 610"/>
                  <a:gd name="T28" fmla="*/ 349 w 806"/>
                  <a:gd name="T29" fmla="*/ 79 h 610"/>
                  <a:gd name="T30" fmla="*/ 410 w 806"/>
                  <a:gd name="T31" fmla="*/ 44 h 610"/>
                  <a:gd name="T32" fmla="*/ 468 w 806"/>
                  <a:gd name="T33" fmla="*/ 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6" h="610">
                    <a:moveTo>
                      <a:pt x="468" y="0"/>
                    </a:moveTo>
                    <a:lnTo>
                      <a:pt x="538" y="272"/>
                    </a:lnTo>
                    <a:lnTo>
                      <a:pt x="806" y="342"/>
                    </a:lnTo>
                    <a:lnTo>
                      <a:pt x="726" y="410"/>
                    </a:lnTo>
                    <a:lnTo>
                      <a:pt x="638" y="470"/>
                    </a:lnTo>
                    <a:lnTo>
                      <a:pt x="547" y="519"/>
                    </a:lnTo>
                    <a:lnTo>
                      <a:pt x="449" y="556"/>
                    </a:lnTo>
                    <a:lnTo>
                      <a:pt x="349" y="584"/>
                    </a:lnTo>
                    <a:lnTo>
                      <a:pt x="247" y="603"/>
                    </a:lnTo>
                    <a:lnTo>
                      <a:pt x="140" y="610"/>
                    </a:lnTo>
                    <a:lnTo>
                      <a:pt x="0" y="370"/>
                    </a:lnTo>
                    <a:lnTo>
                      <a:pt x="142" y="128"/>
                    </a:lnTo>
                    <a:lnTo>
                      <a:pt x="214" y="121"/>
                    </a:lnTo>
                    <a:lnTo>
                      <a:pt x="282" y="104"/>
                    </a:lnTo>
                    <a:lnTo>
                      <a:pt x="349" y="79"/>
                    </a:lnTo>
                    <a:lnTo>
                      <a:pt x="410" y="44"/>
                    </a:lnTo>
                    <a:lnTo>
                      <a:pt x="468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9" name="Freeform 39">
                <a:extLst>
                  <a:ext uri="{FF2B5EF4-FFF2-40B4-BE49-F238E27FC236}">
                    <a16:creationId xmlns:a16="http://schemas.microsoft.com/office/drawing/2014/main" id="{39E79F22-DA0C-424E-8E4F-4AADD3BB97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60477" y="4336367"/>
                <a:ext cx="716300" cy="945453"/>
              </a:xfrm>
              <a:custGeom>
                <a:avLst/>
                <a:gdLst>
                  <a:gd name="T0" fmla="*/ 345 w 610"/>
                  <a:gd name="T1" fmla="*/ 0 h 806"/>
                  <a:gd name="T2" fmla="*/ 412 w 610"/>
                  <a:gd name="T3" fmla="*/ 79 h 806"/>
                  <a:gd name="T4" fmla="*/ 470 w 610"/>
                  <a:gd name="T5" fmla="*/ 168 h 806"/>
                  <a:gd name="T6" fmla="*/ 519 w 610"/>
                  <a:gd name="T7" fmla="*/ 259 h 806"/>
                  <a:gd name="T8" fmla="*/ 559 w 610"/>
                  <a:gd name="T9" fmla="*/ 357 h 806"/>
                  <a:gd name="T10" fmla="*/ 587 w 610"/>
                  <a:gd name="T11" fmla="*/ 457 h 806"/>
                  <a:gd name="T12" fmla="*/ 603 w 610"/>
                  <a:gd name="T13" fmla="*/ 559 h 806"/>
                  <a:gd name="T14" fmla="*/ 610 w 610"/>
                  <a:gd name="T15" fmla="*/ 667 h 806"/>
                  <a:gd name="T16" fmla="*/ 370 w 610"/>
                  <a:gd name="T17" fmla="*/ 806 h 806"/>
                  <a:gd name="T18" fmla="*/ 128 w 610"/>
                  <a:gd name="T19" fmla="*/ 664 h 806"/>
                  <a:gd name="T20" fmla="*/ 121 w 610"/>
                  <a:gd name="T21" fmla="*/ 592 h 806"/>
                  <a:gd name="T22" fmla="*/ 105 w 610"/>
                  <a:gd name="T23" fmla="*/ 524 h 806"/>
                  <a:gd name="T24" fmla="*/ 79 w 610"/>
                  <a:gd name="T25" fmla="*/ 457 h 806"/>
                  <a:gd name="T26" fmla="*/ 44 w 610"/>
                  <a:gd name="T27" fmla="*/ 396 h 806"/>
                  <a:gd name="T28" fmla="*/ 0 w 610"/>
                  <a:gd name="T29" fmla="*/ 338 h 806"/>
                  <a:gd name="T30" fmla="*/ 275 w 610"/>
                  <a:gd name="T31" fmla="*/ 268 h 806"/>
                  <a:gd name="T32" fmla="*/ 345 w 610"/>
                  <a:gd name="T33" fmla="*/ 0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10" h="806">
                    <a:moveTo>
                      <a:pt x="345" y="0"/>
                    </a:moveTo>
                    <a:lnTo>
                      <a:pt x="412" y="79"/>
                    </a:lnTo>
                    <a:lnTo>
                      <a:pt x="470" y="168"/>
                    </a:lnTo>
                    <a:lnTo>
                      <a:pt x="519" y="259"/>
                    </a:lnTo>
                    <a:lnTo>
                      <a:pt x="559" y="357"/>
                    </a:lnTo>
                    <a:lnTo>
                      <a:pt x="587" y="457"/>
                    </a:lnTo>
                    <a:lnTo>
                      <a:pt x="603" y="559"/>
                    </a:lnTo>
                    <a:lnTo>
                      <a:pt x="610" y="667"/>
                    </a:lnTo>
                    <a:lnTo>
                      <a:pt x="370" y="806"/>
                    </a:lnTo>
                    <a:lnTo>
                      <a:pt x="128" y="664"/>
                    </a:lnTo>
                    <a:lnTo>
                      <a:pt x="121" y="592"/>
                    </a:lnTo>
                    <a:lnTo>
                      <a:pt x="105" y="524"/>
                    </a:lnTo>
                    <a:lnTo>
                      <a:pt x="79" y="457"/>
                    </a:lnTo>
                    <a:lnTo>
                      <a:pt x="44" y="396"/>
                    </a:lnTo>
                    <a:lnTo>
                      <a:pt x="0" y="338"/>
                    </a:lnTo>
                    <a:lnTo>
                      <a:pt x="275" y="268"/>
                    </a:lnTo>
                    <a:lnTo>
                      <a:pt x="345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0" name="Freeform 40">
                <a:extLst>
                  <a:ext uri="{FF2B5EF4-FFF2-40B4-BE49-F238E27FC236}">
                    <a16:creationId xmlns:a16="http://schemas.microsoft.com/office/drawing/2014/main" id="{0AB9F59A-7174-4B5D-B0AC-60FC60685B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979181"/>
                <a:ext cx="715126" cy="947799"/>
              </a:xfrm>
              <a:custGeom>
                <a:avLst/>
                <a:gdLst>
                  <a:gd name="T0" fmla="*/ 239 w 609"/>
                  <a:gd name="T1" fmla="*/ 0 h 808"/>
                  <a:gd name="T2" fmla="*/ 481 w 609"/>
                  <a:gd name="T3" fmla="*/ 142 h 808"/>
                  <a:gd name="T4" fmla="*/ 488 w 609"/>
                  <a:gd name="T5" fmla="*/ 214 h 808"/>
                  <a:gd name="T6" fmla="*/ 505 w 609"/>
                  <a:gd name="T7" fmla="*/ 284 h 808"/>
                  <a:gd name="T8" fmla="*/ 530 w 609"/>
                  <a:gd name="T9" fmla="*/ 349 h 808"/>
                  <a:gd name="T10" fmla="*/ 565 w 609"/>
                  <a:gd name="T11" fmla="*/ 412 h 808"/>
                  <a:gd name="T12" fmla="*/ 609 w 609"/>
                  <a:gd name="T13" fmla="*/ 468 h 808"/>
                  <a:gd name="T14" fmla="*/ 337 w 609"/>
                  <a:gd name="T15" fmla="*/ 540 h 808"/>
                  <a:gd name="T16" fmla="*/ 267 w 609"/>
                  <a:gd name="T17" fmla="*/ 808 h 808"/>
                  <a:gd name="T18" fmla="*/ 200 w 609"/>
                  <a:gd name="T19" fmla="*/ 727 h 808"/>
                  <a:gd name="T20" fmla="*/ 139 w 609"/>
                  <a:gd name="T21" fmla="*/ 640 h 808"/>
                  <a:gd name="T22" fmla="*/ 90 w 609"/>
                  <a:gd name="T23" fmla="*/ 547 h 808"/>
                  <a:gd name="T24" fmla="*/ 53 w 609"/>
                  <a:gd name="T25" fmla="*/ 452 h 808"/>
                  <a:gd name="T26" fmla="*/ 25 w 609"/>
                  <a:gd name="T27" fmla="*/ 351 h 808"/>
                  <a:gd name="T28" fmla="*/ 7 w 609"/>
                  <a:gd name="T29" fmla="*/ 247 h 808"/>
                  <a:gd name="T30" fmla="*/ 0 w 609"/>
                  <a:gd name="T31" fmla="*/ 142 h 808"/>
                  <a:gd name="T32" fmla="*/ 239 w 609"/>
                  <a:gd name="T33" fmla="*/ 0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9" h="808">
                    <a:moveTo>
                      <a:pt x="239" y="0"/>
                    </a:moveTo>
                    <a:lnTo>
                      <a:pt x="481" y="142"/>
                    </a:lnTo>
                    <a:lnTo>
                      <a:pt x="488" y="214"/>
                    </a:lnTo>
                    <a:lnTo>
                      <a:pt x="505" y="284"/>
                    </a:lnTo>
                    <a:lnTo>
                      <a:pt x="530" y="349"/>
                    </a:lnTo>
                    <a:lnTo>
                      <a:pt x="565" y="412"/>
                    </a:lnTo>
                    <a:lnTo>
                      <a:pt x="609" y="468"/>
                    </a:lnTo>
                    <a:lnTo>
                      <a:pt x="337" y="540"/>
                    </a:lnTo>
                    <a:lnTo>
                      <a:pt x="267" y="808"/>
                    </a:lnTo>
                    <a:lnTo>
                      <a:pt x="200" y="727"/>
                    </a:lnTo>
                    <a:lnTo>
                      <a:pt x="139" y="640"/>
                    </a:lnTo>
                    <a:lnTo>
                      <a:pt x="90" y="547"/>
                    </a:lnTo>
                    <a:lnTo>
                      <a:pt x="53" y="452"/>
                    </a:lnTo>
                    <a:lnTo>
                      <a:pt x="25" y="351"/>
                    </a:lnTo>
                    <a:lnTo>
                      <a:pt x="7" y="247"/>
                    </a:lnTo>
                    <a:lnTo>
                      <a:pt x="0" y="142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1" name="Freeform 41">
                <a:extLst>
                  <a:ext uri="{FF2B5EF4-FFF2-40B4-BE49-F238E27FC236}">
                    <a16:creationId xmlns:a16="http://schemas.microsoft.com/office/drawing/2014/main" id="{63D81699-E92A-4711-8237-193BAC9A11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14586" y="3964520"/>
                <a:ext cx="948803" cy="716715"/>
              </a:xfrm>
              <a:custGeom>
                <a:avLst/>
                <a:gdLst>
                  <a:gd name="T0" fmla="*/ 666 w 808"/>
                  <a:gd name="T1" fmla="*/ 0 h 611"/>
                  <a:gd name="T2" fmla="*/ 808 w 808"/>
                  <a:gd name="T3" fmla="*/ 240 h 611"/>
                  <a:gd name="T4" fmla="*/ 666 w 808"/>
                  <a:gd name="T5" fmla="*/ 483 h 611"/>
                  <a:gd name="T6" fmla="*/ 593 w 808"/>
                  <a:gd name="T7" fmla="*/ 490 h 611"/>
                  <a:gd name="T8" fmla="*/ 524 w 808"/>
                  <a:gd name="T9" fmla="*/ 506 h 611"/>
                  <a:gd name="T10" fmla="*/ 459 w 808"/>
                  <a:gd name="T11" fmla="*/ 532 h 611"/>
                  <a:gd name="T12" fmla="*/ 396 w 808"/>
                  <a:gd name="T13" fmla="*/ 566 h 611"/>
                  <a:gd name="T14" fmla="*/ 340 w 808"/>
                  <a:gd name="T15" fmla="*/ 611 h 611"/>
                  <a:gd name="T16" fmla="*/ 268 w 808"/>
                  <a:gd name="T17" fmla="*/ 336 h 611"/>
                  <a:gd name="T18" fmla="*/ 0 w 808"/>
                  <a:gd name="T19" fmla="*/ 266 h 611"/>
                  <a:gd name="T20" fmla="*/ 81 w 808"/>
                  <a:gd name="T21" fmla="*/ 198 h 611"/>
                  <a:gd name="T22" fmla="*/ 168 w 808"/>
                  <a:gd name="T23" fmla="*/ 140 h 611"/>
                  <a:gd name="T24" fmla="*/ 261 w 808"/>
                  <a:gd name="T25" fmla="*/ 91 h 611"/>
                  <a:gd name="T26" fmla="*/ 356 w 808"/>
                  <a:gd name="T27" fmla="*/ 52 h 611"/>
                  <a:gd name="T28" fmla="*/ 456 w 808"/>
                  <a:gd name="T29" fmla="*/ 24 h 611"/>
                  <a:gd name="T30" fmla="*/ 561 w 808"/>
                  <a:gd name="T31" fmla="*/ 7 h 611"/>
                  <a:gd name="T32" fmla="*/ 666 w 808"/>
                  <a:gd name="T33" fmla="*/ 0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8" h="611">
                    <a:moveTo>
                      <a:pt x="666" y="0"/>
                    </a:moveTo>
                    <a:lnTo>
                      <a:pt x="808" y="240"/>
                    </a:lnTo>
                    <a:lnTo>
                      <a:pt x="666" y="483"/>
                    </a:lnTo>
                    <a:lnTo>
                      <a:pt x="593" y="490"/>
                    </a:lnTo>
                    <a:lnTo>
                      <a:pt x="524" y="506"/>
                    </a:lnTo>
                    <a:lnTo>
                      <a:pt x="459" y="532"/>
                    </a:lnTo>
                    <a:lnTo>
                      <a:pt x="396" y="566"/>
                    </a:lnTo>
                    <a:lnTo>
                      <a:pt x="340" y="611"/>
                    </a:lnTo>
                    <a:lnTo>
                      <a:pt x="268" y="336"/>
                    </a:lnTo>
                    <a:lnTo>
                      <a:pt x="0" y="266"/>
                    </a:lnTo>
                    <a:lnTo>
                      <a:pt x="81" y="198"/>
                    </a:lnTo>
                    <a:lnTo>
                      <a:pt x="168" y="140"/>
                    </a:lnTo>
                    <a:lnTo>
                      <a:pt x="261" y="91"/>
                    </a:lnTo>
                    <a:lnTo>
                      <a:pt x="356" y="52"/>
                    </a:lnTo>
                    <a:lnTo>
                      <a:pt x="456" y="24"/>
                    </a:lnTo>
                    <a:lnTo>
                      <a:pt x="561" y="7"/>
                    </a:lnTo>
                    <a:lnTo>
                      <a:pt x="666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2" name="Freeform 42">
                <a:extLst>
                  <a:ext uri="{FF2B5EF4-FFF2-40B4-BE49-F238E27FC236}">
                    <a16:creationId xmlns:a16="http://schemas.microsoft.com/office/drawing/2014/main" id="{231D8944-78E3-48F1-8270-6A331A21EB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315253"/>
                <a:ext cx="731565" cy="778884"/>
              </a:xfrm>
              <a:custGeom>
                <a:avLst/>
                <a:gdLst>
                  <a:gd name="T0" fmla="*/ 283 w 623"/>
                  <a:gd name="T1" fmla="*/ 0 h 664"/>
                  <a:gd name="T2" fmla="*/ 551 w 623"/>
                  <a:gd name="T3" fmla="*/ 69 h 664"/>
                  <a:gd name="T4" fmla="*/ 623 w 623"/>
                  <a:gd name="T5" fmla="*/ 342 h 664"/>
                  <a:gd name="T6" fmla="*/ 577 w 623"/>
                  <a:gd name="T7" fmla="*/ 398 h 664"/>
                  <a:gd name="T8" fmla="*/ 539 w 623"/>
                  <a:gd name="T9" fmla="*/ 459 h 664"/>
                  <a:gd name="T10" fmla="*/ 512 w 623"/>
                  <a:gd name="T11" fmla="*/ 524 h 664"/>
                  <a:gd name="T12" fmla="*/ 493 w 623"/>
                  <a:gd name="T13" fmla="*/ 591 h 664"/>
                  <a:gd name="T14" fmla="*/ 484 w 623"/>
                  <a:gd name="T15" fmla="*/ 664 h 664"/>
                  <a:gd name="T16" fmla="*/ 239 w 623"/>
                  <a:gd name="T17" fmla="*/ 519 h 664"/>
                  <a:gd name="T18" fmla="*/ 0 w 623"/>
                  <a:gd name="T19" fmla="*/ 661 h 664"/>
                  <a:gd name="T20" fmla="*/ 9 w 623"/>
                  <a:gd name="T21" fmla="*/ 554 h 664"/>
                  <a:gd name="T22" fmla="*/ 30 w 623"/>
                  <a:gd name="T23" fmla="*/ 452 h 664"/>
                  <a:gd name="T24" fmla="*/ 60 w 623"/>
                  <a:gd name="T25" fmla="*/ 351 h 664"/>
                  <a:gd name="T26" fmla="*/ 102 w 623"/>
                  <a:gd name="T27" fmla="*/ 256 h 664"/>
                  <a:gd name="T28" fmla="*/ 153 w 623"/>
                  <a:gd name="T29" fmla="*/ 165 h 664"/>
                  <a:gd name="T30" fmla="*/ 214 w 623"/>
                  <a:gd name="T31" fmla="*/ 79 h 664"/>
                  <a:gd name="T32" fmla="*/ 283 w 623"/>
                  <a:gd name="T33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3" h="664">
                    <a:moveTo>
                      <a:pt x="283" y="0"/>
                    </a:moveTo>
                    <a:lnTo>
                      <a:pt x="551" y="69"/>
                    </a:lnTo>
                    <a:lnTo>
                      <a:pt x="623" y="342"/>
                    </a:lnTo>
                    <a:lnTo>
                      <a:pt x="577" y="398"/>
                    </a:lnTo>
                    <a:lnTo>
                      <a:pt x="539" y="459"/>
                    </a:lnTo>
                    <a:lnTo>
                      <a:pt x="512" y="524"/>
                    </a:lnTo>
                    <a:lnTo>
                      <a:pt x="493" y="591"/>
                    </a:lnTo>
                    <a:lnTo>
                      <a:pt x="484" y="664"/>
                    </a:lnTo>
                    <a:lnTo>
                      <a:pt x="239" y="519"/>
                    </a:lnTo>
                    <a:lnTo>
                      <a:pt x="0" y="661"/>
                    </a:lnTo>
                    <a:lnTo>
                      <a:pt x="9" y="554"/>
                    </a:lnTo>
                    <a:lnTo>
                      <a:pt x="30" y="452"/>
                    </a:lnTo>
                    <a:lnTo>
                      <a:pt x="60" y="351"/>
                    </a:lnTo>
                    <a:lnTo>
                      <a:pt x="102" y="256"/>
                    </a:lnTo>
                    <a:lnTo>
                      <a:pt x="153" y="165"/>
                    </a:lnTo>
                    <a:lnTo>
                      <a:pt x="214" y="79"/>
                    </a:lnTo>
                    <a:lnTo>
                      <a:pt x="283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7" name="TextBox 75">
              <a:extLst>
                <a:ext uri="{FF2B5EF4-FFF2-40B4-BE49-F238E27FC236}">
                  <a16:creationId xmlns:a16="http://schemas.microsoft.com/office/drawing/2014/main" id="{19C5A113-447F-4C1F-A400-DCC786AA140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440755" y="4900840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8</a:t>
              </a: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A5E7C42-BEC0-444E-8D72-40B107AAA6AF}"/>
              </a:ext>
            </a:extLst>
          </p:cNvPr>
          <p:cNvGrpSpPr/>
          <p:nvPr/>
        </p:nvGrpSpPr>
        <p:grpSpPr bwMode="gray">
          <a:xfrm>
            <a:off x="4861500" y="3974418"/>
            <a:ext cx="2333258" cy="2334307"/>
            <a:chOff x="4861500" y="3974418"/>
            <a:chExt cx="2333258" cy="2334307"/>
          </a:xfrm>
          <a:solidFill>
            <a:srgbClr val="E4E4E4"/>
          </a:solidFill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78B076F-8793-4F4C-87CA-F3E17B38974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861500" y="3974418"/>
              <a:ext cx="2333258" cy="2334307"/>
              <a:chOff x="4861500" y="3974418"/>
              <a:chExt cx="2333258" cy="2334307"/>
            </a:xfrm>
            <a:grpFill/>
          </p:grpSpPr>
          <p:sp>
            <p:nvSpPr>
              <p:cNvPr id="28" name="Freeform 28">
                <a:extLst>
                  <a:ext uri="{FF2B5EF4-FFF2-40B4-BE49-F238E27FC236}">
                    <a16:creationId xmlns:a16="http://schemas.microsoft.com/office/drawing/2014/main" id="{16DD1F36-BBF0-4F25-9D5B-381B1BB38C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6292" y="3974418"/>
                <a:ext cx="866605" cy="778884"/>
              </a:xfrm>
              <a:custGeom>
                <a:avLst/>
                <a:gdLst>
                  <a:gd name="T0" fmla="*/ 2 w 738"/>
                  <a:gd name="T1" fmla="*/ 0 h 664"/>
                  <a:gd name="T2" fmla="*/ 109 w 738"/>
                  <a:gd name="T3" fmla="*/ 10 h 664"/>
                  <a:gd name="T4" fmla="*/ 212 w 738"/>
                  <a:gd name="T5" fmla="*/ 31 h 664"/>
                  <a:gd name="T6" fmla="*/ 312 w 738"/>
                  <a:gd name="T7" fmla="*/ 61 h 664"/>
                  <a:gd name="T8" fmla="*/ 410 w 738"/>
                  <a:gd name="T9" fmla="*/ 103 h 664"/>
                  <a:gd name="T10" fmla="*/ 500 w 738"/>
                  <a:gd name="T11" fmla="*/ 154 h 664"/>
                  <a:gd name="T12" fmla="*/ 586 w 738"/>
                  <a:gd name="T13" fmla="*/ 215 h 664"/>
                  <a:gd name="T14" fmla="*/ 666 w 738"/>
                  <a:gd name="T15" fmla="*/ 285 h 664"/>
                  <a:gd name="T16" fmla="*/ 738 w 738"/>
                  <a:gd name="T17" fmla="*/ 366 h 664"/>
                  <a:gd name="T18" fmla="*/ 638 w 738"/>
                  <a:gd name="T19" fmla="*/ 625 h 664"/>
                  <a:gd name="T20" fmla="*/ 358 w 738"/>
                  <a:gd name="T21" fmla="*/ 664 h 664"/>
                  <a:gd name="T22" fmla="*/ 309 w 738"/>
                  <a:gd name="T23" fmla="*/ 615 h 664"/>
                  <a:gd name="T24" fmla="*/ 256 w 738"/>
                  <a:gd name="T25" fmla="*/ 571 h 664"/>
                  <a:gd name="T26" fmla="*/ 198 w 738"/>
                  <a:gd name="T27" fmla="*/ 536 h 664"/>
                  <a:gd name="T28" fmla="*/ 135 w 738"/>
                  <a:gd name="T29" fmla="*/ 511 h 664"/>
                  <a:gd name="T30" fmla="*/ 67 w 738"/>
                  <a:gd name="T31" fmla="*/ 492 h 664"/>
                  <a:gd name="T32" fmla="*/ 0 w 738"/>
                  <a:gd name="T33" fmla="*/ 483 h 664"/>
                  <a:gd name="T34" fmla="*/ 142 w 738"/>
                  <a:gd name="T35" fmla="*/ 238 h 664"/>
                  <a:gd name="T36" fmla="*/ 2 w 738"/>
                  <a:gd name="T37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38" h="664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31"/>
                    </a:lnTo>
                    <a:lnTo>
                      <a:pt x="312" y="61"/>
                    </a:lnTo>
                    <a:lnTo>
                      <a:pt x="410" y="103"/>
                    </a:lnTo>
                    <a:lnTo>
                      <a:pt x="500" y="154"/>
                    </a:lnTo>
                    <a:lnTo>
                      <a:pt x="586" y="215"/>
                    </a:lnTo>
                    <a:lnTo>
                      <a:pt x="666" y="285"/>
                    </a:lnTo>
                    <a:lnTo>
                      <a:pt x="738" y="366"/>
                    </a:lnTo>
                    <a:lnTo>
                      <a:pt x="638" y="625"/>
                    </a:lnTo>
                    <a:lnTo>
                      <a:pt x="358" y="664"/>
                    </a:lnTo>
                    <a:lnTo>
                      <a:pt x="309" y="615"/>
                    </a:lnTo>
                    <a:lnTo>
                      <a:pt x="256" y="571"/>
                    </a:lnTo>
                    <a:lnTo>
                      <a:pt x="198" y="536"/>
                    </a:lnTo>
                    <a:lnTo>
                      <a:pt x="135" y="511"/>
                    </a:lnTo>
                    <a:lnTo>
                      <a:pt x="67" y="492"/>
                    </a:lnTo>
                    <a:lnTo>
                      <a:pt x="0" y="483"/>
                    </a:lnTo>
                    <a:lnTo>
                      <a:pt x="142" y="23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9" name="Freeform 29">
                <a:extLst>
                  <a:ext uri="{FF2B5EF4-FFF2-40B4-BE49-F238E27FC236}">
                    <a16:creationId xmlns:a16="http://schemas.microsoft.com/office/drawing/2014/main" id="{C36617A6-7AD6-4885-8426-0DCF4146E9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19557" y="4444799"/>
                <a:ext cx="675201" cy="1041640"/>
              </a:xfrm>
              <a:custGeom>
                <a:avLst/>
                <a:gdLst>
                  <a:gd name="T0" fmla="*/ 380 w 575"/>
                  <a:gd name="T1" fmla="*/ 0 h 888"/>
                  <a:gd name="T2" fmla="*/ 438 w 575"/>
                  <a:gd name="T3" fmla="*/ 89 h 888"/>
                  <a:gd name="T4" fmla="*/ 487 w 575"/>
                  <a:gd name="T5" fmla="*/ 182 h 888"/>
                  <a:gd name="T6" fmla="*/ 526 w 575"/>
                  <a:gd name="T7" fmla="*/ 280 h 888"/>
                  <a:gd name="T8" fmla="*/ 552 w 575"/>
                  <a:gd name="T9" fmla="*/ 382 h 888"/>
                  <a:gd name="T10" fmla="*/ 570 w 575"/>
                  <a:gd name="T11" fmla="*/ 487 h 888"/>
                  <a:gd name="T12" fmla="*/ 575 w 575"/>
                  <a:gd name="T13" fmla="*/ 594 h 888"/>
                  <a:gd name="T14" fmla="*/ 570 w 575"/>
                  <a:gd name="T15" fmla="*/ 699 h 888"/>
                  <a:gd name="T16" fmla="*/ 552 w 575"/>
                  <a:gd name="T17" fmla="*/ 804 h 888"/>
                  <a:gd name="T18" fmla="*/ 289 w 575"/>
                  <a:gd name="T19" fmla="*/ 888 h 888"/>
                  <a:gd name="T20" fmla="*/ 84 w 575"/>
                  <a:gd name="T21" fmla="*/ 694 h 888"/>
                  <a:gd name="T22" fmla="*/ 91 w 575"/>
                  <a:gd name="T23" fmla="*/ 645 h 888"/>
                  <a:gd name="T24" fmla="*/ 93 w 575"/>
                  <a:gd name="T25" fmla="*/ 594 h 888"/>
                  <a:gd name="T26" fmla="*/ 86 w 575"/>
                  <a:gd name="T27" fmla="*/ 515 h 888"/>
                  <a:gd name="T28" fmla="*/ 70 w 575"/>
                  <a:gd name="T29" fmla="*/ 440 h 888"/>
                  <a:gd name="T30" fmla="*/ 40 w 575"/>
                  <a:gd name="T31" fmla="*/ 368 h 888"/>
                  <a:gd name="T32" fmla="*/ 0 w 575"/>
                  <a:gd name="T33" fmla="*/ 301 h 888"/>
                  <a:gd name="T34" fmla="*/ 280 w 575"/>
                  <a:gd name="T35" fmla="*/ 259 h 888"/>
                  <a:gd name="T36" fmla="*/ 380 w 575"/>
                  <a:gd name="T37" fmla="*/ 0 h 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5" h="888">
                    <a:moveTo>
                      <a:pt x="380" y="0"/>
                    </a:moveTo>
                    <a:lnTo>
                      <a:pt x="438" y="89"/>
                    </a:lnTo>
                    <a:lnTo>
                      <a:pt x="487" y="182"/>
                    </a:lnTo>
                    <a:lnTo>
                      <a:pt x="526" y="280"/>
                    </a:lnTo>
                    <a:lnTo>
                      <a:pt x="552" y="382"/>
                    </a:lnTo>
                    <a:lnTo>
                      <a:pt x="570" y="487"/>
                    </a:lnTo>
                    <a:lnTo>
                      <a:pt x="575" y="594"/>
                    </a:lnTo>
                    <a:lnTo>
                      <a:pt x="570" y="699"/>
                    </a:lnTo>
                    <a:lnTo>
                      <a:pt x="552" y="804"/>
                    </a:lnTo>
                    <a:lnTo>
                      <a:pt x="289" y="888"/>
                    </a:lnTo>
                    <a:lnTo>
                      <a:pt x="84" y="694"/>
                    </a:lnTo>
                    <a:lnTo>
                      <a:pt x="91" y="645"/>
                    </a:lnTo>
                    <a:lnTo>
                      <a:pt x="93" y="594"/>
                    </a:lnTo>
                    <a:lnTo>
                      <a:pt x="86" y="515"/>
                    </a:lnTo>
                    <a:lnTo>
                      <a:pt x="70" y="440"/>
                    </a:lnTo>
                    <a:lnTo>
                      <a:pt x="40" y="368"/>
                    </a:lnTo>
                    <a:lnTo>
                      <a:pt x="0" y="301"/>
                    </a:lnTo>
                    <a:lnTo>
                      <a:pt x="280" y="259"/>
                    </a:lnTo>
                    <a:lnTo>
                      <a:pt x="380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Freeform 30">
                <a:extLst>
                  <a:ext uri="{FF2B5EF4-FFF2-40B4-BE49-F238E27FC236}">
                    <a16:creationId xmlns:a16="http://schemas.microsoft.com/office/drawing/2014/main" id="{5396340A-F41A-4722-A3E0-347E7A9F7F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6485" y="5311659"/>
                <a:ext cx="879522" cy="876245"/>
              </a:xfrm>
              <a:custGeom>
                <a:avLst/>
                <a:gdLst>
                  <a:gd name="T0" fmla="*/ 279 w 749"/>
                  <a:gd name="T1" fmla="*/ 0 h 747"/>
                  <a:gd name="T2" fmla="*/ 484 w 749"/>
                  <a:gd name="T3" fmla="*/ 193 h 747"/>
                  <a:gd name="T4" fmla="*/ 749 w 749"/>
                  <a:gd name="T5" fmla="*/ 109 h 747"/>
                  <a:gd name="T6" fmla="*/ 717 w 749"/>
                  <a:gd name="T7" fmla="*/ 212 h 747"/>
                  <a:gd name="T8" fmla="*/ 673 w 749"/>
                  <a:gd name="T9" fmla="*/ 307 h 747"/>
                  <a:gd name="T10" fmla="*/ 619 w 749"/>
                  <a:gd name="T11" fmla="*/ 398 h 747"/>
                  <a:gd name="T12" fmla="*/ 559 w 749"/>
                  <a:gd name="T13" fmla="*/ 484 h 747"/>
                  <a:gd name="T14" fmla="*/ 487 w 749"/>
                  <a:gd name="T15" fmla="*/ 561 h 747"/>
                  <a:gd name="T16" fmla="*/ 407 w 749"/>
                  <a:gd name="T17" fmla="*/ 631 h 747"/>
                  <a:gd name="T18" fmla="*/ 321 w 749"/>
                  <a:gd name="T19" fmla="*/ 694 h 747"/>
                  <a:gd name="T20" fmla="*/ 231 w 749"/>
                  <a:gd name="T21" fmla="*/ 747 h 747"/>
                  <a:gd name="T22" fmla="*/ 0 w 749"/>
                  <a:gd name="T23" fmla="*/ 591 h 747"/>
                  <a:gd name="T24" fmla="*/ 21 w 749"/>
                  <a:gd name="T25" fmla="*/ 309 h 747"/>
                  <a:gd name="T26" fmla="*/ 82 w 749"/>
                  <a:gd name="T27" fmla="*/ 275 h 747"/>
                  <a:gd name="T28" fmla="*/ 135 w 749"/>
                  <a:gd name="T29" fmla="*/ 230 h 747"/>
                  <a:gd name="T30" fmla="*/ 182 w 749"/>
                  <a:gd name="T31" fmla="*/ 181 h 747"/>
                  <a:gd name="T32" fmla="*/ 224 w 749"/>
                  <a:gd name="T33" fmla="*/ 125 h 747"/>
                  <a:gd name="T34" fmla="*/ 254 w 749"/>
                  <a:gd name="T35" fmla="*/ 65 h 747"/>
                  <a:gd name="T36" fmla="*/ 279 w 749"/>
                  <a:gd name="T37" fmla="*/ 0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9" h="747">
                    <a:moveTo>
                      <a:pt x="279" y="0"/>
                    </a:moveTo>
                    <a:lnTo>
                      <a:pt x="484" y="193"/>
                    </a:lnTo>
                    <a:lnTo>
                      <a:pt x="749" y="109"/>
                    </a:lnTo>
                    <a:lnTo>
                      <a:pt x="717" y="212"/>
                    </a:lnTo>
                    <a:lnTo>
                      <a:pt x="673" y="307"/>
                    </a:lnTo>
                    <a:lnTo>
                      <a:pt x="619" y="398"/>
                    </a:lnTo>
                    <a:lnTo>
                      <a:pt x="559" y="484"/>
                    </a:lnTo>
                    <a:lnTo>
                      <a:pt x="487" y="561"/>
                    </a:lnTo>
                    <a:lnTo>
                      <a:pt x="407" y="631"/>
                    </a:lnTo>
                    <a:lnTo>
                      <a:pt x="321" y="694"/>
                    </a:lnTo>
                    <a:lnTo>
                      <a:pt x="231" y="747"/>
                    </a:lnTo>
                    <a:lnTo>
                      <a:pt x="0" y="591"/>
                    </a:lnTo>
                    <a:lnTo>
                      <a:pt x="21" y="309"/>
                    </a:lnTo>
                    <a:lnTo>
                      <a:pt x="82" y="275"/>
                    </a:lnTo>
                    <a:lnTo>
                      <a:pt x="135" y="230"/>
                    </a:lnTo>
                    <a:lnTo>
                      <a:pt x="182" y="181"/>
                    </a:lnTo>
                    <a:lnTo>
                      <a:pt x="224" y="125"/>
                    </a:lnTo>
                    <a:lnTo>
                      <a:pt x="254" y="65"/>
                    </a:lnTo>
                    <a:lnTo>
                      <a:pt x="27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1" name="Freeform 31">
                <a:extLst>
                  <a:ext uri="{FF2B5EF4-FFF2-40B4-BE49-F238E27FC236}">
                    <a16:creationId xmlns:a16="http://schemas.microsoft.com/office/drawing/2014/main" id="{A924CC89-F45D-4AE0-A8AB-C9B6B6EC6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39800" y="3974418"/>
                <a:ext cx="1038047" cy="762462"/>
              </a:xfrm>
              <a:custGeom>
                <a:avLst/>
                <a:gdLst>
                  <a:gd name="T0" fmla="*/ 745 w 884"/>
                  <a:gd name="T1" fmla="*/ 0 h 650"/>
                  <a:gd name="T2" fmla="*/ 884 w 884"/>
                  <a:gd name="T3" fmla="*/ 238 h 650"/>
                  <a:gd name="T4" fmla="*/ 742 w 884"/>
                  <a:gd name="T5" fmla="*/ 483 h 650"/>
                  <a:gd name="T6" fmla="*/ 673 w 884"/>
                  <a:gd name="T7" fmla="*/ 490 h 650"/>
                  <a:gd name="T8" fmla="*/ 605 w 884"/>
                  <a:gd name="T9" fmla="*/ 504 h 650"/>
                  <a:gd name="T10" fmla="*/ 542 w 884"/>
                  <a:gd name="T11" fmla="*/ 529 h 650"/>
                  <a:gd name="T12" fmla="*/ 482 w 884"/>
                  <a:gd name="T13" fmla="*/ 562 h 650"/>
                  <a:gd name="T14" fmla="*/ 426 w 884"/>
                  <a:gd name="T15" fmla="*/ 601 h 650"/>
                  <a:gd name="T16" fmla="*/ 377 w 884"/>
                  <a:gd name="T17" fmla="*/ 650 h 650"/>
                  <a:gd name="T18" fmla="*/ 275 w 884"/>
                  <a:gd name="T19" fmla="*/ 387 h 650"/>
                  <a:gd name="T20" fmla="*/ 0 w 884"/>
                  <a:gd name="T21" fmla="*/ 347 h 650"/>
                  <a:gd name="T22" fmla="*/ 74 w 884"/>
                  <a:gd name="T23" fmla="*/ 271 h 650"/>
                  <a:gd name="T24" fmla="*/ 156 w 884"/>
                  <a:gd name="T25" fmla="*/ 201 h 650"/>
                  <a:gd name="T26" fmla="*/ 242 w 884"/>
                  <a:gd name="T27" fmla="*/ 142 h 650"/>
                  <a:gd name="T28" fmla="*/ 335 w 884"/>
                  <a:gd name="T29" fmla="*/ 94 h 650"/>
                  <a:gd name="T30" fmla="*/ 433 w 884"/>
                  <a:gd name="T31" fmla="*/ 54 h 650"/>
                  <a:gd name="T32" fmla="*/ 533 w 884"/>
                  <a:gd name="T33" fmla="*/ 24 h 650"/>
                  <a:gd name="T34" fmla="*/ 638 w 884"/>
                  <a:gd name="T35" fmla="*/ 7 h 650"/>
                  <a:gd name="T36" fmla="*/ 745 w 884"/>
                  <a:gd name="T37" fmla="*/ 0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84" h="650">
                    <a:moveTo>
                      <a:pt x="745" y="0"/>
                    </a:moveTo>
                    <a:lnTo>
                      <a:pt x="884" y="238"/>
                    </a:lnTo>
                    <a:lnTo>
                      <a:pt x="742" y="483"/>
                    </a:lnTo>
                    <a:lnTo>
                      <a:pt x="673" y="490"/>
                    </a:lnTo>
                    <a:lnTo>
                      <a:pt x="605" y="504"/>
                    </a:lnTo>
                    <a:lnTo>
                      <a:pt x="542" y="529"/>
                    </a:lnTo>
                    <a:lnTo>
                      <a:pt x="482" y="562"/>
                    </a:lnTo>
                    <a:lnTo>
                      <a:pt x="426" y="601"/>
                    </a:lnTo>
                    <a:lnTo>
                      <a:pt x="377" y="650"/>
                    </a:lnTo>
                    <a:lnTo>
                      <a:pt x="275" y="387"/>
                    </a:lnTo>
                    <a:lnTo>
                      <a:pt x="0" y="347"/>
                    </a:lnTo>
                    <a:lnTo>
                      <a:pt x="74" y="271"/>
                    </a:lnTo>
                    <a:lnTo>
                      <a:pt x="156" y="201"/>
                    </a:lnTo>
                    <a:lnTo>
                      <a:pt x="242" y="142"/>
                    </a:lnTo>
                    <a:lnTo>
                      <a:pt x="335" y="94"/>
                    </a:lnTo>
                    <a:lnTo>
                      <a:pt x="433" y="54"/>
                    </a:lnTo>
                    <a:lnTo>
                      <a:pt x="533" y="24"/>
                    </a:lnTo>
                    <a:lnTo>
                      <a:pt x="638" y="7"/>
                    </a:lnTo>
                    <a:lnTo>
                      <a:pt x="745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2" name="Freeform 32">
                <a:extLst>
                  <a:ext uri="{FF2B5EF4-FFF2-40B4-BE49-F238E27FC236}">
                    <a16:creationId xmlns:a16="http://schemas.microsoft.com/office/drawing/2014/main" id="{A7EAC74A-7404-46B0-A690-A19E0A99B7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90856" y="5190838"/>
                <a:ext cx="841946" cy="984163"/>
              </a:xfrm>
              <a:custGeom>
                <a:avLst/>
                <a:gdLst>
                  <a:gd name="T0" fmla="*/ 203 w 717"/>
                  <a:gd name="T1" fmla="*/ 0 h 839"/>
                  <a:gd name="T2" fmla="*/ 473 w 717"/>
                  <a:gd name="T3" fmla="*/ 84 h 839"/>
                  <a:gd name="T4" fmla="*/ 494 w 717"/>
                  <a:gd name="T5" fmla="*/ 149 h 839"/>
                  <a:gd name="T6" fmla="*/ 524 w 717"/>
                  <a:gd name="T7" fmla="*/ 212 h 839"/>
                  <a:gd name="T8" fmla="*/ 561 w 717"/>
                  <a:gd name="T9" fmla="*/ 270 h 839"/>
                  <a:gd name="T10" fmla="*/ 608 w 717"/>
                  <a:gd name="T11" fmla="*/ 322 h 839"/>
                  <a:gd name="T12" fmla="*/ 659 w 717"/>
                  <a:gd name="T13" fmla="*/ 366 h 839"/>
                  <a:gd name="T14" fmla="*/ 717 w 717"/>
                  <a:gd name="T15" fmla="*/ 405 h 839"/>
                  <a:gd name="T16" fmla="*/ 482 w 717"/>
                  <a:gd name="T17" fmla="*/ 562 h 839"/>
                  <a:gd name="T18" fmla="*/ 505 w 717"/>
                  <a:gd name="T19" fmla="*/ 839 h 839"/>
                  <a:gd name="T20" fmla="*/ 414 w 717"/>
                  <a:gd name="T21" fmla="*/ 785 h 839"/>
                  <a:gd name="T22" fmla="*/ 331 w 717"/>
                  <a:gd name="T23" fmla="*/ 720 h 839"/>
                  <a:gd name="T24" fmla="*/ 254 w 717"/>
                  <a:gd name="T25" fmla="*/ 648 h 839"/>
                  <a:gd name="T26" fmla="*/ 184 w 717"/>
                  <a:gd name="T27" fmla="*/ 569 h 839"/>
                  <a:gd name="T28" fmla="*/ 124 w 717"/>
                  <a:gd name="T29" fmla="*/ 482 h 839"/>
                  <a:gd name="T30" fmla="*/ 72 w 717"/>
                  <a:gd name="T31" fmla="*/ 389 h 839"/>
                  <a:gd name="T32" fmla="*/ 30 w 717"/>
                  <a:gd name="T33" fmla="*/ 291 h 839"/>
                  <a:gd name="T34" fmla="*/ 0 w 717"/>
                  <a:gd name="T35" fmla="*/ 191 h 839"/>
                  <a:gd name="T36" fmla="*/ 203 w 717"/>
                  <a:gd name="T37" fmla="*/ 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7" h="839">
                    <a:moveTo>
                      <a:pt x="203" y="0"/>
                    </a:moveTo>
                    <a:lnTo>
                      <a:pt x="473" y="84"/>
                    </a:lnTo>
                    <a:lnTo>
                      <a:pt x="494" y="149"/>
                    </a:lnTo>
                    <a:lnTo>
                      <a:pt x="524" y="212"/>
                    </a:lnTo>
                    <a:lnTo>
                      <a:pt x="561" y="270"/>
                    </a:lnTo>
                    <a:lnTo>
                      <a:pt x="608" y="322"/>
                    </a:lnTo>
                    <a:lnTo>
                      <a:pt x="659" y="366"/>
                    </a:lnTo>
                    <a:lnTo>
                      <a:pt x="717" y="405"/>
                    </a:lnTo>
                    <a:lnTo>
                      <a:pt x="482" y="562"/>
                    </a:lnTo>
                    <a:lnTo>
                      <a:pt x="505" y="839"/>
                    </a:lnTo>
                    <a:lnTo>
                      <a:pt x="414" y="785"/>
                    </a:lnTo>
                    <a:lnTo>
                      <a:pt x="331" y="720"/>
                    </a:lnTo>
                    <a:lnTo>
                      <a:pt x="254" y="648"/>
                    </a:lnTo>
                    <a:lnTo>
                      <a:pt x="184" y="569"/>
                    </a:lnTo>
                    <a:lnTo>
                      <a:pt x="124" y="482"/>
                    </a:lnTo>
                    <a:lnTo>
                      <a:pt x="72" y="389"/>
                    </a:lnTo>
                    <a:lnTo>
                      <a:pt x="30" y="291"/>
                    </a:lnTo>
                    <a:lnTo>
                      <a:pt x="0" y="191"/>
                    </a:lnTo>
                    <a:lnTo>
                      <a:pt x="2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3" name="Freeform 33">
                <a:extLst>
                  <a:ext uri="{FF2B5EF4-FFF2-40B4-BE49-F238E27FC236}">
                    <a16:creationId xmlns:a16="http://schemas.microsoft.com/office/drawing/2014/main" id="{BDD354B7-6135-45EF-A1D8-0CF29DF23E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61500" y="4422511"/>
                <a:ext cx="685769" cy="938415"/>
              </a:xfrm>
              <a:custGeom>
                <a:avLst/>
                <a:gdLst>
                  <a:gd name="T0" fmla="*/ 209 w 584"/>
                  <a:gd name="T1" fmla="*/ 0 h 800"/>
                  <a:gd name="T2" fmla="*/ 484 w 584"/>
                  <a:gd name="T3" fmla="*/ 40 h 800"/>
                  <a:gd name="T4" fmla="*/ 584 w 584"/>
                  <a:gd name="T5" fmla="*/ 303 h 800"/>
                  <a:gd name="T6" fmla="*/ 540 w 584"/>
                  <a:gd name="T7" fmla="*/ 373 h 800"/>
                  <a:gd name="T8" fmla="*/ 507 w 584"/>
                  <a:gd name="T9" fmla="*/ 450 h 800"/>
                  <a:gd name="T10" fmla="*/ 488 w 584"/>
                  <a:gd name="T11" fmla="*/ 529 h 800"/>
                  <a:gd name="T12" fmla="*/ 481 w 584"/>
                  <a:gd name="T13" fmla="*/ 613 h 800"/>
                  <a:gd name="T14" fmla="*/ 488 w 584"/>
                  <a:gd name="T15" fmla="*/ 695 h 800"/>
                  <a:gd name="T16" fmla="*/ 218 w 584"/>
                  <a:gd name="T17" fmla="*/ 609 h 800"/>
                  <a:gd name="T18" fmla="*/ 16 w 584"/>
                  <a:gd name="T19" fmla="*/ 800 h 800"/>
                  <a:gd name="T20" fmla="*/ 4 w 584"/>
                  <a:gd name="T21" fmla="*/ 706 h 800"/>
                  <a:gd name="T22" fmla="*/ 0 w 584"/>
                  <a:gd name="T23" fmla="*/ 613 h 800"/>
                  <a:gd name="T24" fmla="*/ 4 w 584"/>
                  <a:gd name="T25" fmla="*/ 501 h 800"/>
                  <a:gd name="T26" fmla="*/ 23 w 584"/>
                  <a:gd name="T27" fmla="*/ 394 h 800"/>
                  <a:gd name="T28" fmla="*/ 53 w 584"/>
                  <a:gd name="T29" fmla="*/ 289 h 800"/>
                  <a:gd name="T30" fmla="*/ 93 w 584"/>
                  <a:gd name="T31" fmla="*/ 189 h 800"/>
                  <a:gd name="T32" fmla="*/ 146 w 584"/>
                  <a:gd name="T33" fmla="*/ 91 h 800"/>
                  <a:gd name="T34" fmla="*/ 209 w 584"/>
                  <a:gd name="T35" fmla="*/ 0 h 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84" h="800">
                    <a:moveTo>
                      <a:pt x="209" y="0"/>
                    </a:moveTo>
                    <a:lnTo>
                      <a:pt x="484" y="40"/>
                    </a:lnTo>
                    <a:lnTo>
                      <a:pt x="584" y="303"/>
                    </a:lnTo>
                    <a:lnTo>
                      <a:pt x="540" y="373"/>
                    </a:lnTo>
                    <a:lnTo>
                      <a:pt x="507" y="450"/>
                    </a:lnTo>
                    <a:lnTo>
                      <a:pt x="488" y="529"/>
                    </a:lnTo>
                    <a:lnTo>
                      <a:pt x="481" y="613"/>
                    </a:lnTo>
                    <a:lnTo>
                      <a:pt x="488" y="695"/>
                    </a:lnTo>
                    <a:lnTo>
                      <a:pt x="218" y="609"/>
                    </a:lnTo>
                    <a:lnTo>
                      <a:pt x="16" y="800"/>
                    </a:lnTo>
                    <a:lnTo>
                      <a:pt x="4" y="706"/>
                    </a:lnTo>
                    <a:lnTo>
                      <a:pt x="0" y="613"/>
                    </a:lnTo>
                    <a:lnTo>
                      <a:pt x="4" y="501"/>
                    </a:lnTo>
                    <a:lnTo>
                      <a:pt x="23" y="394"/>
                    </a:lnTo>
                    <a:lnTo>
                      <a:pt x="53" y="289"/>
                    </a:lnTo>
                    <a:lnTo>
                      <a:pt x="93" y="189"/>
                    </a:lnTo>
                    <a:lnTo>
                      <a:pt x="146" y="91"/>
                    </a:lnTo>
                    <a:lnTo>
                      <a:pt x="20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4" name="Freeform 34">
                <a:extLst>
                  <a:ext uri="{FF2B5EF4-FFF2-40B4-BE49-F238E27FC236}">
                    <a16:creationId xmlns:a16="http://schemas.microsoft.com/office/drawing/2014/main" id="{68AA8ECB-7C31-4D46-8D2C-612251E580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06169" y="5688198"/>
                <a:ext cx="992251" cy="620527"/>
              </a:xfrm>
              <a:custGeom>
                <a:avLst/>
                <a:gdLst>
                  <a:gd name="T0" fmla="*/ 233 w 845"/>
                  <a:gd name="T1" fmla="*/ 0 h 529"/>
                  <a:gd name="T2" fmla="*/ 302 w 845"/>
                  <a:gd name="T3" fmla="*/ 26 h 529"/>
                  <a:gd name="T4" fmla="*/ 372 w 845"/>
                  <a:gd name="T5" fmla="*/ 42 h 529"/>
                  <a:gd name="T6" fmla="*/ 444 w 845"/>
                  <a:gd name="T7" fmla="*/ 47 h 529"/>
                  <a:gd name="T8" fmla="*/ 509 w 845"/>
                  <a:gd name="T9" fmla="*/ 42 h 529"/>
                  <a:gd name="T10" fmla="*/ 575 w 845"/>
                  <a:gd name="T11" fmla="*/ 30 h 529"/>
                  <a:gd name="T12" fmla="*/ 637 w 845"/>
                  <a:gd name="T13" fmla="*/ 9 h 529"/>
                  <a:gd name="T14" fmla="*/ 614 w 845"/>
                  <a:gd name="T15" fmla="*/ 291 h 529"/>
                  <a:gd name="T16" fmla="*/ 845 w 845"/>
                  <a:gd name="T17" fmla="*/ 445 h 529"/>
                  <a:gd name="T18" fmla="*/ 747 w 845"/>
                  <a:gd name="T19" fmla="*/ 482 h 529"/>
                  <a:gd name="T20" fmla="*/ 649 w 845"/>
                  <a:gd name="T21" fmla="*/ 508 h 529"/>
                  <a:gd name="T22" fmla="*/ 547 w 845"/>
                  <a:gd name="T23" fmla="*/ 524 h 529"/>
                  <a:gd name="T24" fmla="*/ 444 w 845"/>
                  <a:gd name="T25" fmla="*/ 529 h 529"/>
                  <a:gd name="T26" fmla="*/ 335 w 845"/>
                  <a:gd name="T27" fmla="*/ 522 h 529"/>
                  <a:gd name="T28" fmla="*/ 228 w 845"/>
                  <a:gd name="T29" fmla="*/ 506 h 529"/>
                  <a:gd name="T30" fmla="*/ 123 w 845"/>
                  <a:gd name="T31" fmla="*/ 475 h 529"/>
                  <a:gd name="T32" fmla="*/ 23 w 845"/>
                  <a:gd name="T33" fmla="*/ 436 h 529"/>
                  <a:gd name="T34" fmla="*/ 0 w 845"/>
                  <a:gd name="T35" fmla="*/ 159 h 529"/>
                  <a:gd name="T36" fmla="*/ 233 w 845"/>
                  <a:gd name="T37" fmla="*/ 0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45" h="529">
                    <a:moveTo>
                      <a:pt x="233" y="0"/>
                    </a:moveTo>
                    <a:lnTo>
                      <a:pt x="302" y="26"/>
                    </a:lnTo>
                    <a:lnTo>
                      <a:pt x="372" y="42"/>
                    </a:lnTo>
                    <a:lnTo>
                      <a:pt x="444" y="47"/>
                    </a:lnTo>
                    <a:lnTo>
                      <a:pt x="509" y="42"/>
                    </a:lnTo>
                    <a:lnTo>
                      <a:pt x="575" y="30"/>
                    </a:lnTo>
                    <a:lnTo>
                      <a:pt x="637" y="9"/>
                    </a:lnTo>
                    <a:lnTo>
                      <a:pt x="614" y="291"/>
                    </a:lnTo>
                    <a:lnTo>
                      <a:pt x="845" y="445"/>
                    </a:lnTo>
                    <a:lnTo>
                      <a:pt x="747" y="482"/>
                    </a:lnTo>
                    <a:lnTo>
                      <a:pt x="649" y="508"/>
                    </a:lnTo>
                    <a:lnTo>
                      <a:pt x="547" y="524"/>
                    </a:lnTo>
                    <a:lnTo>
                      <a:pt x="444" y="529"/>
                    </a:lnTo>
                    <a:lnTo>
                      <a:pt x="335" y="522"/>
                    </a:lnTo>
                    <a:lnTo>
                      <a:pt x="228" y="506"/>
                    </a:lnTo>
                    <a:lnTo>
                      <a:pt x="123" y="475"/>
                    </a:lnTo>
                    <a:lnTo>
                      <a:pt x="23" y="436"/>
                    </a:lnTo>
                    <a:lnTo>
                      <a:pt x="0" y="159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8" name="TextBox 76">
              <a:extLst>
                <a:ext uri="{FF2B5EF4-FFF2-40B4-BE49-F238E27FC236}">
                  <a16:creationId xmlns:a16="http://schemas.microsoft.com/office/drawing/2014/main" id="{E4418863-522A-4F91-A54E-921AA04949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58737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7</a:t>
              </a:r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EB49BC6-4D2C-4785-B892-5C3035879C2C}"/>
              </a:ext>
            </a:extLst>
          </p:cNvPr>
          <p:cNvGrpSpPr/>
          <p:nvPr/>
        </p:nvGrpSpPr>
        <p:grpSpPr bwMode="gray">
          <a:xfrm>
            <a:off x="1978441" y="3974418"/>
            <a:ext cx="2333258" cy="2334307"/>
            <a:chOff x="1978441" y="3974418"/>
            <a:chExt cx="2333258" cy="2334307"/>
          </a:xfrm>
          <a:solidFill>
            <a:srgbClr val="E4E4E4"/>
          </a:solidFill>
        </p:grpSpPr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0D4BE5EF-2203-472B-BB9F-74E9D4EBE12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78441" y="3974418"/>
              <a:ext cx="2333258" cy="2334307"/>
              <a:chOff x="1978441" y="3974418"/>
              <a:chExt cx="2333258" cy="2334307"/>
            </a:xfrm>
            <a:grpFill/>
          </p:grpSpPr>
          <p:sp>
            <p:nvSpPr>
              <p:cNvPr id="22" name="Freeform 22">
                <a:extLst>
                  <a:ext uri="{FF2B5EF4-FFF2-40B4-BE49-F238E27FC236}">
                    <a16:creationId xmlns:a16="http://schemas.microsoft.com/office/drawing/2014/main" id="{95A89137-6FC2-44B1-925D-4C442499F50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59642" y="3974418"/>
                <a:ext cx="1135448" cy="826709"/>
              </a:xfrm>
              <a:custGeom>
                <a:avLst/>
                <a:gdLst>
                  <a:gd name="T0" fmla="*/ 826 w 965"/>
                  <a:gd name="T1" fmla="*/ 0 h 703"/>
                  <a:gd name="T2" fmla="*/ 965 w 965"/>
                  <a:gd name="T3" fmla="*/ 237 h 703"/>
                  <a:gd name="T4" fmla="*/ 823 w 965"/>
                  <a:gd name="T5" fmla="*/ 477 h 703"/>
                  <a:gd name="T6" fmla="*/ 754 w 965"/>
                  <a:gd name="T7" fmla="*/ 484 h 703"/>
                  <a:gd name="T8" fmla="*/ 686 w 965"/>
                  <a:gd name="T9" fmla="*/ 501 h 703"/>
                  <a:gd name="T10" fmla="*/ 621 w 965"/>
                  <a:gd name="T11" fmla="*/ 526 h 703"/>
                  <a:gd name="T12" fmla="*/ 560 w 965"/>
                  <a:gd name="T13" fmla="*/ 559 h 703"/>
                  <a:gd name="T14" fmla="*/ 505 w 965"/>
                  <a:gd name="T15" fmla="*/ 601 h 703"/>
                  <a:gd name="T16" fmla="*/ 456 w 965"/>
                  <a:gd name="T17" fmla="*/ 647 h 703"/>
                  <a:gd name="T18" fmla="*/ 412 w 965"/>
                  <a:gd name="T19" fmla="*/ 703 h 703"/>
                  <a:gd name="T20" fmla="*/ 274 w 965"/>
                  <a:gd name="T21" fmla="*/ 459 h 703"/>
                  <a:gd name="T22" fmla="*/ 0 w 965"/>
                  <a:gd name="T23" fmla="*/ 461 h 703"/>
                  <a:gd name="T24" fmla="*/ 62 w 965"/>
                  <a:gd name="T25" fmla="*/ 372 h 703"/>
                  <a:gd name="T26" fmla="*/ 137 w 965"/>
                  <a:gd name="T27" fmla="*/ 291 h 703"/>
                  <a:gd name="T28" fmla="*/ 218 w 965"/>
                  <a:gd name="T29" fmla="*/ 216 h 703"/>
                  <a:gd name="T30" fmla="*/ 307 w 965"/>
                  <a:gd name="T31" fmla="*/ 153 h 703"/>
                  <a:gd name="T32" fmla="*/ 402 w 965"/>
                  <a:gd name="T33" fmla="*/ 100 h 703"/>
                  <a:gd name="T34" fmla="*/ 502 w 965"/>
                  <a:gd name="T35" fmla="*/ 58 h 703"/>
                  <a:gd name="T36" fmla="*/ 607 w 965"/>
                  <a:gd name="T37" fmla="*/ 25 h 703"/>
                  <a:gd name="T38" fmla="*/ 714 w 965"/>
                  <a:gd name="T39" fmla="*/ 7 h 703"/>
                  <a:gd name="T40" fmla="*/ 826 w 965"/>
                  <a:gd name="T41" fmla="*/ 0 h 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5" h="703">
                    <a:moveTo>
                      <a:pt x="826" y="0"/>
                    </a:moveTo>
                    <a:lnTo>
                      <a:pt x="965" y="237"/>
                    </a:lnTo>
                    <a:lnTo>
                      <a:pt x="823" y="477"/>
                    </a:lnTo>
                    <a:lnTo>
                      <a:pt x="754" y="484"/>
                    </a:lnTo>
                    <a:lnTo>
                      <a:pt x="686" y="501"/>
                    </a:lnTo>
                    <a:lnTo>
                      <a:pt x="621" y="526"/>
                    </a:lnTo>
                    <a:lnTo>
                      <a:pt x="560" y="559"/>
                    </a:lnTo>
                    <a:lnTo>
                      <a:pt x="505" y="601"/>
                    </a:lnTo>
                    <a:lnTo>
                      <a:pt x="456" y="647"/>
                    </a:lnTo>
                    <a:lnTo>
                      <a:pt x="412" y="703"/>
                    </a:lnTo>
                    <a:lnTo>
                      <a:pt x="274" y="459"/>
                    </a:lnTo>
                    <a:lnTo>
                      <a:pt x="0" y="461"/>
                    </a:lnTo>
                    <a:lnTo>
                      <a:pt x="62" y="372"/>
                    </a:lnTo>
                    <a:lnTo>
                      <a:pt x="137" y="291"/>
                    </a:lnTo>
                    <a:lnTo>
                      <a:pt x="218" y="216"/>
                    </a:lnTo>
                    <a:lnTo>
                      <a:pt x="307" y="153"/>
                    </a:lnTo>
                    <a:lnTo>
                      <a:pt x="402" y="100"/>
                    </a:lnTo>
                    <a:lnTo>
                      <a:pt x="502" y="58"/>
                    </a:lnTo>
                    <a:lnTo>
                      <a:pt x="607" y="25"/>
                    </a:lnTo>
                    <a:lnTo>
                      <a:pt x="714" y="7"/>
                    </a:lnTo>
                    <a:lnTo>
                      <a:pt x="826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3" name="Freeform 23">
                <a:extLst>
                  <a:ext uri="{FF2B5EF4-FFF2-40B4-BE49-F238E27FC236}">
                    <a16:creationId xmlns:a16="http://schemas.microsoft.com/office/drawing/2014/main" id="{30AF268C-B367-47C8-9853-738D59DD8E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89194" y="3974418"/>
                <a:ext cx="957777" cy="851405"/>
              </a:xfrm>
              <a:custGeom>
                <a:avLst/>
                <a:gdLst>
                  <a:gd name="T0" fmla="*/ 2 w 814"/>
                  <a:gd name="T1" fmla="*/ 0 h 724"/>
                  <a:gd name="T2" fmla="*/ 111 w 814"/>
                  <a:gd name="T3" fmla="*/ 11 h 724"/>
                  <a:gd name="T4" fmla="*/ 218 w 814"/>
                  <a:gd name="T5" fmla="*/ 32 h 724"/>
                  <a:gd name="T6" fmla="*/ 323 w 814"/>
                  <a:gd name="T7" fmla="*/ 67 h 724"/>
                  <a:gd name="T8" fmla="*/ 421 w 814"/>
                  <a:gd name="T9" fmla="*/ 111 h 724"/>
                  <a:gd name="T10" fmla="*/ 516 w 814"/>
                  <a:gd name="T11" fmla="*/ 167 h 724"/>
                  <a:gd name="T12" fmla="*/ 602 w 814"/>
                  <a:gd name="T13" fmla="*/ 233 h 724"/>
                  <a:gd name="T14" fmla="*/ 682 w 814"/>
                  <a:gd name="T15" fmla="*/ 307 h 724"/>
                  <a:gd name="T16" fmla="*/ 754 w 814"/>
                  <a:gd name="T17" fmla="*/ 391 h 724"/>
                  <a:gd name="T18" fmla="*/ 814 w 814"/>
                  <a:gd name="T19" fmla="*/ 484 h 724"/>
                  <a:gd name="T20" fmla="*/ 679 w 814"/>
                  <a:gd name="T21" fmla="*/ 724 h 724"/>
                  <a:gd name="T22" fmla="*/ 400 w 814"/>
                  <a:gd name="T23" fmla="*/ 722 h 724"/>
                  <a:gd name="T24" fmla="*/ 360 w 814"/>
                  <a:gd name="T25" fmla="*/ 664 h 724"/>
                  <a:gd name="T26" fmla="*/ 312 w 814"/>
                  <a:gd name="T27" fmla="*/ 615 h 724"/>
                  <a:gd name="T28" fmla="*/ 258 w 814"/>
                  <a:gd name="T29" fmla="*/ 570 h 724"/>
                  <a:gd name="T30" fmla="*/ 197 w 814"/>
                  <a:gd name="T31" fmla="*/ 536 h 724"/>
                  <a:gd name="T32" fmla="*/ 135 w 814"/>
                  <a:gd name="T33" fmla="*/ 508 h 724"/>
                  <a:gd name="T34" fmla="*/ 67 w 814"/>
                  <a:gd name="T35" fmla="*/ 489 h 724"/>
                  <a:gd name="T36" fmla="*/ 0 w 814"/>
                  <a:gd name="T37" fmla="*/ 477 h 724"/>
                  <a:gd name="T38" fmla="*/ 142 w 814"/>
                  <a:gd name="T39" fmla="*/ 237 h 724"/>
                  <a:gd name="T40" fmla="*/ 2 w 814"/>
                  <a:gd name="T41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4" h="724">
                    <a:moveTo>
                      <a:pt x="2" y="0"/>
                    </a:moveTo>
                    <a:lnTo>
                      <a:pt x="111" y="11"/>
                    </a:lnTo>
                    <a:lnTo>
                      <a:pt x="218" y="32"/>
                    </a:lnTo>
                    <a:lnTo>
                      <a:pt x="323" y="67"/>
                    </a:lnTo>
                    <a:lnTo>
                      <a:pt x="421" y="111"/>
                    </a:lnTo>
                    <a:lnTo>
                      <a:pt x="516" y="167"/>
                    </a:lnTo>
                    <a:lnTo>
                      <a:pt x="602" y="233"/>
                    </a:lnTo>
                    <a:lnTo>
                      <a:pt x="682" y="307"/>
                    </a:lnTo>
                    <a:lnTo>
                      <a:pt x="754" y="391"/>
                    </a:lnTo>
                    <a:lnTo>
                      <a:pt x="814" y="484"/>
                    </a:lnTo>
                    <a:lnTo>
                      <a:pt x="679" y="724"/>
                    </a:lnTo>
                    <a:lnTo>
                      <a:pt x="400" y="722"/>
                    </a:lnTo>
                    <a:lnTo>
                      <a:pt x="360" y="664"/>
                    </a:lnTo>
                    <a:lnTo>
                      <a:pt x="312" y="615"/>
                    </a:lnTo>
                    <a:lnTo>
                      <a:pt x="258" y="570"/>
                    </a:lnTo>
                    <a:lnTo>
                      <a:pt x="197" y="536"/>
                    </a:lnTo>
                    <a:lnTo>
                      <a:pt x="135" y="508"/>
                    </a:lnTo>
                    <a:lnTo>
                      <a:pt x="67" y="489"/>
                    </a:lnTo>
                    <a:lnTo>
                      <a:pt x="0" y="477"/>
                    </a:lnTo>
                    <a:lnTo>
                      <a:pt x="142" y="237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4" name="Freeform 24">
                <a:extLst>
                  <a:ext uri="{FF2B5EF4-FFF2-40B4-BE49-F238E27FC236}">
                    <a16:creationId xmlns:a16="http://schemas.microsoft.com/office/drawing/2014/main" id="{CCA04B85-5239-4160-8164-B3F2534D61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97403" y="5478487"/>
                <a:ext cx="1136625" cy="830237"/>
              </a:xfrm>
              <a:custGeom>
                <a:avLst/>
                <a:gdLst>
                  <a:gd name="T0" fmla="*/ 551 w 966"/>
                  <a:gd name="T1" fmla="*/ 0 h 706"/>
                  <a:gd name="T2" fmla="*/ 691 w 966"/>
                  <a:gd name="T3" fmla="*/ 244 h 706"/>
                  <a:gd name="T4" fmla="*/ 966 w 966"/>
                  <a:gd name="T5" fmla="*/ 242 h 706"/>
                  <a:gd name="T6" fmla="*/ 900 w 966"/>
                  <a:gd name="T7" fmla="*/ 333 h 706"/>
                  <a:gd name="T8" fmla="*/ 826 w 966"/>
                  <a:gd name="T9" fmla="*/ 414 h 706"/>
                  <a:gd name="T10" fmla="*/ 744 w 966"/>
                  <a:gd name="T11" fmla="*/ 487 h 706"/>
                  <a:gd name="T12" fmla="*/ 656 w 966"/>
                  <a:gd name="T13" fmla="*/ 550 h 706"/>
                  <a:gd name="T14" fmla="*/ 563 w 966"/>
                  <a:gd name="T15" fmla="*/ 603 h 706"/>
                  <a:gd name="T16" fmla="*/ 463 w 966"/>
                  <a:gd name="T17" fmla="*/ 647 h 706"/>
                  <a:gd name="T18" fmla="*/ 358 w 966"/>
                  <a:gd name="T19" fmla="*/ 678 h 706"/>
                  <a:gd name="T20" fmla="*/ 249 w 966"/>
                  <a:gd name="T21" fmla="*/ 699 h 706"/>
                  <a:gd name="T22" fmla="*/ 139 w 966"/>
                  <a:gd name="T23" fmla="*/ 706 h 706"/>
                  <a:gd name="T24" fmla="*/ 0 w 966"/>
                  <a:gd name="T25" fmla="*/ 468 h 706"/>
                  <a:gd name="T26" fmla="*/ 139 w 966"/>
                  <a:gd name="T27" fmla="*/ 228 h 706"/>
                  <a:gd name="T28" fmla="*/ 209 w 966"/>
                  <a:gd name="T29" fmla="*/ 221 h 706"/>
                  <a:gd name="T30" fmla="*/ 279 w 966"/>
                  <a:gd name="T31" fmla="*/ 205 h 706"/>
                  <a:gd name="T32" fmla="*/ 342 w 966"/>
                  <a:gd name="T33" fmla="*/ 179 h 706"/>
                  <a:gd name="T34" fmla="*/ 402 w 966"/>
                  <a:gd name="T35" fmla="*/ 147 h 706"/>
                  <a:gd name="T36" fmla="*/ 458 w 966"/>
                  <a:gd name="T37" fmla="*/ 105 h 706"/>
                  <a:gd name="T38" fmla="*/ 509 w 966"/>
                  <a:gd name="T39" fmla="*/ 56 h 706"/>
                  <a:gd name="T40" fmla="*/ 551 w 966"/>
                  <a:gd name="T41" fmla="*/ 0 h 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6" h="706">
                    <a:moveTo>
                      <a:pt x="551" y="0"/>
                    </a:moveTo>
                    <a:lnTo>
                      <a:pt x="691" y="244"/>
                    </a:lnTo>
                    <a:lnTo>
                      <a:pt x="966" y="242"/>
                    </a:lnTo>
                    <a:lnTo>
                      <a:pt x="900" y="333"/>
                    </a:lnTo>
                    <a:lnTo>
                      <a:pt x="826" y="414"/>
                    </a:lnTo>
                    <a:lnTo>
                      <a:pt x="744" y="487"/>
                    </a:lnTo>
                    <a:lnTo>
                      <a:pt x="656" y="550"/>
                    </a:lnTo>
                    <a:lnTo>
                      <a:pt x="563" y="603"/>
                    </a:lnTo>
                    <a:lnTo>
                      <a:pt x="463" y="647"/>
                    </a:lnTo>
                    <a:lnTo>
                      <a:pt x="358" y="678"/>
                    </a:lnTo>
                    <a:lnTo>
                      <a:pt x="249" y="699"/>
                    </a:lnTo>
                    <a:lnTo>
                      <a:pt x="139" y="706"/>
                    </a:lnTo>
                    <a:lnTo>
                      <a:pt x="0" y="468"/>
                    </a:lnTo>
                    <a:lnTo>
                      <a:pt x="139" y="228"/>
                    </a:lnTo>
                    <a:lnTo>
                      <a:pt x="209" y="221"/>
                    </a:lnTo>
                    <a:lnTo>
                      <a:pt x="279" y="205"/>
                    </a:lnTo>
                    <a:lnTo>
                      <a:pt x="342" y="179"/>
                    </a:lnTo>
                    <a:lnTo>
                      <a:pt x="402" y="147"/>
                    </a:lnTo>
                    <a:lnTo>
                      <a:pt x="458" y="105"/>
                    </a:lnTo>
                    <a:lnTo>
                      <a:pt x="509" y="56"/>
                    </a:lnTo>
                    <a:lnTo>
                      <a:pt x="551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5" name="Freeform 25">
                <a:extLst>
                  <a:ext uri="{FF2B5EF4-FFF2-40B4-BE49-F238E27FC236}">
                    <a16:creationId xmlns:a16="http://schemas.microsoft.com/office/drawing/2014/main" id="{87C36152-6D41-4A18-9B14-C51EDDA1B0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78672" y="4596507"/>
                <a:ext cx="633027" cy="1117174"/>
              </a:xfrm>
              <a:custGeom>
                <a:avLst/>
                <a:gdLst>
                  <a:gd name="T0" fmla="*/ 424 w 538"/>
                  <a:gd name="T1" fmla="*/ 0 h 950"/>
                  <a:gd name="T2" fmla="*/ 466 w 538"/>
                  <a:gd name="T3" fmla="*/ 88 h 950"/>
                  <a:gd name="T4" fmla="*/ 496 w 538"/>
                  <a:gd name="T5" fmla="*/ 177 h 950"/>
                  <a:gd name="T6" fmla="*/ 519 w 538"/>
                  <a:gd name="T7" fmla="*/ 270 h 950"/>
                  <a:gd name="T8" fmla="*/ 533 w 538"/>
                  <a:gd name="T9" fmla="*/ 365 h 950"/>
                  <a:gd name="T10" fmla="*/ 538 w 538"/>
                  <a:gd name="T11" fmla="*/ 463 h 950"/>
                  <a:gd name="T12" fmla="*/ 533 w 538"/>
                  <a:gd name="T13" fmla="*/ 563 h 950"/>
                  <a:gd name="T14" fmla="*/ 517 w 538"/>
                  <a:gd name="T15" fmla="*/ 664 h 950"/>
                  <a:gd name="T16" fmla="*/ 491 w 538"/>
                  <a:gd name="T17" fmla="*/ 761 h 950"/>
                  <a:gd name="T18" fmla="*/ 456 w 538"/>
                  <a:gd name="T19" fmla="*/ 857 h 950"/>
                  <a:gd name="T20" fmla="*/ 412 w 538"/>
                  <a:gd name="T21" fmla="*/ 948 h 950"/>
                  <a:gd name="T22" fmla="*/ 138 w 538"/>
                  <a:gd name="T23" fmla="*/ 950 h 950"/>
                  <a:gd name="T24" fmla="*/ 0 w 538"/>
                  <a:gd name="T25" fmla="*/ 708 h 950"/>
                  <a:gd name="T26" fmla="*/ 26 w 538"/>
                  <a:gd name="T27" fmla="*/ 650 h 950"/>
                  <a:gd name="T28" fmla="*/ 44 w 538"/>
                  <a:gd name="T29" fmla="*/ 589 h 950"/>
                  <a:gd name="T30" fmla="*/ 56 w 538"/>
                  <a:gd name="T31" fmla="*/ 526 h 950"/>
                  <a:gd name="T32" fmla="*/ 61 w 538"/>
                  <a:gd name="T33" fmla="*/ 463 h 950"/>
                  <a:gd name="T34" fmla="*/ 56 w 538"/>
                  <a:gd name="T35" fmla="*/ 384 h 950"/>
                  <a:gd name="T36" fmla="*/ 37 w 538"/>
                  <a:gd name="T37" fmla="*/ 309 h 950"/>
                  <a:gd name="T38" fmla="*/ 10 w 538"/>
                  <a:gd name="T39" fmla="*/ 237 h 950"/>
                  <a:gd name="T40" fmla="*/ 289 w 538"/>
                  <a:gd name="T41" fmla="*/ 240 h 950"/>
                  <a:gd name="T42" fmla="*/ 424 w 538"/>
                  <a:gd name="T43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38" h="950">
                    <a:moveTo>
                      <a:pt x="424" y="0"/>
                    </a:moveTo>
                    <a:lnTo>
                      <a:pt x="466" y="88"/>
                    </a:lnTo>
                    <a:lnTo>
                      <a:pt x="496" y="177"/>
                    </a:lnTo>
                    <a:lnTo>
                      <a:pt x="519" y="270"/>
                    </a:lnTo>
                    <a:lnTo>
                      <a:pt x="533" y="365"/>
                    </a:lnTo>
                    <a:lnTo>
                      <a:pt x="538" y="463"/>
                    </a:lnTo>
                    <a:lnTo>
                      <a:pt x="533" y="563"/>
                    </a:lnTo>
                    <a:lnTo>
                      <a:pt x="517" y="664"/>
                    </a:lnTo>
                    <a:lnTo>
                      <a:pt x="491" y="761"/>
                    </a:lnTo>
                    <a:lnTo>
                      <a:pt x="456" y="857"/>
                    </a:lnTo>
                    <a:lnTo>
                      <a:pt x="412" y="948"/>
                    </a:lnTo>
                    <a:lnTo>
                      <a:pt x="138" y="950"/>
                    </a:lnTo>
                    <a:lnTo>
                      <a:pt x="0" y="708"/>
                    </a:lnTo>
                    <a:lnTo>
                      <a:pt x="26" y="650"/>
                    </a:lnTo>
                    <a:lnTo>
                      <a:pt x="44" y="589"/>
                    </a:lnTo>
                    <a:lnTo>
                      <a:pt x="56" y="526"/>
                    </a:lnTo>
                    <a:lnTo>
                      <a:pt x="61" y="463"/>
                    </a:lnTo>
                    <a:lnTo>
                      <a:pt x="56" y="384"/>
                    </a:lnTo>
                    <a:lnTo>
                      <a:pt x="37" y="309"/>
                    </a:lnTo>
                    <a:lnTo>
                      <a:pt x="10" y="237"/>
                    </a:lnTo>
                    <a:lnTo>
                      <a:pt x="289" y="240"/>
                    </a:lnTo>
                    <a:lnTo>
                      <a:pt x="424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6" name="Freeform 26">
                <a:extLst>
                  <a:ext uri="{FF2B5EF4-FFF2-40B4-BE49-F238E27FC236}">
                    <a16:creationId xmlns:a16="http://schemas.microsoft.com/office/drawing/2014/main" id="{8C0DE2B1-F17A-4EE5-924C-EB87CA97E0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78441" y="4565932"/>
                <a:ext cx="635380" cy="1117174"/>
              </a:xfrm>
              <a:custGeom>
                <a:avLst/>
                <a:gdLst>
                  <a:gd name="T0" fmla="*/ 403 w 540"/>
                  <a:gd name="T1" fmla="*/ 0 h 950"/>
                  <a:gd name="T2" fmla="*/ 540 w 540"/>
                  <a:gd name="T3" fmla="*/ 245 h 950"/>
                  <a:gd name="T4" fmla="*/ 512 w 540"/>
                  <a:gd name="T5" fmla="*/ 300 h 950"/>
                  <a:gd name="T6" fmla="*/ 493 w 540"/>
                  <a:gd name="T7" fmla="*/ 361 h 950"/>
                  <a:gd name="T8" fmla="*/ 482 w 540"/>
                  <a:gd name="T9" fmla="*/ 424 h 950"/>
                  <a:gd name="T10" fmla="*/ 477 w 540"/>
                  <a:gd name="T11" fmla="*/ 489 h 950"/>
                  <a:gd name="T12" fmla="*/ 484 w 540"/>
                  <a:gd name="T13" fmla="*/ 566 h 950"/>
                  <a:gd name="T14" fmla="*/ 500 w 540"/>
                  <a:gd name="T15" fmla="*/ 643 h 950"/>
                  <a:gd name="T16" fmla="*/ 531 w 540"/>
                  <a:gd name="T17" fmla="*/ 715 h 950"/>
                  <a:gd name="T18" fmla="*/ 249 w 540"/>
                  <a:gd name="T19" fmla="*/ 713 h 950"/>
                  <a:gd name="T20" fmla="*/ 114 w 540"/>
                  <a:gd name="T21" fmla="*/ 950 h 950"/>
                  <a:gd name="T22" fmla="*/ 74 w 540"/>
                  <a:gd name="T23" fmla="*/ 864 h 950"/>
                  <a:gd name="T24" fmla="*/ 42 w 540"/>
                  <a:gd name="T25" fmla="*/ 773 h 950"/>
                  <a:gd name="T26" fmla="*/ 19 w 540"/>
                  <a:gd name="T27" fmla="*/ 680 h 950"/>
                  <a:gd name="T28" fmla="*/ 5 w 540"/>
                  <a:gd name="T29" fmla="*/ 585 h 950"/>
                  <a:gd name="T30" fmla="*/ 0 w 540"/>
                  <a:gd name="T31" fmla="*/ 489 h 950"/>
                  <a:gd name="T32" fmla="*/ 0 w 540"/>
                  <a:gd name="T33" fmla="*/ 489 h 950"/>
                  <a:gd name="T34" fmla="*/ 5 w 540"/>
                  <a:gd name="T35" fmla="*/ 387 h 950"/>
                  <a:gd name="T36" fmla="*/ 21 w 540"/>
                  <a:gd name="T37" fmla="*/ 286 h 950"/>
                  <a:gd name="T38" fmla="*/ 47 w 540"/>
                  <a:gd name="T39" fmla="*/ 189 h 950"/>
                  <a:gd name="T40" fmla="*/ 81 w 540"/>
                  <a:gd name="T41" fmla="*/ 93 h 950"/>
                  <a:gd name="T42" fmla="*/ 126 w 540"/>
                  <a:gd name="T43" fmla="*/ 2 h 950"/>
                  <a:gd name="T44" fmla="*/ 403 w 540"/>
                  <a:gd name="T45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0" h="950">
                    <a:moveTo>
                      <a:pt x="403" y="0"/>
                    </a:moveTo>
                    <a:lnTo>
                      <a:pt x="540" y="245"/>
                    </a:lnTo>
                    <a:lnTo>
                      <a:pt x="512" y="300"/>
                    </a:lnTo>
                    <a:lnTo>
                      <a:pt x="493" y="361"/>
                    </a:lnTo>
                    <a:lnTo>
                      <a:pt x="482" y="424"/>
                    </a:lnTo>
                    <a:lnTo>
                      <a:pt x="477" y="489"/>
                    </a:lnTo>
                    <a:lnTo>
                      <a:pt x="484" y="566"/>
                    </a:lnTo>
                    <a:lnTo>
                      <a:pt x="500" y="643"/>
                    </a:lnTo>
                    <a:lnTo>
                      <a:pt x="531" y="715"/>
                    </a:lnTo>
                    <a:lnTo>
                      <a:pt x="249" y="713"/>
                    </a:lnTo>
                    <a:lnTo>
                      <a:pt x="114" y="950"/>
                    </a:lnTo>
                    <a:lnTo>
                      <a:pt x="74" y="864"/>
                    </a:lnTo>
                    <a:lnTo>
                      <a:pt x="42" y="773"/>
                    </a:lnTo>
                    <a:lnTo>
                      <a:pt x="19" y="680"/>
                    </a:lnTo>
                    <a:lnTo>
                      <a:pt x="5" y="585"/>
                    </a:lnTo>
                    <a:lnTo>
                      <a:pt x="0" y="489"/>
                    </a:lnTo>
                    <a:lnTo>
                      <a:pt x="0" y="489"/>
                    </a:lnTo>
                    <a:lnTo>
                      <a:pt x="5" y="387"/>
                    </a:lnTo>
                    <a:lnTo>
                      <a:pt x="21" y="286"/>
                    </a:lnTo>
                    <a:lnTo>
                      <a:pt x="47" y="189"/>
                    </a:lnTo>
                    <a:lnTo>
                      <a:pt x="81" y="93"/>
                    </a:lnTo>
                    <a:lnTo>
                      <a:pt x="126" y="2"/>
                    </a:lnTo>
                    <a:lnTo>
                      <a:pt x="4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7" name="Freeform 27">
                <a:extLst>
                  <a:ext uri="{FF2B5EF4-FFF2-40B4-BE49-F238E27FC236}">
                    <a16:creationId xmlns:a16="http://schemas.microsoft.com/office/drawing/2014/main" id="{046A57BE-FE1C-439C-8B25-00EAB3648A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3169" y="5456144"/>
                <a:ext cx="961307" cy="852581"/>
              </a:xfrm>
              <a:custGeom>
                <a:avLst/>
                <a:gdLst>
                  <a:gd name="T0" fmla="*/ 135 w 817"/>
                  <a:gd name="T1" fmla="*/ 0 h 725"/>
                  <a:gd name="T2" fmla="*/ 414 w 817"/>
                  <a:gd name="T3" fmla="*/ 2 h 725"/>
                  <a:gd name="T4" fmla="*/ 456 w 817"/>
                  <a:gd name="T5" fmla="*/ 58 h 725"/>
                  <a:gd name="T6" fmla="*/ 502 w 817"/>
                  <a:gd name="T7" fmla="*/ 110 h 725"/>
                  <a:gd name="T8" fmla="*/ 556 w 817"/>
                  <a:gd name="T9" fmla="*/ 154 h 725"/>
                  <a:gd name="T10" fmla="*/ 616 w 817"/>
                  <a:gd name="T11" fmla="*/ 189 h 725"/>
                  <a:gd name="T12" fmla="*/ 679 w 817"/>
                  <a:gd name="T13" fmla="*/ 217 h 725"/>
                  <a:gd name="T14" fmla="*/ 747 w 817"/>
                  <a:gd name="T15" fmla="*/ 235 h 725"/>
                  <a:gd name="T16" fmla="*/ 817 w 817"/>
                  <a:gd name="T17" fmla="*/ 245 h 725"/>
                  <a:gd name="T18" fmla="*/ 675 w 817"/>
                  <a:gd name="T19" fmla="*/ 487 h 725"/>
                  <a:gd name="T20" fmla="*/ 812 w 817"/>
                  <a:gd name="T21" fmla="*/ 725 h 725"/>
                  <a:gd name="T22" fmla="*/ 702 w 817"/>
                  <a:gd name="T23" fmla="*/ 713 h 725"/>
                  <a:gd name="T24" fmla="*/ 595 w 817"/>
                  <a:gd name="T25" fmla="*/ 690 h 725"/>
                  <a:gd name="T26" fmla="*/ 491 w 817"/>
                  <a:gd name="T27" fmla="*/ 657 h 725"/>
                  <a:gd name="T28" fmla="*/ 393 w 817"/>
                  <a:gd name="T29" fmla="*/ 611 h 725"/>
                  <a:gd name="T30" fmla="*/ 300 w 817"/>
                  <a:gd name="T31" fmla="*/ 555 h 725"/>
                  <a:gd name="T32" fmla="*/ 211 w 817"/>
                  <a:gd name="T33" fmla="*/ 489 h 725"/>
                  <a:gd name="T34" fmla="*/ 132 w 817"/>
                  <a:gd name="T35" fmla="*/ 415 h 725"/>
                  <a:gd name="T36" fmla="*/ 60 w 817"/>
                  <a:gd name="T37" fmla="*/ 331 h 725"/>
                  <a:gd name="T38" fmla="*/ 0 w 817"/>
                  <a:gd name="T39" fmla="*/ 240 h 725"/>
                  <a:gd name="T40" fmla="*/ 135 w 817"/>
                  <a:gd name="T41" fmla="*/ 0 h 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7" h="725">
                    <a:moveTo>
                      <a:pt x="135" y="0"/>
                    </a:moveTo>
                    <a:lnTo>
                      <a:pt x="414" y="2"/>
                    </a:lnTo>
                    <a:lnTo>
                      <a:pt x="456" y="58"/>
                    </a:lnTo>
                    <a:lnTo>
                      <a:pt x="502" y="110"/>
                    </a:lnTo>
                    <a:lnTo>
                      <a:pt x="556" y="154"/>
                    </a:lnTo>
                    <a:lnTo>
                      <a:pt x="616" y="189"/>
                    </a:lnTo>
                    <a:lnTo>
                      <a:pt x="679" y="217"/>
                    </a:lnTo>
                    <a:lnTo>
                      <a:pt x="747" y="235"/>
                    </a:lnTo>
                    <a:lnTo>
                      <a:pt x="817" y="245"/>
                    </a:lnTo>
                    <a:lnTo>
                      <a:pt x="675" y="487"/>
                    </a:lnTo>
                    <a:lnTo>
                      <a:pt x="812" y="725"/>
                    </a:lnTo>
                    <a:lnTo>
                      <a:pt x="702" y="713"/>
                    </a:lnTo>
                    <a:lnTo>
                      <a:pt x="595" y="690"/>
                    </a:lnTo>
                    <a:lnTo>
                      <a:pt x="491" y="657"/>
                    </a:lnTo>
                    <a:lnTo>
                      <a:pt x="393" y="611"/>
                    </a:lnTo>
                    <a:lnTo>
                      <a:pt x="300" y="555"/>
                    </a:lnTo>
                    <a:lnTo>
                      <a:pt x="211" y="489"/>
                    </a:lnTo>
                    <a:lnTo>
                      <a:pt x="132" y="415"/>
                    </a:lnTo>
                    <a:lnTo>
                      <a:pt x="60" y="331"/>
                    </a:lnTo>
                    <a:lnTo>
                      <a:pt x="0" y="240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77">
              <a:extLst>
                <a:ext uri="{FF2B5EF4-FFF2-40B4-BE49-F238E27FC236}">
                  <a16:creationId xmlns:a16="http://schemas.microsoft.com/office/drawing/2014/main" id="{685710B8-6B23-4349-8678-83A68FCF59B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675678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B8094F-B46B-4566-9336-0F1FE485F1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401861107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kt 44" hidden="1">
            <a:extLst>
              <a:ext uri="{FF2B5EF4-FFF2-40B4-BE49-F238E27FC236}">
                <a16:creationId xmlns:a16="http://schemas.microsoft.com/office/drawing/2014/main" id="{632371E0-8D9B-40DE-A7AA-1DFB020521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78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6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5" name="Objekt 44" hidden="1">
                        <a:extLst>
                          <a:ext uri="{FF2B5EF4-FFF2-40B4-BE49-F238E27FC236}">
                            <a16:creationId xmlns:a16="http://schemas.microsoft.com/office/drawing/2014/main" id="{632371E0-8D9B-40DE-A7AA-1DFB02052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A86B2F-F72C-40BC-8A91-79460E87E36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DB4F47-D69E-40AB-8830-113797A9AC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re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D372BD-DB94-432D-90DB-99008902B9B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DBF1AC9-3B34-459E-8459-26DE6084B2D7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D76792-CA7C-4878-8A5D-E5489AD2AA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9</a:t>
            </a:fld>
            <a:endParaRPr lang="de-DE" dirty="0"/>
          </a:p>
        </p:txBody>
      </p:sp>
      <p:sp>
        <p:nvSpPr>
          <p:cNvPr id="13" name="Rectangle 62">
            <a:extLst>
              <a:ext uri="{FF2B5EF4-FFF2-40B4-BE49-F238E27FC236}">
                <a16:creationId xmlns:a16="http://schemas.microsoft.com/office/drawing/2014/main" id="{891ACE81-8020-46A2-94B4-7C428DB8EFC3}"/>
              </a:ext>
            </a:extLst>
          </p:cNvPr>
          <p:cNvSpPr>
            <a:spLocks/>
          </p:cNvSpPr>
          <p:nvPr/>
        </p:nvSpPr>
        <p:spPr bwMode="gray">
          <a:xfrm>
            <a:off x="623889" y="2233693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R="0" lvl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4" name="Rectangle 63">
            <a:extLst>
              <a:ext uri="{FF2B5EF4-FFF2-40B4-BE49-F238E27FC236}">
                <a16:creationId xmlns:a16="http://schemas.microsoft.com/office/drawing/2014/main" id="{B5261460-9F1A-42D9-9F9E-577BA9052E81}"/>
              </a:ext>
            </a:extLst>
          </p:cNvPr>
          <p:cNvSpPr>
            <a:spLocks/>
          </p:cNvSpPr>
          <p:nvPr/>
        </p:nvSpPr>
        <p:spPr bwMode="gray">
          <a:xfrm>
            <a:off x="623889" y="4784467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5" name="Rectangle 64">
            <a:extLst>
              <a:ext uri="{FF2B5EF4-FFF2-40B4-BE49-F238E27FC236}">
                <a16:creationId xmlns:a16="http://schemas.microsoft.com/office/drawing/2014/main" id="{9704EF06-1279-48DB-98FC-203950438EAE}"/>
              </a:ext>
            </a:extLst>
          </p:cNvPr>
          <p:cNvSpPr>
            <a:spLocks/>
          </p:cNvSpPr>
          <p:nvPr/>
        </p:nvSpPr>
        <p:spPr bwMode="gray">
          <a:xfrm>
            <a:off x="8708571" y="2233693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6" name="Rectangle 65">
            <a:extLst>
              <a:ext uri="{FF2B5EF4-FFF2-40B4-BE49-F238E27FC236}">
                <a16:creationId xmlns:a16="http://schemas.microsoft.com/office/drawing/2014/main" id="{D8D15F18-9F5E-4271-98EC-26791861A5F7}"/>
              </a:ext>
            </a:extLst>
          </p:cNvPr>
          <p:cNvSpPr>
            <a:spLocks/>
          </p:cNvSpPr>
          <p:nvPr/>
        </p:nvSpPr>
        <p:spPr bwMode="gray">
          <a:xfrm>
            <a:off x="8708571" y="4784467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004AD62-187C-4CE7-B4ED-8941663FC7BF}"/>
              </a:ext>
            </a:extLst>
          </p:cNvPr>
          <p:cNvCxnSpPr>
            <a:cxnSpLocks/>
          </p:cNvCxnSpPr>
          <p:nvPr/>
        </p:nvCxnSpPr>
        <p:spPr bwMode="gray">
          <a:xfrm>
            <a:off x="623888" y="3950494"/>
            <a:ext cx="330041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E221ABD-A70D-41CA-9565-0444C42221EA}"/>
              </a:ext>
            </a:extLst>
          </p:cNvPr>
          <p:cNvCxnSpPr>
            <a:cxnSpLocks/>
          </p:cNvCxnSpPr>
          <p:nvPr/>
        </p:nvCxnSpPr>
        <p:spPr bwMode="gray">
          <a:xfrm>
            <a:off x="8267700" y="3950494"/>
            <a:ext cx="319246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F625CB49-7DDC-463C-9D8B-4221EEFD8512}"/>
              </a:ext>
            </a:extLst>
          </p:cNvPr>
          <p:cNvGrpSpPr>
            <a:grpSpLocks/>
          </p:cNvGrpSpPr>
          <p:nvPr/>
        </p:nvGrpSpPr>
        <p:grpSpPr bwMode="gray">
          <a:xfrm>
            <a:off x="4076700" y="1841776"/>
            <a:ext cx="4038600" cy="4040414"/>
            <a:chOff x="6278546" y="1610664"/>
            <a:chExt cx="2333258" cy="2334307"/>
          </a:xfrm>
          <a:solidFill>
            <a:srgbClr val="E4E4E4"/>
          </a:solidFill>
        </p:grpSpPr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4E5247CB-979D-41B6-B234-A35CF120AF5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78546" y="2608115"/>
              <a:ext cx="1113694" cy="1334780"/>
            </a:xfrm>
            <a:custGeom>
              <a:avLst/>
              <a:gdLst>
                <a:gd name="T0" fmla="*/ 312 w 1073"/>
                <a:gd name="T1" fmla="*/ 0 h 1286"/>
                <a:gd name="T2" fmla="*/ 626 w 1073"/>
                <a:gd name="T3" fmla="*/ 184 h 1286"/>
                <a:gd name="T4" fmla="*/ 638 w 1073"/>
                <a:gd name="T5" fmla="*/ 266 h 1286"/>
                <a:gd name="T6" fmla="*/ 659 w 1073"/>
                <a:gd name="T7" fmla="*/ 340 h 1286"/>
                <a:gd name="T8" fmla="*/ 694 w 1073"/>
                <a:gd name="T9" fmla="*/ 413 h 1286"/>
                <a:gd name="T10" fmla="*/ 738 w 1073"/>
                <a:gd name="T11" fmla="*/ 475 h 1286"/>
                <a:gd name="T12" fmla="*/ 789 w 1073"/>
                <a:gd name="T13" fmla="*/ 531 h 1286"/>
                <a:gd name="T14" fmla="*/ 852 w 1073"/>
                <a:gd name="T15" fmla="*/ 580 h 1286"/>
                <a:gd name="T16" fmla="*/ 919 w 1073"/>
                <a:gd name="T17" fmla="*/ 617 h 1286"/>
                <a:gd name="T18" fmla="*/ 994 w 1073"/>
                <a:gd name="T19" fmla="*/ 643 h 1286"/>
                <a:gd name="T20" fmla="*/ 1073 w 1073"/>
                <a:gd name="T21" fmla="*/ 659 h 1286"/>
                <a:gd name="T22" fmla="*/ 887 w 1073"/>
                <a:gd name="T23" fmla="*/ 976 h 1286"/>
                <a:gd name="T24" fmla="*/ 1071 w 1073"/>
                <a:gd name="T25" fmla="*/ 1286 h 1286"/>
                <a:gd name="T26" fmla="*/ 945 w 1073"/>
                <a:gd name="T27" fmla="*/ 1274 h 1286"/>
                <a:gd name="T28" fmla="*/ 826 w 1073"/>
                <a:gd name="T29" fmla="*/ 1248 h 1286"/>
                <a:gd name="T30" fmla="*/ 712 w 1073"/>
                <a:gd name="T31" fmla="*/ 1209 h 1286"/>
                <a:gd name="T32" fmla="*/ 603 w 1073"/>
                <a:gd name="T33" fmla="*/ 1160 h 1286"/>
                <a:gd name="T34" fmla="*/ 500 w 1073"/>
                <a:gd name="T35" fmla="*/ 1097 h 1286"/>
                <a:gd name="T36" fmla="*/ 405 w 1073"/>
                <a:gd name="T37" fmla="*/ 1027 h 1286"/>
                <a:gd name="T38" fmla="*/ 319 w 1073"/>
                <a:gd name="T39" fmla="*/ 946 h 1286"/>
                <a:gd name="T40" fmla="*/ 242 w 1073"/>
                <a:gd name="T41" fmla="*/ 857 h 1286"/>
                <a:gd name="T42" fmla="*/ 172 w 1073"/>
                <a:gd name="T43" fmla="*/ 759 h 1286"/>
                <a:gd name="T44" fmla="*/ 114 w 1073"/>
                <a:gd name="T45" fmla="*/ 657 h 1286"/>
                <a:gd name="T46" fmla="*/ 68 w 1073"/>
                <a:gd name="T47" fmla="*/ 545 h 1286"/>
                <a:gd name="T48" fmla="*/ 33 w 1073"/>
                <a:gd name="T49" fmla="*/ 429 h 1286"/>
                <a:gd name="T50" fmla="*/ 9 w 1073"/>
                <a:gd name="T51" fmla="*/ 308 h 1286"/>
                <a:gd name="T52" fmla="*/ 0 w 1073"/>
                <a:gd name="T53" fmla="*/ 184 h 1286"/>
                <a:gd name="T54" fmla="*/ 312 w 1073"/>
                <a:gd name="T55" fmla="*/ 0 h 1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3" h="1286">
                  <a:moveTo>
                    <a:pt x="312" y="0"/>
                  </a:moveTo>
                  <a:lnTo>
                    <a:pt x="626" y="184"/>
                  </a:lnTo>
                  <a:lnTo>
                    <a:pt x="638" y="266"/>
                  </a:lnTo>
                  <a:lnTo>
                    <a:pt x="659" y="340"/>
                  </a:lnTo>
                  <a:lnTo>
                    <a:pt x="694" y="413"/>
                  </a:lnTo>
                  <a:lnTo>
                    <a:pt x="738" y="475"/>
                  </a:lnTo>
                  <a:lnTo>
                    <a:pt x="789" y="531"/>
                  </a:lnTo>
                  <a:lnTo>
                    <a:pt x="852" y="580"/>
                  </a:lnTo>
                  <a:lnTo>
                    <a:pt x="919" y="617"/>
                  </a:lnTo>
                  <a:lnTo>
                    <a:pt x="994" y="643"/>
                  </a:lnTo>
                  <a:lnTo>
                    <a:pt x="1073" y="659"/>
                  </a:lnTo>
                  <a:lnTo>
                    <a:pt x="887" y="976"/>
                  </a:lnTo>
                  <a:lnTo>
                    <a:pt x="1071" y="1286"/>
                  </a:lnTo>
                  <a:lnTo>
                    <a:pt x="945" y="1274"/>
                  </a:lnTo>
                  <a:lnTo>
                    <a:pt x="826" y="1248"/>
                  </a:lnTo>
                  <a:lnTo>
                    <a:pt x="712" y="1209"/>
                  </a:lnTo>
                  <a:lnTo>
                    <a:pt x="603" y="1160"/>
                  </a:lnTo>
                  <a:lnTo>
                    <a:pt x="500" y="1097"/>
                  </a:lnTo>
                  <a:lnTo>
                    <a:pt x="405" y="1027"/>
                  </a:lnTo>
                  <a:lnTo>
                    <a:pt x="319" y="946"/>
                  </a:lnTo>
                  <a:lnTo>
                    <a:pt x="242" y="857"/>
                  </a:lnTo>
                  <a:lnTo>
                    <a:pt x="172" y="759"/>
                  </a:lnTo>
                  <a:lnTo>
                    <a:pt x="114" y="657"/>
                  </a:lnTo>
                  <a:lnTo>
                    <a:pt x="68" y="545"/>
                  </a:lnTo>
                  <a:lnTo>
                    <a:pt x="33" y="429"/>
                  </a:lnTo>
                  <a:lnTo>
                    <a:pt x="9" y="308"/>
                  </a:lnTo>
                  <a:lnTo>
                    <a:pt x="0" y="184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FFCAA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A7A51193-CCF9-4172-8D1F-620960247105}"/>
                </a:ext>
              </a:extLst>
            </p:cNvPr>
            <p:cNvSpPr>
              <a:spLocks/>
            </p:cNvSpPr>
            <p:nvPr/>
          </p:nvSpPr>
          <p:spPr bwMode="gray">
            <a:xfrm>
              <a:off x="7275993" y="2831271"/>
              <a:ext cx="1335811" cy="1113700"/>
            </a:xfrm>
            <a:custGeom>
              <a:avLst/>
              <a:gdLst>
                <a:gd name="T0" fmla="*/ 659 w 1287"/>
                <a:gd name="T1" fmla="*/ 0 h 1073"/>
                <a:gd name="T2" fmla="*/ 975 w 1287"/>
                <a:gd name="T3" fmla="*/ 186 h 1073"/>
                <a:gd name="T4" fmla="*/ 1287 w 1287"/>
                <a:gd name="T5" fmla="*/ 4 h 1073"/>
                <a:gd name="T6" fmla="*/ 1273 w 1287"/>
                <a:gd name="T7" fmla="*/ 128 h 1073"/>
                <a:gd name="T8" fmla="*/ 1248 w 1287"/>
                <a:gd name="T9" fmla="*/ 246 h 1073"/>
                <a:gd name="T10" fmla="*/ 1210 w 1287"/>
                <a:gd name="T11" fmla="*/ 361 h 1073"/>
                <a:gd name="T12" fmla="*/ 1159 w 1287"/>
                <a:gd name="T13" fmla="*/ 470 h 1073"/>
                <a:gd name="T14" fmla="*/ 1099 w 1287"/>
                <a:gd name="T15" fmla="*/ 572 h 1073"/>
                <a:gd name="T16" fmla="*/ 1027 w 1287"/>
                <a:gd name="T17" fmla="*/ 668 h 1073"/>
                <a:gd name="T18" fmla="*/ 947 w 1287"/>
                <a:gd name="T19" fmla="*/ 754 h 1073"/>
                <a:gd name="T20" fmla="*/ 859 w 1287"/>
                <a:gd name="T21" fmla="*/ 833 h 1073"/>
                <a:gd name="T22" fmla="*/ 761 w 1287"/>
                <a:gd name="T23" fmla="*/ 901 h 1073"/>
                <a:gd name="T24" fmla="*/ 657 w 1287"/>
                <a:gd name="T25" fmla="*/ 959 h 1073"/>
                <a:gd name="T26" fmla="*/ 547 w 1287"/>
                <a:gd name="T27" fmla="*/ 1005 h 1073"/>
                <a:gd name="T28" fmla="*/ 431 w 1287"/>
                <a:gd name="T29" fmla="*/ 1040 h 1073"/>
                <a:gd name="T30" fmla="*/ 310 w 1287"/>
                <a:gd name="T31" fmla="*/ 1064 h 1073"/>
                <a:gd name="T32" fmla="*/ 184 w 1287"/>
                <a:gd name="T33" fmla="*/ 1073 h 1073"/>
                <a:gd name="T34" fmla="*/ 0 w 1287"/>
                <a:gd name="T35" fmla="*/ 761 h 1073"/>
                <a:gd name="T36" fmla="*/ 186 w 1287"/>
                <a:gd name="T37" fmla="*/ 447 h 1073"/>
                <a:gd name="T38" fmla="*/ 266 w 1287"/>
                <a:gd name="T39" fmla="*/ 437 h 1073"/>
                <a:gd name="T40" fmla="*/ 342 w 1287"/>
                <a:gd name="T41" fmla="*/ 414 h 1073"/>
                <a:gd name="T42" fmla="*/ 412 w 1287"/>
                <a:gd name="T43" fmla="*/ 379 h 1073"/>
                <a:gd name="T44" fmla="*/ 477 w 1287"/>
                <a:gd name="T45" fmla="*/ 335 h 1073"/>
                <a:gd name="T46" fmla="*/ 533 w 1287"/>
                <a:gd name="T47" fmla="*/ 284 h 1073"/>
                <a:gd name="T48" fmla="*/ 580 w 1287"/>
                <a:gd name="T49" fmla="*/ 221 h 1073"/>
                <a:gd name="T50" fmla="*/ 619 w 1287"/>
                <a:gd name="T51" fmla="*/ 153 h 1073"/>
                <a:gd name="T52" fmla="*/ 645 w 1287"/>
                <a:gd name="T53" fmla="*/ 79 h 1073"/>
                <a:gd name="T54" fmla="*/ 659 w 1287"/>
                <a:gd name="T55" fmla="*/ 0 h 1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7" h="1073">
                  <a:moveTo>
                    <a:pt x="659" y="0"/>
                  </a:moveTo>
                  <a:lnTo>
                    <a:pt x="975" y="186"/>
                  </a:lnTo>
                  <a:lnTo>
                    <a:pt x="1287" y="4"/>
                  </a:lnTo>
                  <a:lnTo>
                    <a:pt x="1273" y="128"/>
                  </a:lnTo>
                  <a:lnTo>
                    <a:pt x="1248" y="246"/>
                  </a:lnTo>
                  <a:lnTo>
                    <a:pt x="1210" y="361"/>
                  </a:lnTo>
                  <a:lnTo>
                    <a:pt x="1159" y="470"/>
                  </a:lnTo>
                  <a:lnTo>
                    <a:pt x="1099" y="572"/>
                  </a:lnTo>
                  <a:lnTo>
                    <a:pt x="1027" y="668"/>
                  </a:lnTo>
                  <a:lnTo>
                    <a:pt x="947" y="754"/>
                  </a:lnTo>
                  <a:lnTo>
                    <a:pt x="859" y="833"/>
                  </a:lnTo>
                  <a:lnTo>
                    <a:pt x="761" y="901"/>
                  </a:lnTo>
                  <a:lnTo>
                    <a:pt x="657" y="959"/>
                  </a:lnTo>
                  <a:lnTo>
                    <a:pt x="547" y="1005"/>
                  </a:lnTo>
                  <a:lnTo>
                    <a:pt x="431" y="1040"/>
                  </a:lnTo>
                  <a:lnTo>
                    <a:pt x="310" y="1064"/>
                  </a:lnTo>
                  <a:lnTo>
                    <a:pt x="184" y="1073"/>
                  </a:lnTo>
                  <a:lnTo>
                    <a:pt x="0" y="761"/>
                  </a:lnTo>
                  <a:lnTo>
                    <a:pt x="186" y="447"/>
                  </a:lnTo>
                  <a:lnTo>
                    <a:pt x="266" y="437"/>
                  </a:lnTo>
                  <a:lnTo>
                    <a:pt x="342" y="414"/>
                  </a:lnTo>
                  <a:lnTo>
                    <a:pt x="412" y="379"/>
                  </a:lnTo>
                  <a:lnTo>
                    <a:pt x="477" y="335"/>
                  </a:lnTo>
                  <a:lnTo>
                    <a:pt x="533" y="284"/>
                  </a:lnTo>
                  <a:lnTo>
                    <a:pt x="580" y="221"/>
                  </a:lnTo>
                  <a:lnTo>
                    <a:pt x="619" y="153"/>
                  </a:lnTo>
                  <a:lnTo>
                    <a:pt x="645" y="79"/>
                  </a:lnTo>
                  <a:lnTo>
                    <a:pt x="659" y="0"/>
                  </a:lnTo>
                  <a:close/>
                </a:path>
              </a:pathLst>
            </a:custGeom>
            <a:solidFill>
              <a:srgbClr val="FFA9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261A65D-C200-460E-94BD-E8AACF48645D}"/>
                </a:ext>
              </a:extLst>
            </p:cNvPr>
            <p:cNvSpPr>
              <a:spLocks/>
            </p:cNvSpPr>
            <p:nvPr/>
          </p:nvSpPr>
          <p:spPr bwMode="gray">
            <a:xfrm>
              <a:off x="7501222" y="1610664"/>
              <a:ext cx="1110581" cy="1335818"/>
            </a:xfrm>
            <a:custGeom>
              <a:avLst/>
              <a:gdLst>
                <a:gd name="T0" fmla="*/ 2 w 1070"/>
                <a:gd name="T1" fmla="*/ 0 h 1287"/>
                <a:gd name="T2" fmla="*/ 125 w 1070"/>
                <a:gd name="T3" fmla="*/ 14 h 1287"/>
                <a:gd name="T4" fmla="*/ 246 w 1070"/>
                <a:gd name="T5" fmla="*/ 40 h 1287"/>
                <a:gd name="T6" fmla="*/ 360 w 1070"/>
                <a:gd name="T7" fmla="*/ 77 h 1287"/>
                <a:gd name="T8" fmla="*/ 470 w 1070"/>
                <a:gd name="T9" fmla="*/ 128 h 1287"/>
                <a:gd name="T10" fmla="*/ 572 w 1070"/>
                <a:gd name="T11" fmla="*/ 189 h 1287"/>
                <a:gd name="T12" fmla="*/ 665 w 1070"/>
                <a:gd name="T13" fmla="*/ 261 h 1287"/>
                <a:gd name="T14" fmla="*/ 754 w 1070"/>
                <a:gd name="T15" fmla="*/ 340 h 1287"/>
                <a:gd name="T16" fmla="*/ 831 w 1070"/>
                <a:gd name="T17" fmla="*/ 431 h 1287"/>
                <a:gd name="T18" fmla="*/ 900 w 1070"/>
                <a:gd name="T19" fmla="*/ 526 h 1287"/>
                <a:gd name="T20" fmla="*/ 959 w 1070"/>
                <a:gd name="T21" fmla="*/ 631 h 1287"/>
                <a:gd name="T22" fmla="*/ 1005 w 1070"/>
                <a:gd name="T23" fmla="*/ 740 h 1287"/>
                <a:gd name="T24" fmla="*/ 1040 w 1070"/>
                <a:gd name="T25" fmla="*/ 857 h 1287"/>
                <a:gd name="T26" fmla="*/ 1061 w 1070"/>
                <a:gd name="T27" fmla="*/ 978 h 1287"/>
                <a:gd name="T28" fmla="*/ 1070 w 1070"/>
                <a:gd name="T29" fmla="*/ 1104 h 1287"/>
                <a:gd name="T30" fmla="*/ 758 w 1070"/>
                <a:gd name="T31" fmla="*/ 1287 h 1287"/>
                <a:gd name="T32" fmla="*/ 444 w 1070"/>
                <a:gd name="T33" fmla="*/ 1104 h 1287"/>
                <a:gd name="T34" fmla="*/ 435 w 1070"/>
                <a:gd name="T35" fmla="*/ 1022 h 1287"/>
                <a:gd name="T36" fmla="*/ 412 w 1070"/>
                <a:gd name="T37" fmla="*/ 945 h 1287"/>
                <a:gd name="T38" fmla="*/ 379 w 1070"/>
                <a:gd name="T39" fmla="*/ 875 h 1287"/>
                <a:gd name="T40" fmla="*/ 335 w 1070"/>
                <a:gd name="T41" fmla="*/ 810 h 1287"/>
                <a:gd name="T42" fmla="*/ 281 w 1070"/>
                <a:gd name="T43" fmla="*/ 754 h 1287"/>
                <a:gd name="T44" fmla="*/ 221 w 1070"/>
                <a:gd name="T45" fmla="*/ 708 h 1287"/>
                <a:gd name="T46" fmla="*/ 153 w 1070"/>
                <a:gd name="T47" fmla="*/ 670 h 1287"/>
                <a:gd name="T48" fmla="*/ 79 w 1070"/>
                <a:gd name="T49" fmla="*/ 643 h 1287"/>
                <a:gd name="T50" fmla="*/ 0 w 1070"/>
                <a:gd name="T51" fmla="*/ 629 h 1287"/>
                <a:gd name="T52" fmla="*/ 186 w 1070"/>
                <a:gd name="T53" fmla="*/ 312 h 1287"/>
                <a:gd name="T54" fmla="*/ 2 w 1070"/>
                <a:gd name="T55" fmla="*/ 0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0" h="1287">
                  <a:moveTo>
                    <a:pt x="2" y="0"/>
                  </a:moveTo>
                  <a:lnTo>
                    <a:pt x="125" y="14"/>
                  </a:lnTo>
                  <a:lnTo>
                    <a:pt x="246" y="40"/>
                  </a:lnTo>
                  <a:lnTo>
                    <a:pt x="360" y="77"/>
                  </a:lnTo>
                  <a:lnTo>
                    <a:pt x="470" y="128"/>
                  </a:lnTo>
                  <a:lnTo>
                    <a:pt x="572" y="189"/>
                  </a:lnTo>
                  <a:lnTo>
                    <a:pt x="665" y="261"/>
                  </a:lnTo>
                  <a:lnTo>
                    <a:pt x="754" y="340"/>
                  </a:lnTo>
                  <a:lnTo>
                    <a:pt x="831" y="431"/>
                  </a:lnTo>
                  <a:lnTo>
                    <a:pt x="900" y="526"/>
                  </a:lnTo>
                  <a:lnTo>
                    <a:pt x="959" y="631"/>
                  </a:lnTo>
                  <a:lnTo>
                    <a:pt x="1005" y="740"/>
                  </a:lnTo>
                  <a:lnTo>
                    <a:pt x="1040" y="857"/>
                  </a:lnTo>
                  <a:lnTo>
                    <a:pt x="1061" y="978"/>
                  </a:lnTo>
                  <a:lnTo>
                    <a:pt x="1070" y="1104"/>
                  </a:lnTo>
                  <a:lnTo>
                    <a:pt x="758" y="1287"/>
                  </a:lnTo>
                  <a:lnTo>
                    <a:pt x="444" y="1104"/>
                  </a:lnTo>
                  <a:lnTo>
                    <a:pt x="435" y="1022"/>
                  </a:lnTo>
                  <a:lnTo>
                    <a:pt x="412" y="945"/>
                  </a:lnTo>
                  <a:lnTo>
                    <a:pt x="379" y="875"/>
                  </a:lnTo>
                  <a:lnTo>
                    <a:pt x="335" y="810"/>
                  </a:lnTo>
                  <a:lnTo>
                    <a:pt x="281" y="754"/>
                  </a:lnTo>
                  <a:lnTo>
                    <a:pt x="221" y="708"/>
                  </a:lnTo>
                  <a:lnTo>
                    <a:pt x="153" y="670"/>
                  </a:lnTo>
                  <a:lnTo>
                    <a:pt x="79" y="643"/>
                  </a:lnTo>
                  <a:lnTo>
                    <a:pt x="0" y="629"/>
                  </a:lnTo>
                  <a:lnTo>
                    <a:pt x="186" y="31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96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5489B170-1641-4CEF-9EE9-FE3E5A5FA3C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80621" y="1610664"/>
              <a:ext cx="1333735" cy="1111625"/>
            </a:xfrm>
            <a:custGeom>
              <a:avLst/>
              <a:gdLst>
                <a:gd name="T0" fmla="*/ 1101 w 1285"/>
                <a:gd name="T1" fmla="*/ 0 h 1071"/>
                <a:gd name="T2" fmla="*/ 1285 w 1285"/>
                <a:gd name="T3" fmla="*/ 312 h 1071"/>
                <a:gd name="T4" fmla="*/ 1101 w 1285"/>
                <a:gd name="T5" fmla="*/ 626 h 1071"/>
                <a:gd name="T6" fmla="*/ 1022 w 1285"/>
                <a:gd name="T7" fmla="*/ 636 h 1071"/>
                <a:gd name="T8" fmla="*/ 945 w 1285"/>
                <a:gd name="T9" fmla="*/ 659 h 1071"/>
                <a:gd name="T10" fmla="*/ 875 w 1285"/>
                <a:gd name="T11" fmla="*/ 691 h 1071"/>
                <a:gd name="T12" fmla="*/ 810 w 1285"/>
                <a:gd name="T13" fmla="*/ 736 h 1071"/>
                <a:gd name="T14" fmla="*/ 754 w 1285"/>
                <a:gd name="T15" fmla="*/ 789 h 1071"/>
                <a:gd name="T16" fmla="*/ 706 w 1285"/>
                <a:gd name="T17" fmla="*/ 850 h 1071"/>
                <a:gd name="T18" fmla="*/ 668 w 1285"/>
                <a:gd name="T19" fmla="*/ 917 h 1071"/>
                <a:gd name="T20" fmla="*/ 643 w 1285"/>
                <a:gd name="T21" fmla="*/ 992 h 1071"/>
                <a:gd name="T22" fmla="*/ 626 w 1285"/>
                <a:gd name="T23" fmla="*/ 1071 h 1071"/>
                <a:gd name="T24" fmla="*/ 310 w 1285"/>
                <a:gd name="T25" fmla="*/ 885 h 1071"/>
                <a:gd name="T26" fmla="*/ 0 w 1285"/>
                <a:gd name="T27" fmla="*/ 1069 h 1071"/>
                <a:gd name="T28" fmla="*/ 12 w 1285"/>
                <a:gd name="T29" fmla="*/ 945 h 1071"/>
                <a:gd name="T30" fmla="*/ 40 w 1285"/>
                <a:gd name="T31" fmla="*/ 824 h 1071"/>
                <a:gd name="T32" fmla="*/ 77 w 1285"/>
                <a:gd name="T33" fmla="*/ 710 h 1071"/>
                <a:gd name="T34" fmla="*/ 128 w 1285"/>
                <a:gd name="T35" fmla="*/ 601 h 1071"/>
                <a:gd name="T36" fmla="*/ 189 w 1285"/>
                <a:gd name="T37" fmla="*/ 498 h 1071"/>
                <a:gd name="T38" fmla="*/ 259 w 1285"/>
                <a:gd name="T39" fmla="*/ 405 h 1071"/>
                <a:gd name="T40" fmla="*/ 340 w 1285"/>
                <a:gd name="T41" fmla="*/ 317 h 1071"/>
                <a:gd name="T42" fmla="*/ 429 w 1285"/>
                <a:gd name="T43" fmla="*/ 240 h 1071"/>
                <a:gd name="T44" fmla="*/ 526 w 1285"/>
                <a:gd name="T45" fmla="*/ 172 h 1071"/>
                <a:gd name="T46" fmla="*/ 629 w 1285"/>
                <a:gd name="T47" fmla="*/ 114 h 1071"/>
                <a:gd name="T48" fmla="*/ 741 w 1285"/>
                <a:gd name="T49" fmla="*/ 65 h 1071"/>
                <a:gd name="T50" fmla="*/ 857 w 1285"/>
                <a:gd name="T51" fmla="*/ 30 h 1071"/>
                <a:gd name="T52" fmla="*/ 978 w 1285"/>
                <a:gd name="T53" fmla="*/ 9 h 1071"/>
                <a:gd name="T54" fmla="*/ 1101 w 1285"/>
                <a:gd name="T55" fmla="*/ 0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5" h="1071">
                  <a:moveTo>
                    <a:pt x="1101" y="0"/>
                  </a:moveTo>
                  <a:lnTo>
                    <a:pt x="1285" y="312"/>
                  </a:lnTo>
                  <a:lnTo>
                    <a:pt x="1101" y="626"/>
                  </a:lnTo>
                  <a:lnTo>
                    <a:pt x="1022" y="636"/>
                  </a:lnTo>
                  <a:lnTo>
                    <a:pt x="945" y="659"/>
                  </a:lnTo>
                  <a:lnTo>
                    <a:pt x="875" y="691"/>
                  </a:lnTo>
                  <a:lnTo>
                    <a:pt x="810" y="736"/>
                  </a:lnTo>
                  <a:lnTo>
                    <a:pt x="754" y="789"/>
                  </a:lnTo>
                  <a:lnTo>
                    <a:pt x="706" y="850"/>
                  </a:lnTo>
                  <a:lnTo>
                    <a:pt x="668" y="917"/>
                  </a:lnTo>
                  <a:lnTo>
                    <a:pt x="643" y="992"/>
                  </a:lnTo>
                  <a:lnTo>
                    <a:pt x="626" y="1071"/>
                  </a:lnTo>
                  <a:lnTo>
                    <a:pt x="310" y="885"/>
                  </a:lnTo>
                  <a:lnTo>
                    <a:pt x="0" y="1069"/>
                  </a:lnTo>
                  <a:lnTo>
                    <a:pt x="12" y="945"/>
                  </a:lnTo>
                  <a:lnTo>
                    <a:pt x="40" y="824"/>
                  </a:lnTo>
                  <a:lnTo>
                    <a:pt x="77" y="710"/>
                  </a:lnTo>
                  <a:lnTo>
                    <a:pt x="128" y="601"/>
                  </a:lnTo>
                  <a:lnTo>
                    <a:pt x="189" y="498"/>
                  </a:lnTo>
                  <a:lnTo>
                    <a:pt x="259" y="405"/>
                  </a:lnTo>
                  <a:lnTo>
                    <a:pt x="340" y="317"/>
                  </a:lnTo>
                  <a:lnTo>
                    <a:pt x="429" y="240"/>
                  </a:lnTo>
                  <a:lnTo>
                    <a:pt x="526" y="172"/>
                  </a:lnTo>
                  <a:lnTo>
                    <a:pt x="629" y="114"/>
                  </a:lnTo>
                  <a:lnTo>
                    <a:pt x="741" y="65"/>
                  </a:lnTo>
                  <a:lnTo>
                    <a:pt x="857" y="30"/>
                  </a:lnTo>
                  <a:lnTo>
                    <a:pt x="978" y="9"/>
                  </a:lnTo>
                  <a:lnTo>
                    <a:pt x="1101" y="0"/>
                  </a:lnTo>
                  <a:close/>
                </a:path>
              </a:pathLst>
            </a:custGeom>
            <a:solidFill>
              <a:srgbClr val="FF7E2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50" name="Textfeld 49">
            <a:extLst>
              <a:ext uri="{FF2B5EF4-FFF2-40B4-BE49-F238E27FC236}">
                <a16:creationId xmlns:a16="http://schemas.microsoft.com/office/drawing/2014/main" id="{35BE4560-41E3-4FEB-9EF0-CA95E7ED6045}"/>
              </a:ext>
            </a:extLst>
          </p:cNvPr>
          <p:cNvSpPr txBox="1">
            <a:spLocks/>
          </p:cNvSpPr>
          <p:nvPr/>
        </p:nvSpPr>
        <p:spPr bwMode="gray">
          <a:xfrm>
            <a:off x="4986467" y="2280440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3B8725D2-B4FE-4A85-ABF9-9B224B544A5D}"/>
              </a:ext>
            </a:extLst>
          </p:cNvPr>
          <p:cNvSpPr txBox="1">
            <a:spLocks/>
          </p:cNvSpPr>
          <p:nvPr/>
        </p:nvSpPr>
        <p:spPr bwMode="gray">
          <a:xfrm>
            <a:off x="7059110" y="2546947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1AA82E45-4967-4F42-AE8C-2372BD35CF6E}"/>
              </a:ext>
            </a:extLst>
          </p:cNvPr>
          <p:cNvSpPr txBox="1">
            <a:spLocks/>
          </p:cNvSpPr>
          <p:nvPr/>
        </p:nvSpPr>
        <p:spPr bwMode="gray">
          <a:xfrm>
            <a:off x="6789227" y="4577533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41A2461-6D7E-4D93-8D0F-C1CEB014AD45}"/>
              </a:ext>
            </a:extLst>
          </p:cNvPr>
          <p:cNvSpPr txBox="1">
            <a:spLocks/>
          </p:cNvSpPr>
          <p:nvPr/>
        </p:nvSpPr>
        <p:spPr bwMode="gray">
          <a:xfrm>
            <a:off x="4701057" y="4219586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accent1"/>
                </a:solidFill>
                <a:latin typeface="+mj-lt"/>
              </a:rPr>
              <a:t>4</a:t>
            </a:r>
          </a:p>
        </p:txBody>
      </p:sp>
      <p:sp>
        <p:nvSpPr>
          <p:cNvPr id="26" name="Rectangle 64">
            <a:extLst>
              <a:ext uri="{FF2B5EF4-FFF2-40B4-BE49-F238E27FC236}">
                <a16:creationId xmlns:a16="http://schemas.microsoft.com/office/drawing/2014/main" id="{9F8055D1-DBD9-461F-9FE2-3FF1760F4EF2}"/>
              </a:ext>
            </a:extLst>
          </p:cNvPr>
          <p:cNvSpPr>
            <a:spLocks/>
          </p:cNvSpPr>
          <p:nvPr/>
        </p:nvSpPr>
        <p:spPr bwMode="gray">
          <a:xfrm>
            <a:off x="5379465" y="3584984"/>
            <a:ext cx="1425712" cy="55399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dolor sit amet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Rectangle: Rounded Corners 81">
            <a:extLst>
              <a:ext uri="{FF2B5EF4-FFF2-40B4-BE49-F238E27FC236}">
                <a16:creationId xmlns:a16="http://schemas.microsoft.com/office/drawing/2014/main" id="{07702BE3-629A-44C9-8F7A-9939CC50AA63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Rectangle: Rounded Corners 81">
            <a:extLst>
              <a:ext uri="{FF2B5EF4-FFF2-40B4-BE49-F238E27FC236}">
                <a16:creationId xmlns:a16="http://schemas.microsoft.com/office/drawing/2014/main" id="{DC0C8616-E126-4D1B-AF90-3C8E4A234ECB}"/>
              </a:ext>
            </a:extLst>
          </p:cNvPr>
          <p:cNvSpPr>
            <a:spLocks/>
          </p:cNvSpPr>
          <p:nvPr/>
        </p:nvSpPr>
        <p:spPr bwMode="gray">
          <a:xfrm>
            <a:off x="8714667" y="1594401"/>
            <a:ext cx="533430" cy="533430"/>
          </a:xfrm>
          <a:prstGeom prst="rect">
            <a:avLst/>
          </a:prstGeom>
          <a:solidFill>
            <a:srgbClr val="FF96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: Rounded Corners 81">
            <a:extLst>
              <a:ext uri="{FF2B5EF4-FFF2-40B4-BE49-F238E27FC236}">
                <a16:creationId xmlns:a16="http://schemas.microsoft.com/office/drawing/2014/main" id="{DEE5C7A9-7490-44D2-8C28-CBD38CDAF49A}"/>
              </a:ext>
            </a:extLst>
          </p:cNvPr>
          <p:cNvSpPr>
            <a:spLocks/>
          </p:cNvSpPr>
          <p:nvPr/>
        </p:nvSpPr>
        <p:spPr bwMode="gray">
          <a:xfrm>
            <a:off x="8714667" y="4138982"/>
            <a:ext cx="533430" cy="533430"/>
          </a:xfrm>
          <a:prstGeom prst="rect">
            <a:avLst/>
          </a:prstGeom>
          <a:solidFill>
            <a:srgbClr val="FFA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Rectangle: Rounded Corners 81">
            <a:extLst>
              <a:ext uri="{FF2B5EF4-FFF2-40B4-BE49-F238E27FC236}">
                <a16:creationId xmlns:a16="http://schemas.microsoft.com/office/drawing/2014/main" id="{EB9534D6-DE99-48FF-910D-49DE76D0B1F7}"/>
              </a:ext>
            </a:extLst>
          </p:cNvPr>
          <p:cNvSpPr>
            <a:spLocks/>
          </p:cNvSpPr>
          <p:nvPr/>
        </p:nvSpPr>
        <p:spPr bwMode="gray">
          <a:xfrm>
            <a:off x="635025" y="4138982"/>
            <a:ext cx="533430" cy="533430"/>
          </a:xfrm>
          <a:prstGeom prst="rect">
            <a:avLst/>
          </a:prstGeom>
          <a:solidFill>
            <a:srgbClr val="FFC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Shape 2534">
            <a:extLst>
              <a:ext uri="{FF2B5EF4-FFF2-40B4-BE49-F238E27FC236}">
                <a16:creationId xmlns:a16="http://schemas.microsoft.com/office/drawing/2014/main" id="{4AE8EA3D-2FF1-4DAD-BDA0-18BB84F075D5}"/>
              </a:ext>
            </a:extLst>
          </p:cNvPr>
          <p:cNvSpPr>
            <a:spLocks/>
          </p:cNvSpPr>
          <p:nvPr/>
        </p:nvSpPr>
        <p:spPr bwMode="gray">
          <a:xfrm>
            <a:off x="8863091" y="4261114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46">
            <a:extLst>
              <a:ext uri="{FF2B5EF4-FFF2-40B4-BE49-F238E27FC236}">
                <a16:creationId xmlns:a16="http://schemas.microsoft.com/office/drawing/2014/main" id="{A9501911-CFC0-4758-9BE2-9D03E0FC1F54}"/>
              </a:ext>
            </a:extLst>
          </p:cNvPr>
          <p:cNvSpPr>
            <a:spLocks/>
          </p:cNvSpPr>
          <p:nvPr/>
        </p:nvSpPr>
        <p:spPr bwMode="gray">
          <a:xfrm>
            <a:off x="757162" y="174282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52">
            <a:extLst>
              <a:ext uri="{FF2B5EF4-FFF2-40B4-BE49-F238E27FC236}">
                <a16:creationId xmlns:a16="http://schemas.microsoft.com/office/drawing/2014/main" id="{10FB0342-95BB-4CCE-82E6-D469EF9088CD}"/>
              </a:ext>
            </a:extLst>
          </p:cNvPr>
          <p:cNvSpPr>
            <a:spLocks/>
          </p:cNvSpPr>
          <p:nvPr/>
        </p:nvSpPr>
        <p:spPr bwMode="gray">
          <a:xfrm>
            <a:off x="757162" y="4274262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91">
            <a:extLst>
              <a:ext uri="{FF2B5EF4-FFF2-40B4-BE49-F238E27FC236}">
                <a16:creationId xmlns:a16="http://schemas.microsoft.com/office/drawing/2014/main" id="{EA9D8F45-8189-4FD0-8D43-36E684D8D0EE}"/>
              </a:ext>
            </a:extLst>
          </p:cNvPr>
          <p:cNvSpPr>
            <a:spLocks/>
          </p:cNvSpPr>
          <p:nvPr/>
        </p:nvSpPr>
        <p:spPr bwMode="gray">
          <a:xfrm>
            <a:off x="8836804" y="171653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4B4ADC6-B2FB-48A9-8239-9059E2FC65E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1245982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50F2A1-C06B-DA97-2F19-7AD98431EE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locking </a:t>
            </a:r>
            <a:r>
              <a:rPr lang="de-DE" dirty="0" err="1"/>
              <a:t>vs</a:t>
            </a:r>
            <a:r>
              <a:rPr lang="de-DE" dirty="0"/>
              <a:t> non </a:t>
            </a:r>
            <a:r>
              <a:rPr lang="de-DE" dirty="0" err="1"/>
              <a:t>blocking</a:t>
            </a:r>
            <a:r>
              <a:rPr lang="de-DE" dirty="0"/>
              <a:t> IO – einfaches </a:t>
            </a:r>
            <a:r>
              <a:rPr lang="de-DE" dirty="0" err="1"/>
              <a:t>Bsp</a:t>
            </a:r>
            <a:r>
              <a:rPr lang="de-DE" dirty="0"/>
              <a:t>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3F4D644-7D84-DF3A-E838-A96578464F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8F3A345-C4AA-773D-C5B4-A1AC934E9D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184113-0618-1991-1D36-99263DC802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9AF7EC-CE25-796A-3C63-C5779B474B8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86CF422-9EDD-8BB6-5810-904FF10BA85E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locking </a:t>
            </a:r>
            <a:r>
              <a:rPr lang="de-DE" sz="1400" dirty="0" err="1"/>
              <a:t>vs</a:t>
            </a:r>
            <a:r>
              <a:rPr lang="de-DE" sz="1400" dirty="0"/>
              <a:t> non </a:t>
            </a:r>
            <a:r>
              <a:rPr lang="de-DE" sz="1400" dirty="0" err="1"/>
              <a:t>blocking</a:t>
            </a:r>
            <a:r>
              <a:rPr lang="de-DE" sz="1400" dirty="0"/>
              <a:t> IO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2"/>
              </a:rPr>
              <a:t>https://blog.codecentric.de/en/2019/04/explain-non-blocking-i-o-like-im-five/</a:t>
            </a: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 Passt das zu den anderen Folien? Oder zu viel IO Krams?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sym typeface="Wingdings" pitchFamily="2" charset="2"/>
              </a:rPr>
              <a:t>Eig</a:t>
            </a:r>
            <a:r>
              <a:rPr lang="de-DE" sz="1400" dirty="0">
                <a:sym typeface="Wingdings" pitchFamily="2" charset="2"/>
              </a:rPr>
              <a:t> schon gut mit der Folie hiernach?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2072B3-7642-3F40-46AD-8B8B84000E66}"/>
              </a:ext>
            </a:extLst>
          </p:cNvPr>
          <p:cNvSpPr/>
          <p:nvPr/>
        </p:nvSpPr>
        <p:spPr>
          <a:xfrm>
            <a:off x="9917723" y="123679"/>
            <a:ext cx="2180492" cy="1325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 err="1"/>
              <a:t>todo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063583982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960FD68-4196-4275-919F-56B15171E7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6869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8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960FD68-4196-4275-919F-56B15171E7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23BB85F2-16A5-4E07-9684-3092FF51BDCA}"/>
              </a:ext>
            </a:extLst>
          </p:cNvPr>
          <p:cNvCxnSpPr>
            <a:cxnSpLocks/>
          </p:cNvCxnSpPr>
          <p:nvPr/>
        </p:nvCxnSpPr>
        <p:spPr bwMode="gray">
          <a:xfrm>
            <a:off x="1321158" y="2527390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79FB3DB5-D704-4129-8749-035CE0F4BBF4}"/>
              </a:ext>
            </a:extLst>
          </p:cNvPr>
          <p:cNvCxnSpPr>
            <a:cxnSpLocks/>
          </p:cNvCxnSpPr>
          <p:nvPr/>
        </p:nvCxnSpPr>
        <p:spPr bwMode="gray">
          <a:xfrm>
            <a:off x="1321158" y="53036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A14C3415-B8A1-4337-8EA5-65FBFFF2C347}"/>
              </a:ext>
            </a:extLst>
          </p:cNvPr>
          <p:cNvCxnSpPr>
            <a:cxnSpLocks/>
          </p:cNvCxnSpPr>
          <p:nvPr/>
        </p:nvCxnSpPr>
        <p:spPr bwMode="gray">
          <a:xfrm>
            <a:off x="1321158" y="39064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8F153734-C35E-48F5-8A06-DBC581CE9895}"/>
              </a:ext>
            </a:extLst>
          </p:cNvPr>
          <p:cNvGrpSpPr/>
          <p:nvPr/>
        </p:nvGrpSpPr>
        <p:grpSpPr bwMode="gray">
          <a:xfrm>
            <a:off x="7307287" y="2527390"/>
            <a:ext cx="3452374" cy="2776217"/>
            <a:chOff x="7307286" y="2527390"/>
            <a:chExt cx="4152875" cy="2776217"/>
          </a:xfrm>
        </p:grpSpPr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BB8ADB2A-DEC1-4684-A8A4-B8B50D2CF65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2527390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634247AC-CFC1-442A-B1C2-63E0FD0231B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53036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3F566009-0E28-47E5-862A-F1375EAAB69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39064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9F400365-BB46-467C-B58D-744B2CFB6B8C}"/>
              </a:ext>
            </a:extLst>
          </p:cNvPr>
          <p:cNvGrpSpPr>
            <a:grpSpLocks/>
          </p:cNvGrpSpPr>
          <p:nvPr/>
        </p:nvGrpSpPr>
        <p:grpSpPr bwMode="gray">
          <a:xfrm>
            <a:off x="3938807" y="2059201"/>
            <a:ext cx="4266317" cy="3695286"/>
            <a:chOff x="3938807" y="2059201"/>
            <a:chExt cx="4266317" cy="3695286"/>
          </a:xfrm>
          <a:solidFill>
            <a:srgbClr val="E4E4E4"/>
          </a:solidFill>
        </p:grpSpPr>
        <p:sp>
          <p:nvSpPr>
            <p:cNvPr id="8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054911" y="2059201"/>
              <a:ext cx="1608238" cy="1848274"/>
            </a:xfrm>
            <a:custGeom>
              <a:avLst/>
              <a:gdLst>
                <a:gd name="connsiteX0" fmla="*/ 1083951 w 1608238"/>
                <a:gd name="connsiteY0" fmla="*/ 0 h 1848274"/>
                <a:gd name="connsiteX1" fmla="*/ 34110 w 1608238"/>
                <a:gd name="connsiteY1" fmla="*/ 0 h 1848274"/>
                <a:gd name="connsiteX2" fmla="*/ 0 w 1608238"/>
                <a:gd name="connsiteY2" fmla="*/ 0 h 1848274"/>
                <a:gd name="connsiteX3" fmla="*/ 17687 w 1608238"/>
                <a:gd name="connsiteY3" fmla="*/ 29057 h 1848274"/>
                <a:gd name="connsiteX4" fmla="*/ 541975 w 1608238"/>
                <a:gd name="connsiteY4" fmla="*/ 938666 h 1848274"/>
                <a:gd name="connsiteX5" fmla="*/ 1067527 w 1608238"/>
                <a:gd name="connsiteY5" fmla="*/ 1848275 h 1848274"/>
                <a:gd name="connsiteX6" fmla="*/ 1591816 w 1608238"/>
                <a:gd name="connsiteY6" fmla="*/ 938666 h 1848274"/>
                <a:gd name="connsiteX7" fmla="*/ 1608239 w 1608238"/>
                <a:gd name="connsiteY7" fmla="*/ 909609 h 184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8274">
                  <a:moveTo>
                    <a:pt x="1083951" y="0"/>
                  </a:moveTo>
                  <a:lnTo>
                    <a:pt x="34110" y="0"/>
                  </a:lnTo>
                  <a:lnTo>
                    <a:pt x="0" y="0"/>
                  </a:lnTo>
                  <a:lnTo>
                    <a:pt x="17687" y="29057"/>
                  </a:lnTo>
                  <a:lnTo>
                    <a:pt x="541975" y="938666"/>
                  </a:lnTo>
                  <a:lnTo>
                    <a:pt x="1067527" y="1848275"/>
                  </a:lnTo>
                  <a:lnTo>
                    <a:pt x="1591816" y="938666"/>
                  </a:lnTo>
                  <a:lnTo>
                    <a:pt x="1608239" y="909609"/>
                  </a:lnTo>
                  <a:close/>
                </a:path>
              </a:pathLst>
            </a:custGeom>
            <a:solidFill>
              <a:srgbClr val="F256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5547046" y="4815821"/>
              <a:ext cx="2133790" cy="938665"/>
            </a:xfrm>
            <a:custGeom>
              <a:avLst/>
              <a:gdLst>
                <a:gd name="connsiteX0" fmla="*/ 2099681 w 2133790"/>
                <a:gd name="connsiteY0" fmla="*/ 0 h 938665"/>
                <a:gd name="connsiteX1" fmla="*/ 1049840 w 2133790"/>
                <a:gd name="connsiteY1" fmla="*/ 0 h 938665"/>
                <a:gd name="connsiteX2" fmla="*/ 0 w 2133790"/>
                <a:gd name="connsiteY2" fmla="*/ 0 h 938665"/>
                <a:gd name="connsiteX3" fmla="*/ 525552 w 2133790"/>
                <a:gd name="connsiteY3" fmla="*/ 909609 h 938665"/>
                <a:gd name="connsiteX4" fmla="*/ 541975 w 2133790"/>
                <a:gd name="connsiteY4" fmla="*/ 938666 h 938665"/>
                <a:gd name="connsiteX5" fmla="*/ 1591816 w 2133790"/>
                <a:gd name="connsiteY5" fmla="*/ 938666 h 938665"/>
                <a:gd name="connsiteX6" fmla="*/ 2117368 w 2133790"/>
                <a:gd name="connsiteY6" fmla="*/ 29057 h 938665"/>
                <a:gd name="connsiteX7" fmla="*/ 2133791 w 2133790"/>
                <a:gd name="connsiteY7" fmla="*/ 0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2099681" y="0"/>
                  </a:moveTo>
                  <a:lnTo>
                    <a:pt x="1049840" y="0"/>
                  </a:lnTo>
                  <a:lnTo>
                    <a:pt x="0" y="0"/>
                  </a:lnTo>
                  <a:lnTo>
                    <a:pt x="525552" y="909609"/>
                  </a:lnTo>
                  <a:lnTo>
                    <a:pt x="541975" y="938666"/>
                  </a:lnTo>
                  <a:lnTo>
                    <a:pt x="1591816" y="938666"/>
                  </a:lnTo>
                  <a:lnTo>
                    <a:pt x="2117368" y="29057"/>
                  </a:lnTo>
                  <a:lnTo>
                    <a:pt x="2133791" y="0"/>
                  </a:lnTo>
                  <a:close/>
                </a:path>
              </a:pathLst>
            </a:custGeom>
            <a:solidFill>
              <a:srgbClr val="A22A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596886" y="2968810"/>
              <a:ext cx="1608238" cy="1847011"/>
            </a:xfrm>
            <a:custGeom>
              <a:avLst/>
              <a:gdLst>
                <a:gd name="connsiteX0" fmla="*/ 1083951 w 1608238"/>
                <a:gd name="connsiteY0" fmla="*/ 29057 h 1847011"/>
                <a:gd name="connsiteX1" fmla="*/ 1066264 w 1608238"/>
                <a:gd name="connsiteY1" fmla="*/ 0 h 1847011"/>
                <a:gd name="connsiteX2" fmla="*/ 1049840 w 1608238"/>
                <a:gd name="connsiteY2" fmla="*/ 29057 h 1847011"/>
                <a:gd name="connsiteX3" fmla="*/ 525552 w 1608238"/>
                <a:gd name="connsiteY3" fmla="*/ 938666 h 1847011"/>
                <a:gd name="connsiteX4" fmla="*/ 0 w 1608238"/>
                <a:gd name="connsiteY4" fmla="*/ 1847011 h 1847011"/>
                <a:gd name="connsiteX5" fmla="*/ 1049840 w 1608238"/>
                <a:gd name="connsiteY5" fmla="*/ 1847011 h 1847011"/>
                <a:gd name="connsiteX6" fmla="*/ 1083951 w 1608238"/>
                <a:gd name="connsiteY6" fmla="*/ 1847011 h 1847011"/>
                <a:gd name="connsiteX7" fmla="*/ 1608239 w 1608238"/>
                <a:gd name="connsiteY7" fmla="*/ 938666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7011">
                  <a:moveTo>
                    <a:pt x="1083951" y="29057"/>
                  </a:moveTo>
                  <a:lnTo>
                    <a:pt x="1066264" y="0"/>
                  </a:lnTo>
                  <a:lnTo>
                    <a:pt x="1049840" y="29057"/>
                  </a:lnTo>
                  <a:lnTo>
                    <a:pt x="525552" y="938666"/>
                  </a:lnTo>
                  <a:lnTo>
                    <a:pt x="0" y="1847011"/>
                  </a:lnTo>
                  <a:lnTo>
                    <a:pt x="1049840" y="1847011"/>
                  </a:lnTo>
                  <a:lnTo>
                    <a:pt x="1083951" y="1847011"/>
                  </a:lnTo>
                  <a:lnTo>
                    <a:pt x="1608239" y="938666"/>
                  </a:lnTo>
                  <a:close/>
                </a:path>
              </a:pathLst>
            </a:custGeom>
            <a:solidFill>
              <a:srgbClr val="CA3D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63095" y="2059201"/>
              <a:ext cx="2133790" cy="938665"/>
            </a:xfrm>
            <a:custGeom>
              <a:avLst/>
              <a:gdLst>
                <a:gd name="connsiteX0" fmla="*/ 1609503 w 2133790"/>
                <a:gd name="connsiteY0" fmla="*/ 29057 h 938665"/>
                <a:gd name="connsiteX1" fmla="*/ 1591816 w 2133790"/>
                <a:gd name="connsiteY1" fmla="*/ 0 h 938665"/>
                <a:gd name="connsiteX2" fmla="*/ 541975 w 2133790"/>
                <a:gd name="connsiteY2" fmla="*/ 0 h 938665"/>
                <a:gd name="connsiteX3" fmla="*/ 17687 w 2133790"/>
                <a:gd name="connsiteY3" fmla="*/ 909609 h 938665"/>
                <a:gd name="connsiteX4" fmla="*/ 0 w 2133790"/>
                <a:gd name="connsiteY4" fmla="*/ 938666 h 938665"/>
                <a:gd name="connsiteX5" fmla="*/ 34110 w 2133790"/>
                <a:gd name="connsiteY5" fmla="*/ 938666 h 938665"/>
                <a:gd name="connsiteX6" fmla="*/ 1083951 w 2133790"/>
                <a:gd name="connsiteY6" fmla="*/ 938666 h 938665"/>
                <a:gd name="connsiteX7" fmla="*/ 2133791 w 2133790"/>
                <a:gd name="connsiteY7" fmla="*/ 938666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1609503" y="29057"/>
                  </a:moveTo>
                  <a:lnTo>
                    <a:pt x="1591816" y="0"/>
                  </a:lnTo>
                  <a:lnTo>
                    <a:pt x="541975" y="0"/>
                  </a:lnTo>
                  <a:lnTo>
                    <a:pt x="17687" y="909609"/>
                  </a:lnTo>
                  <a:lnTo>
                    <a:pt x="0" y="938666"/>
                  </a:lnTo>
                  <a:lnTo>
                    <a:pt x="34110" y="938666"/>
                  </a:lnTo>
                  <a:lnTo>
                    <a:pt x="1083951" y="938666"/>
                  </a:lnTo>
                  <a:lnTo>
                    <a:pt x="2133791" y="938666"/>
                  </a:lnTo>
                  <a:close/>
                </a:path>
              </a:pathLst>
            </a:custGeom>
            <a:solidFill>
              <a:schemeClr val="accent1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3938807" y="2997867"/>
              <a:ext cx="1608239" cy="1847011"/>
            </a:xfrm>
            <a:custGeom>
              <a:avLst/>
              <a:gdLst>
                <a:gd name="connsiteX0" fmla="*/ 558399 w 1608239"/>
                <a:gd name="connsiteY0" fmla="*/ 0 h 1847011"/>
                <a:gd name="connsiteX1" fmla="*/ 524288 w 1608239"/>
                <a:gd name="connsiteY1" fmla="*/ 0 h 1847011"/>
                <a:gd name="connsiteX2" fmla="*/ 0 w 1608239"/>
                <a:gd name="connsiteY2" fmla="*/ 909609 h 1847011"/>
                <a:gd name="connsiteX3" fmla="*/ 524288 w 1608239"/>
                <a:gd name="connsiteY3" fmla="*/ 1817954 h 1847011"/>
                <a:gd name="connsiteX4" fmla="*/ 541975 w 1608239"/>
                <a:gd name="connsiteY4" fmla="*/ 1847011 h 1847011"/>
                <a:gd name="connsiteX5" fmla="*/ 558399 w 1608239"/>
                <a:gd name="connsiteY5" fmla="*/ 1817954 h 1847011"/>
                <a:gd name="connsiteX6" fmla="*/ 1082687 w 1608239"/>
                <a:gd name="connsiteY6" fmla="*/ 909609 h 1847011"/>
                <a:gd name="connsiteX7" fmla="*/ 1608239 w 1608239"/>
                <a:gd name="connsiteY7" fmla="*/ 0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558399" y="0"/>
                  </a:moveTo>
                  <a:lnTo>
                    <a:pt x="524288" y="0"/>
                  </a:lnTo>
                  <a:lnTo>
                    <a:pt x="0" y="909609"/>
                  </a:lnTo>
                  <a:lnTo>
                    <a:pt x="524288" y="1817954"/>
                  </a:lnTo>
                  <a:lnTo>
                    <a:pt x="541975" y="1847011"/>
                  </a:lnTo>
                  <a:lnTo>
                    <a:pt x="558399" y="1817954"/>
                  </a:lnTo>
                  <a:lnTo>
                    <a:pt x="1082687" y="909609"/>
                  </a:lnTo>
                  <a:lnTo>
                    <a:pt x="1608239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80782" y="3907476"/>
              <a:ext cx="1608239" cy="1847011"/>
            </a:xfrm>
            <a:custGeom>
              <a:avLst/>
              <a:gdLst>
                <a:gd name="connsiteX0" fmla="*/ 1591816 w 1608239"/>
                <a:gd name="connsiteY0" fmla="*/ 1817954 h 1847011"/>
                <a:gd name="connsiteX1" fmla="*/ 1066264 w 1608239"/>
                <a:gd name="connsiteY1" fmla="*/ 908345 h 1847011"/>
                <a:gd name="connsiteX2" fmla="*/ 540712 w 1608239"/>
                <a:gd name="connsiteY2" fmla="*/ 0 h 1847011"/>
                <a:gd name="connsiteX3" fmla="*/ 16423 w 1608239"/>
                <a:gd name="connsiteY3" fmla="*/ 908345 h 1847011"/>
                <a:gd name="connsiteX4" fmla="*/ 0 w 1608239"/>
                <a:gd name="connsiteY4" fmla="*/ 937402 h 1847011"/>
                <a:gd name="connsiteX5" fmla="*/ 524289 w 1608239"/>
                <a:gd name="connsiteY5" fmla="*/ 1847011 h 1847011"/>
                <a:gd name="connsiteX6" fmla="*/ 1574129 w 1608239"/>
                <a:gd name="connsiteY6" fmla="*/ 1847011 h 1847011"/>
                <a:gd name="connsiteX7" fmla="*/ 1608239 w 1608239"/>
                <a:gd name="connsiteY7" fmla="*/ 1847011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1591816" y="1817954"/>
                  </a:moveTo>
                  <a:lnTo>
                    <a:pt x="1066264" y="908345"/>
                  </a:lnTo>
                  <a:lnTo>
                    <a:pt x="540712" y="0"/>
                  </a:lnTo>
                  <a:lnTo>
                    <a:pt x="16423" y="908345"/>
                  </a:lnTo>
                  <a:lnTo>
                    <a:pt x="0" y="937402"/>
                  </a:lnTo>
                  <a:lnTo>
                    <a:pt x="524289" y="1847011"/>
                  </a:lnTo>
                  <a:lnTo>
                    <a:pt x="1574129" y="1847011"/>
                  </a:lnTo>
                  <a:lnTo>
                    <a:pt x="1608239" y="1847011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7E293606-5B27-499D-810A-9BE8CD4F302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6 Faktor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E4B89D6-60E1-424B-BBCB-BB7D30946B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DC1DDBA-C8DC-450B-A6CC-9868DF4F7530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F415DF-38BC-4E31-BF91-A91E403460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0</a:t>
            </a:fld>
            <a:endParaRPr lang="de-DE" dirty="0"/>
          </a:p>
        </p:txBody>
      </p:sp>
      <p:sp>
        <p:nvSpPr>
          <p:cNvPr id="17" name="TextBox 143">
            <a:extLst>
              <a:ext uri="{FF2B5EF4-FFF2-40B4-BE49-F238E27FC236}">
                <a16:creationId xmlns:a16="http://schemas.microsoft.com/office/drawing/2014/main" id="{B2780214-9169-42F3-B3DA-E0880EAE8958}"/>
              </a:ext>
            </a:extLst>
          </p:cNvPr>
          <p:cNvSpPr txBox="1">
            <a:spLocks/>
          </p:cNvSpPr>
          <p:nvPr/>
        </p:nvSpPr>
        <p:spPr bwMode="gray">
          <a:xfrm>
            <a:off x="5419774" y="3629845"/>
            <a:ext cx="1304383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 dolor sit</a:t>
            </a:r>
          </a:p>
        </p:txBody>
      </p:sp>
      <p:grpSp>
        <p:nvGrpSpPr>
          <p:cNvPr id="58" name="Group 4">
            <a:extLst>
              <a:ext uri="{FF2B5EF4-FFF2-40B4-BE49-F238E27FC236}">
                <a16:creationId xmlns:a16="http://schemas.microsoft.com/office/drawing/2014/main" id="{696A85C2-FBFD-4596-8D13-8F2D2C24758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81129" y="4036894"/>
            <a:ext cx="626778" cy="296322"/>
            <a:chOff x="1674" y="1132"/>
            <a:chExt cx="4315" cy="2040"/>
          </a:xfrm>
          <a:solidFill>
            <a:schemeClr val="bg1"/>
          </a:solidFill>
        </p:grpSpPr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B74CCA45-65D6-48F2-9DA9-7F9A29E60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32"/>
              <a:ext cx="4315" cy="2040"/>
            </a:xfrm>
            <a:custGeom>
              <a:avLst/>
              <a:gdLst>
                <a:gd name="T0" fmla="*/ 5720 w 6400"/>
                <a:gd name="T1" fmla="*/ 1 h 3034"/>
                <a:gd name="T2" fmla="*/ 5041 w 6400"/>
                <a:gd name="T3" fmla="*/ 680 h 3034"/>
                <a:gd name="T4" fmla="*/ 5151 w 6400"/>
                <a:gd name="T5" fmla="*/ 1051 h 3034"/>
                <a:gd name="T6" fmla="*/ 4417 w 6400"/>
                <a:gd name="T7" fmla="*/ 1785 h 3034"/>
                <a:gd name="T8" fmla="*/ 4047 w 6400"/>
                <a:gd name="T9" fmla="*/ 1674 h 3034"/>
                <a:gd name="T10" fmla="*/ 3664 w 6400"/>
                <a:gd name="T11" fmla="*/ 1792 h 3034"/>
                <a:gd name="T12" fmla="*/ 2923 w 6400"/>
                <a:gd name="T13" fmla="*/ 1051 h 3034"/>
                <a:gd name="T14" fmla="*/ 3033 w 6400"/>
                <a:gd name="T15" fmla="*/ 680 h 3034"/>
                <a:gd name="T16" fmla="*/ 2353 w 6400"/>
                <a:gd name="T17" fmla="*/ 0 h 3034"/>
                <a:gd name="T18" fmla="*/ 1674 w 6400"/>
                <a:gd name="T19" fmla="*/ 680 h 3034"/>
                <a:gd name="T20" fmla="*/ 1784 w 6400"/>
                <a:gd name="T21" fmla="*/ 1051 h 3034"/>
                <a:gd name="T22" fmla="*/ 1050 w 6400"/>
                <a:gd name="T23" fmla="*/ 1785 h 3034"/>
                <a:gd name="T24" fmla="*/ 680 w 6400"/>
                <a:gd name="T25" fmla="*/ 1674 h 3034"/>
                <a:gd name="T26" fmla="*/ 0 w 6400"/>
                <a:gd name="T27" fmla="*/ 2354 h 3034"/>
                <a:gd name="T28" fmla="*/ 680 w 6400"/>
                <a:gd name="T29" fmla="*/ 3034 h 3034"/>
                <a:gd name="T30" fmla="*/ 1359 w 6400"/>
                <a:gd name="T31" fmla="*/ 2354 h 3034"/>
                <a:gd name="T32" fmla="*/ 1249 w 6400"/>
                <a:gd name="T33" fmla="*/ 1983 h 3034"/>
                <a:gd name="T34" fmla="*/ 1983 w 6400"/>
                <a:gd name="T35" fmla="*/ 1249 h 3034"/>
                <a:gd name="T36" fmla="*/ 2353 w 6400"/>
                <a:gd name="T37" fmla="*/ 1360 h 3034"/>
                <a:gd name="T38" fmla="*/ 2724 w 6400"/>
                <a:gd name="T39" fmla="*/ 1249 h 3034"/>
                <a:gd name="T40" fmla="*/ 3470 w 6400"/>
                <a:gd name="T41" fmla="*/ 1995 h 3034"/>
                <a:gd name="T42" fmla="*/ 3367 w 6400"/>
                <a:gd name="T43" fmla="*/ 2354 h 3034"/>
                <a:gd name="T44" fmla="*/ 4047 w 6400"/>
                <a:gd name="T45" fmla="*/ 3033 h 3034"/>
                <a:gd name="T46" fmla="*/ 4726 w 6400"/>
                <a:gd name="T47" fmla="*/ 2354 h 3034"/>
                <a:gd name="T48" fmla="*/ 4616 w 6400"/>
                <a:gd name="T49" fmla="*/ 1983 h 3034"/>
                <a:gd name="T50" fmla="*/ 5350 w 6400"/>
                <a:gd name="T51" fmla="*/ 1249 h 3034"/>
                <a:gd name="T52" fmla="*/ 5720 w 6400"/>
                <a:gd name="T53" fmla="*/ 1360 h 3034"/>
                <a:gd name="T54" fmla="*/ 6400 w 6400"/>
                <a:gd name="T55" fmla="*/ 680 h 3034"/>
                <a:gd name="T56" fmla="*/ 5720 w 6400"/>
                <a:gd name="T57" fmla="*/ 1 h 3034"/>
                <a:gd name="T58" fmla="*/ 680 w 6400"/>
                <a:gd name="T59" fmla="*/ 2753 h 3034"/>
                <a:gd name="T60" fmla="*/ 281 w 6400"/>
                <a:gd name="T61" fmla="*/ 2354 h 3034"/>
                <a:gd name="T62" fmla="*/ 680 w 6400"/>
                <a:gd name="T63" fmla="*/ 1955 h 3034"/>
                <a:gd name="T64" fmla="*/ 1078 w 6400"/>
                <a:gd name="T65" fmla="*/ 2354 h 3034"/>
                <a:gd name="T66" fmla="*/ 680 w 6400"/>
                <a:gd name="T67" fmla="*/ 2753 h 3034"/>
                <a:gd name="T68" fmla="*/ 2353 w 6400"/>
                <a:gd name="T69" fmla="*/ 1079 h 3034"/>
                <a:gd name="T70" fmla="*/ 1955 w 6400"/>
                <a:gd name="T71" fmla="*/ 680 h 3034"/>
                <a:gd name="T72" fmla="*/ 2353 w 6400"/>
                <a:gd name="T73" fmla="*/ 281 h 3034"/>
                <a:gd name="T74" fmla="*/ 2752 w 6400"/>
                <a:gd name="T75" fmla="*/ 680 h 3034"/>
                <a:gd name="T76" fmla="*/ 2353 w 6400"/>
                <a:gd name="T77" fmla="*/ 1079 h 3034"/>
                <a:gd name="T78" fmla="*/ 4047 w 6400"/>
                <a:gd name="T79" fmla="*/ 2753 h 3034"/>
                <a:gd name="T80" fmla="*/ 3648 w 6400"/>
                <a:gd name="T81" fmla="*/ 2354 h 3034"/>
                <a:gd name="T82" fmla="*/ 4047 w 6400"/>
                <a:gd name="T83" fmla="*/ 1955 h 3034"/>
                <a:gd name="T84" fmla="*/ 4445 w 6400"/>
                <a:gd name="T85" fmla="*/ 2354 h 3034"/>
                <a:gd name="T86" fmla="*/ 4047 w 6400"/>
                <a:gd name="T87" fmla="*/ 2753 h 3034"/>
                <a:gd name="T88" fmla="*/ 5720 w 6400"/>
                <a:gd name="T89" fmla="*/ 1079 h 3034"/>
                <a:gd name="T90" fmla="*/ 5322 w 6400"/>
                <a:gd name="T91" fmla="*/ 680 h 3034"/>
                <a:gd name="T92" fmla="*/ 5720 w 6400"/>
                <a:gd name="T93" fmla="*/ 281 h 3034"/>
                <a:gd name="T94" fmla="*/ 6119 w 6400"/>
                <a:gd name="T95" fmla="*/ 680 h 3034"/>
                <a:gd name="T96" fmla="*/ 5720 w 6400"/>
                <a:gd name="T97" fmla="*/ 1079 h 3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00" h="3034">
                  <a:moveTo>
                    <a:pt x="5720" y="1"/>
                  </a:moveTo>
                  <a:cubicBezTo>
                    <a:pt x="5346" y="1"/>
                    <a:pt x="5041" y="305"/>
                    <a:pt x="5041" y="680"/>
                  </a:cubicBezTo>
                  <a:cubicBezTo>
                    <a:pt x="5041" y="817"/>
                    <a:pt x="5082" y="944"/>
                    <a:pt x="5151" y="1051"/>
                  </a:cubicBezTo>
                  <a:lnTo>
                    <a:pt x="4417" y="1785"/>
                  </a:lnTo>
                  <a:cubicBezTo>
                    <a:pt x="4310" y="1715"/>
                    <a:pt x="4183" y="1674"/>
                    <a:pt x="4047" y="1674"/>
                  </a:cubicBezTo>
                  <a:cubicBezTo>
                    <a:pt x="3905" y="1674"/>
                    <a:pt x="3773" y="1718"/>
                    <a:pt x="3664" y="1792"/>
                  </a:cubicBezTo>
                  <a:lnTo>
                    <a:pt x="2923" y="1051"/>
                  </a:lnTo>
                  <a:cubicBezTo>
                    <a:pt x="2992" y="944"/>
                    <a:pt x="3033" y="817"/>
                    <a:pt x="3033" y="680"/>
                  </a:cubicBezTo>
                  <a:cubicBezTo>
                    <a:pt x="3033" y="305"/>
                    <a:pt x="2728" y="0"/>
                    <a:pt x="2353" y="0"/>
                  </a:cubicBezTo>
                  <a:cubicBezTo>
                    <a:pt x="1979" y="0"/>
                    <a:pt x="1674" y="305"/>
                    <a:pt x="1674" y="680"/>
                  </a:cubicBezTo>
                  <a:cubicBezTo>
                    <a:pt x="1674" y="817"/>
                    <a:pt x="1715" y="944"/>
                    <a:pt x="1784" y="1051"/>
                  </a:cubicBezTo>
                  <a:lnTo>
                    <a:pt x="1050" y="1785"/>
                  </a:lnTo>
                  <a:cubicBezTo>
                    <a:pt x="943" y="1715"/>
                    <a:pt x="816" y="1674"/>
                    <a:pt x="680" y="1674"/>
                  </a:cubicBezTo>
                  <a:cubicBezTo>
                    <a:pt x="305" y="1674"/>
                    <a:pt x="0" y="1979"/>
                    <a:pt x="0" y="2354"/>
                  </a:cubicBezTo>
                  <a:cubicBezTo>
                    <a:pt x="0" y="2729"/>
                    <a:pt x="305" y="3034"/>
                    <a:pt x="680" y="3034"/>
                  </a:cubicBezTo>
                  <a:cubicBezTo>
                    <a:pt x="1054" y="3034"/>
                    <a:pt x="1359" y="2729"/>
                    <a:pt x="1359" y="2354"/>
                  </a:cubicBezTo>
                  <a:cubicBezTo>
                    <a:pt x="1359" y="2217"/>
                    <a:pt x="1318" y="2090"/>
                    <a:pt x="1249" y="1983"/>
                  </a:cubicBezTo>
                  <a:lnTo>
                    <a:pt x="1983" y="1249"/>
                  </a:lnTo>
                  <a:cubicBezTo>
                    <a:pt x="2090" y="1319"/>
                    <a:pt x="2217" y="1360"/>
                    <a:pt x="2353" y="1360"/>
                  </a:cubicBezTo>
                  <a:cubicBezTo>
                    <a:pt x="2490" y="1360"/>
                    <a:pt x="2617" y="1319"/>
                    <a:pt x="2724" y="1249"/>
                  </a:cubicBezTo>
                  <a:lnTo>
                    <a:pt x="3470" y="1995"/>
                  </a:lnTo>
                  <a:cubicBezTo>
                    <a:pt x="3405" y="2099"/>
                    <a:pt x="3367" y="2222"/>
                    <a:pt x="3367" y="2354"/>
                  </a:cubicBezTo>
                  <a:cubicBezTo>
                    <a:pt x="3367" y="2729"/>
                    <a:pt x="3672" y="3033"/>
                    <a:pt x="4047" y="3033"/>
                  </a:cubicBezTo>
                  <a:cubicBezTo>
                    <a:pt x="4421" y="3033"/>
                    <a:pt x="4726" y="2729"/>
                    <a:pt x="4726" y="2354"/>
                  </a:cubicBezTo>
                  <a:cubicBezTo>
                    <a:pt x="4726" y="2217"/>
                    <a:pt x="4685" y="2090"/>
                    <a:pt x="4616" y="1983"/>
                  </a:cubicBezTo>
                  <a:lnTo>
                    <a:pt x="5350" y="1249"/>
                  </a:lnTo>
                  <a:cubicBezTo>
                    <a:pt x="5457" y="1319"/>
                    <a:pt x="5584" y="1360"/>
                    <a:pt x="5720" y="1360"/>
                  </a:cubicBezTo>
                  <a:cubicBezTo>
                    <a:pt x="6095" y="1360"/>
                    <a:pt x="6400" y="1055"/>
                    <a:pt x="6400" y="680"/>
                  </a:cubicBezTo>
                  <a:cubicBezTo>
                    <a:pt x="6400" y="305"/>
                    <a:pt x="6095" y="1"/>
                    <a:pt x="5720" y="1"/>
                  </a:cubicBezTo>
                  <a:close/>
                  <a:moveTo>
                    <a:pt x="680" y="2753"/>
                  </a:moveTo>
                  <a:cubicBezTo>
                    <a:pt x="460" y="2753"/>
                    <a:pt x="281" y="2574"/>
                    <a:pt x="281" y="2354"/>
                  </a:cubicBezTo>
                  <a:cubicBezTo>
                    <a:pt x="281" y="2134"/>
                    <a:pt x="460" y="1955"/>
                    <a:pt x="680" y="1955"/>
                  </a:cubicBezTo>
                  <a:cubicBezTo>
                    <a:pt x="899" y="1955"/>
                    <a:pt x="1078" y="2134"/>
                    <a:pt x="1078" y="2354"/>
                  </a:cubicBezTo>
                  <a:cubicBezTo>
                    <a:pt x="1078" y="2574"/>
                    <a:pt x="899" y="2753"/>
                    <a:pt x="680" y="2753"/>
                  </a:cubicBezTo>
                  <a:close/>
                  <a:moveTo>
                    <a:pt x="2353" y="1079"/>
                  </a:moveTo>
                  <a:cubicBezTo>
                    <a:pt x="2134" y="1079"/>
                    <a:pt x="1955" y="900"/>
                    <a:pt x="1955" y="680"/>
                  </a:cubicBezTo>
                  <a:cubicBezTo>
                    <a:pt x="1955" y="460"/>
                    <a:pt x="2134" y="281"/>
                    <a:pt x="2353" y="281"/>
                  </a:cubicBezTo>
                  <a:cubicBezTo>
                    <a:pt x="2573" y="281"/>
                    <a:pt x="2752" y="460"/>
                    <a:pt x="2752" y="680"/>
                  </a:cubicBezTo>
                  <a:cubicBezTo>
                    <a:pt x="2752" y="900"/>
                    <a:pt x="2573" y="1079"/>
                    <a:pt x="2353" y="1079"/>
                  </a:cubicBezTo>
                  <a:close/>
                  <a:moveTo>
                    <a:pt x="4047" y="2753"/>
                  </a:moveTo>
                  <a:cubicBezTo>
                    <a:pt x="3827" y="2753"/>
                    <a:pt x="3648" y="2574"/>
                    <a:pt x="3648" y="2354"/>
                  </a:cubicBezTo>
                  <a:cubicBezTo>
                    <a:pt x="3648" y="2134"/>
                    <a:pt x="3827" y="1955"/>
                    <a:pt x="4047" y="1955"/>
                  </a:cubicBezTo>
                  <a:cubicBezTo>
                    <a:pt x="4266" y="1955"/>
                    <a:pt x="4445" y="2134"/>
                    <a:pt x="4445" y="2354"/>
                  </a:cubicBezTo>
                  <a:cubicBezTo>
                    <a:pt x="4445" y="2574"/>
                    <a:pt x="4266" y="2753"/>
                    <a:pt x="4047" y="2753"/>
                  </a:cubicBezTo>
                  <a:close/>
                  <a:moveTo>
                    <a:pt x="5720" y="1079"/>
                  </a:moveTo>
                  <a:cubicBezTo>
                    <a:pt x="5501" y="1079"/>
                    <a:pt x="5322" y="900"/>
                    <a:pt x="5322" y="680"/>
                  </a:cubicBezTo>
                  <a:cubicBezTo>
                    <a:pt x="5322" y="460"/>
                    <a:pt x="5501" y="281"/>
                    <a:pt x="5720" y="281"/>
                  </a:cubicBezTo>
                  <a:cubicBezTo>
                    <a:pt x="5940" y="281"/>
                    <a:pt x="6119" y="460"/>
                    <a:pt x="6119" y="680"/>
                  </a:cubicBezTo>
                  <a:cubicBezTo>
                    <a:pt x="6119" y="900"/>
                    <a:pt x="5940" y="1079"/>
                    <a:pt x="5720" y="107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id="{C04C6CE4-23D8-47C0-A36C-CC3C47EF69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1" y="2255"/>
              <a:ext cx="400" cy="390"/>
            </a:xfrm>
            <a:custGeom>
              <a:avLst/>
              <a:gdLst>
                <a:gd name="T0" fmla="*/ 539 w 594"/>
                <a:gd name="T1" fmla="*/ 55 h 580"/>
                <a:gd name="T2" fmla="*/ 340 w 594"/>
                <a:gd name="T3" fmla="*/ 55 h 580"/>
                <a:gd name="T4" fmla="*/ 54 w 594"/>
                <a:gd name="T5" fmla="*/ 341 h 580"/>
                <a:gd name="T6" fmla="*/ 54 w 594"/>
                <a:gd name="T7" fmla="*/ 539 h 580"/>
                <a:gd name="T8" fmla="*/ 154 w 594"/>
                <a:gd name="T9" fmla="*/ 580 h 580"/>
                <a:gd name="T10" fmla="*/ 253 w 594"/>
                <a:gd name="T11" fmla="*/ 539 h 580"/>
                <a:gd name="T12" fmla="*/ 539 w 594"/>
                <a:gd name="T13" fmla="*/ 254 h 580"/>
                <a:gd name="T14" fmla="*/ 539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39" y="55"/>
                  </a:moveTo>
                  <a:cubicBezTo>
                    <a:pt x="484" y="0"/>
                    <a:pt x="395" y="0"/>
                    <a:pt x="340" y="55"/>
                  </a:cubicBezTo>
                  <a:lnTo>
                    <a:pt x="54" y="341"/>
                  </a:lnTo>
                  <a:cubicBezTo>
                    <a:pt x="0" y="395"/>
                    <a:pt x="0" y="484"/>
                    <a:pt x="54" y="539"/>
                  </a:cubicBezTo>
                  <a:cubicBezTo>
                    <a:pt x="82" y="567"/>
                    <a:pt x="118" y="580"/>
                    <a:pt x="154" y="580"/>
                  </a:cubicBezTo>
                  <a:cubicBezTo>
                    <a:pt x="190" y="580"/>
                    <a:pt x="226" y="567"/>
                    <a:pt x="253" y="539"/>
                  </a:cubicBezTo>
                  <a:lnTo>
                    <a:pt x="539" y="254"/>
                  </a:lnTo>
                  <a:cubicBezTo>
                    <a:pt x="594" y="199"/>
                    <a:pt x="594" y="110"/>
                    <a:pt x="539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1" name="Freeform 7">
              <a:extLst>
                <a:ext uri="{FF2B5EF4-FFF2-40B4-BE49-F238E27FC236}">
                  <a16:creationId xmlns:a16="http://schemas.microsoft.com/office/drawing/2014/main" id="{0FF6F75F-89AF-4F44-A42F-9E330AF107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2" y="1652"/>
              <a:ext cx="401" cy="390"/>
            </a:xfrm>
            <a:custGeom>
              <a:avLst/>
              <a:gdLst>
                <a:gd name="T0" fmla="*/ 540 w 594"/>
                <a:gd name="T1" fmla="*/ 55 h 580"/>
                <a:gd name="T2" fmla="*/ 341 w 594"/>
                <a:gd name="T3" fmla="*/ 55 h 580"/>
                <a:gd name="T4" fmla="*/ 55 w 594"/>
                <a:gd name="T5" fmla="*/ 340 h 580"/>
                <a:gd name="T6" fmla="*/ 55 w 594"/>
                <a:gd name="T7" fmla="*/ 539 h 580"/>
                <a:gd name="T8" fmla="*/ 155 w 594"/>
                <a:gd name="T9" fmla="*/ 580 h 580"/>
                <a:gd name="T10" fmla="*/ 254 w 594"/>
                <a:gd name="T11" fmla="*/ 539 h 580"/>
                <a:gd name="T12" fmla="*/ 540 w 594"/>
                <a:gd name="T13" fmla="*/ 253 h 580"/>
                <a:gd name="T14" fmla="*/ 540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40" y="55"/>
                  </a:moveTo>
                  <a:cubicBezTo>
                    <a:pt x="485" y="0"/>
                    <a:pt x="396" y="0"/>
                    <a:pt x="341" y="55"/>
                  </a:cubicBezTo>
                  <a:lnTo>
                    <a:pt x="55" y="340"/>
                  </a:lnTo>
                  <a:cubicBezTo>
                    <a:pt x="0" y="395"/>
                    <a:pt x="0" y="484"/>
                    <a:pt x="55" y="539"/>
                  </a:cubicBezTo>
                  <a:cubicBezTo>
                    <a:pt x="83" y="566"/>
                    <a:pt x="119" y="580"/>
                    <a:pt x="155" y="580"/>
                  </a:cubicBezTo>
                  <a:cubicBezTo>
                    <a:pt x="190" y="580"/>
                    <a:pt x="226" y="566"/>
                    <a:pt x="254" y="539"/>
                  </a:cubicBezTo>
                  <a:lnTo>
                    <a:pt x="540" y="253"/>
                  </a:lnTo>
                  <a:cubicBezTo>
                    <a:pt x="594" y="199"/>
                    <a:pt x="594" y="110"/>
                    <a:pt x="540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41" name="Group 53">
            <a:extLst>
              <a:ext uri="{FF2B5EF4-FFF2-40B4-BE49-F238E27FC236}">
                <a16:creationId xmlns:a16="http://schemas.microsoft.com/office/drawing/2014/main" id="{DD91F7D4-BEA3-440A-8430-E0C32EC025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905144" y="4806677"/>
            <a:ext cx="479602" cy="465849"/>
            <a:chOff x="1660" y="40"/>
            <a:chExt cx="4359" cy="4234"/>
          </a:xfrm>
          <a:solidFill>
            <a:schemeClr val="accent1"/>
          </a:solidFill>
        </p:grpSpPr>
        <p:sp>
          <p:nvSpPr>
            <p:cNvPr id="42" name="Freeform 54">
              <a:extLst>
                <a:ext uri="{FF2B5EF4-FFF2-40B4-BE49-F238E27FC236}">
                  <a16:creationId xmlns:a16="http://schemas.microsoft.com/office/drawing/2014/main" id="{3CB1D5E8-5096-4394-B2E8-1192D65372F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40"/>
              <a:ext cx="4331" cy="2776"/>
            </a:xfrm>
            <a:custGeom>
              <a:avLst/>
              <a:gdLst>
                <a:gd name="T0" fmla="*/ 73 w 5951"/>
                <a:gd name="T1" fmla="*/ 2044 h 3825"/>
                <a:gd name="T2" fmla="*/ 2898 w 5951"/>
                <a:gd name="T3" fmla="*/ 3803 h 3825"/>
                <a:gd name="T4" fmla="*/ 2976 w 5951"/>
                <a:gd name="T5" fmla="*/ 3825 h 3825"/>
                <a:gd name="T6" fmla="*/ 3055 w 5951"/>
                <a:gd name="T7" fmla="*/ 3803 h 3825"/>
                <a:gd name="T8" fmla="*/ 5880 w 5951"/>
                <a:gd name="T9" fmla="*/ 2044 h 3825"/>
                <a:gd name="T10" fmla="*/ 5951 w 5951"/>
                <a:gd name="T11" fmla="*/ 1916 h 3825"/>
                <a:gd name="T12" fmla="*/ 5880 w 5951"/>
                <a:gd name="T13" fmla="*/ 1789 h 3825"/>
                <a:gd name="T14" fmla="*/ 3055 w 5951"/>
                <a:gd name="T15" fmla="*/ 30 h 3825"/>
                <a:gd name="T16" fmla="*/ 2896 w 5951"/>
                <a:gd name="T17" fmla="*/ 30 h 3825"/>
                <a:gd name="T18" fmla="*/ 71 w 5951"/>
                <a:gd name="T19" fmla="*/ 1789 h 3825"/>
                <a:gd name="T20" fmla="*/ 0 w 5951"/>
                <a:gd name="T21" fmla="*/ 1916 h 3825"/>
                <a:gd name="T22" fmla="*/ 73 w 5951"/>
                <a:gd name="T23" fmla="*/ 2044 h 3825"/>
                <a:gd name="T24" fmla="*/ 2976 w 5951"/>
                <a:gd name="T25" fmla="*/ 334 h 3825"/>
                <a:gd name="T26" fmla="*/ 5518 w 5951"/>
                <a:gd name="T27" fmla="*/ 1916 h 3825"/>
                <a:gd name="T28" fmla="*/ 2976 w 5951"/>
                <a:gd name="T29" fmla="*/ 3499 h 3825"/>
                <a:gd name="T30" fmla="*/ 435 w 5951"/>
                <a:gd name="T31" fmla="*/ 1916 h 3825"/>
                <a:gd name="T32" fmla="*/ 2976 w 5951"/>
                <a:gd name="T33" fmla="*/ 334 h 3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51" h="3825">
                  <a:moveTo>
                    <a:pt x="73" y="2044"/>
                  </a:moveTo>
                  <a:lnTo>
                    <a:pt x="2898" y="3803"/>
                  </a:lnTo>
                  <a:cubicBezTo>
                    <a:pt x="2921" y="3818"/>
                    <a:pt x="2949" y="3825"/>
                    <a:pt x="2976" y="3825"/>
                  </a:cubicBezTo>
                  <a:cubicBezTo>
                    <a:pt x="3004" y="3825"/>
                    <a:pt x="3031" y="3818"/>
                    <a:pt x="3055" y="3803"/>
                  </a:cubicBezTo>
                  <a:lnTo>
                    <a:pt x="5880" y="2044"/>
                  </a:lnTo>
                  <a:cubicBezTo>
                    <a:pt x="5924" y="2016"/>
                    <a:pt x="5951" y="1969"/>
                    <a:pt x="5951" y="1916"/>
                  </a:cubicBezTo>
                  <a:cubicBezTo>
                    <a:pt x="5951" y="1865"/>
                    <a:pt x="5925" y="1816"/>
                    <a:pt x="5880" y="1789"/>
                  </a:cubicBezTo>
                  <a:lnTo>
                    <a:pt x="3055" y="30"/>
                  </a:lnTo>
                  <a:cubicBezTo>
                    <a:pt x="3006" y="0"/>
                    <a:pt x="2945" y="0"/>
                    <a:pt x="2896" y="30"/>
                  </a:cubicBezTo>
                  <a:lnTo>
                    <a:pt x="71" y="1789"/>
                  </a:lnTo>
                  <a:cubicBezTo>
                    <a:pt x="28" y="1816"/>
                    <a:pt x="0" y="1864"/>
                    <a:pt x="0" y="1916"/>
                  </a:cubicBezTo>
                  <a:cubicBezTo>
                    <a:pt x="1" y="1969"/>
                    <a:pt x="28" y="2016"/>
                    <a:pt x="73" y="2044"/>
                  </a:cubicBezTo>
                  <a:close/>
                  <a:moveTo>
                    <a:pt x="2976" y="334"/>
                  </a:moveTo>
                  <a:lnTo>
                    <a:pt x="5518" y="1916"/>
                  </a:lnTo>
                  <a:lnTo>
                    <a:pt x="2976" y="3499"/>
                  </a:lnTo>
                  <a:lnTo>
                    <a:pt x="435" y="1916"/>
                  </a:lnTo>
                  <a:lnTo>
                    <a:pt x="2976" y="3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55">
              <a:extLst>
                <a:ext uri="{FF2B5EF4-FFF2-40B4-BE49-F238E27FC236}">
                  <a16:creationId xmlns:a16="http://schemas.microsoft.com/office/drawing/2014/main" id="{99F0A3B4-5609-4E12-9FEC-1B002D9F361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7" y="2051"/>
              <a:ext cx="218" cy="218"/>
            </a:xfrm>
            <a:custGeom>
              <a:avLst/>
              <a:gdLst>
                <a:gd name="T0" fmla="*/ 150 w 300"/>
                <a:gd name="T1" fmla="*/ 0 h 300"/>
                <a:gd name="T2" fmla="*/ 44 w 300"/>
                <a:gd name="T3" fmla="*/ 44 h 300"/>
                <a:gd name="T4" fmla="*/ 0 w 300"/>
                <a:gd name="T5" fmla="*/ 150 h 300"/>
                <a:gd name="T6" fmla="*/ 44 w 300"/>
                <a:gd name="T7" fmla="*/ 257 h 300"/>
                <a:gd name="T8" fmla="*/ 150 w 300"/>
                <a:gd name="T9" fmla="*/ 300 h 300"/>
                <a:gd name="T10" fmla="*/ 257 w 300"/>
                <a:gd name="T11" fmla="*/ 257 h 300"/>
                <a:gd name="T12" fmla="*/ 300 w 300"/>
                <a:gd name="T13" fmla="*/ 150 h 300"/>
                <a:gd name="T14" fmla="*/ 257 w 300"/>
                <a:gd name="T15" fmla="*/ 44 h 300"/>
                <a:gd name="T16" fmla="*/ 150 w 300"/>
                <a:gd name="T1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0"/>
                  </a:move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56">
              <a:extLst>
                <a:ext uri="{FF2B5EF4-FFF2-40B4-BE49-F238E27FC236}">
                  <a16:creationId xmlns:a16="http://schemas.microsoft.com/office/drawing/2014/main" id="{E42005EE-B333-42AB-883C-14DA5F040D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9" y="2249"/>
              <a:ext cx="248" cy="233"/>
            </a:xfrm>
            <a:custGeom>
              <a:avLst/>
              <a:gdLst>
                <a:gd name="T0" fmla="*/ 92 w 342"/>
                <a:gd name="T1" fmla="*/ 44 h 321"/>
                <a:gd name="T2" fmla="*/ 45 w 342"/>
                <a:gd name="T3" fmla="*/ 250 h 321"/>
                <a:gd name="T4" fmla="*/ 172 w 342"/>
                <a:gd name="T5" fmla="*/ 321 h 321"/>
                <a:gd name="T6" fmla="*/ 251 w 342"/>
                <a:gd name="T7" fmla="*/ 298 h 321"/>
                <a:gd name="T8" fmla="*/ 299 w 342"/>
                <a:gd name="T9" fmla="*/ 92 h 321"/>
                <a:gd name="T10" fmla="*/ 92 w 342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92" y="44"/>
                  </a:moveTo>
                  <a:cubicBezTo>
                    <a:pt x="22" y="87"/>
                    <a:pt x="0" y="180"/>
                    <a:pt x="45" y="250"/>
                  </a:cubicBezTo>
                  <a:cubicBezTo>
                    <a:pt x="74" y="295"/>
                    <a:pt x="122" y="321"/>
                    <a:pt x="172" y="321"/>
                  </a:cubicBezTo>
                  <a:cubicBezTo>
                    <a:pt x="200" y="321"/>
                    <a:pt x="227" y="313"/>
                    <a:pt x="251" y="298"/>
                  </a:cubicBezTo>
                  <a:cubicBezTo>
                    <a:pt x="321" y="255"/>
                    <a:pt x="342" y="162"/>
                    <a:pt x="299" y="92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5" name="Freeform 57">
              <a:extLst>
                <a:ext uri="{FF2B5EF4-FFF2-40B4-BE49-F238E27FC236}">
                  <a16:creationId xmlns:a16="http://schemas.microsoft.com/office/drawing/2014/main" id="{BD1AC312-8DB0-4608-89A8-5AF54F9639C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0" y="2887"/>
              <a:ext cx="250" cy="233"/>
            </a:xfrm>
            <a:custGeom>
              <a:avLst/>
              <a:gdLst>
                <a:gd name="T0" fmla="*/ 93 w 343"/>
                <a:gd name="T1" fmla="*/ 43 h 321"/>
                <a:gd name="T2" fmla="*/ 45 w 343"/>
                <a:gd name="T3" fmla="*/ 250 h 321"/>
                <a:gd name="T4" fmla="*/ 173 w 343"/>
                <a:gd name="T5" fmla="*/ 321 h 321"/>
                <a:gd name="T6" fmla="*/ 252 w 343"/>
                <a:gd name="T7" fmla="*/ 298 h 321"/>
                <a:gd name="T8" fmla="*/ 299 w 343"/>
                <a:gd name="T9" fmla="*/ 92 h 321"/>
                <a:gd name="T10" fmla="*/ 93 w 343"/>
                <a:gd name="T11" fmla="*/ 4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3" h="321">
                  <a:moveTo>
                    <a:pt x="93" y="43"/>
                  </a:moveTo>
                  <a:cubicBezTo>
                    <a:pt x="23" y="87"/>
                    <a:pt x="0" y="180"/>
                    <a:pt x="45" y="250"/>
                  </a:cubicBezTo>
                  <a:cubicBezTo>
                    <a:pt x="74" y="296"/>
                    <a:pt x="123" y="321"/>
                    <a:pt x="173" y="321"/>
                  </a:cubicBezTo>
                  <a:cubicBezTo>
                    <a:pt x="200" y="321"/>
                    <a:pt x="228" y="313"/>
                    <a:pt x="252" y="298"/>
                  </a:cubicBezTo>
                  <a:cubicBezTo>
                    <a:pt x="322" y="255"/>
                    <a:pt x="343" y="162"/>
                    <a:pt x="299" y="92"/>
                  </a:cubicBezTo>
                  <a:cubicBezTo>
                    <a:pt x="255" y="22"/>
                    <a:pt x="163" y="0"/>
                    <a:pt x="93" y="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6" name="Freeform 58">
              <a:extLst>
                <a:ext uri="{FF2B5EF4-FFF2-40B4-BE49-F238E27FC236}">
                  <a16:creationId xmlns:a16="http://schemas.microsoft.com/office/drawing/2014/main" id="{E417DC32-AB39-41A2-B286-B6A6546EA8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8" y="3100"/>
              <a:ext cx="248" cy="233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8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3" y="297"/>
                    <a:pt x="121" y="322"/>
                    <a:pt x="171" y="322"/>
                  </a:cubicBezTo>
                  <a:cubicBezTo>
                    <a:pt x="199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8" y="93"/>
                  </a:cubicBezTo>
                  <a:cubicBezTo>
                    <a:pt x="254" y="22"/>
                    <a:pt x="163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7" name="Freeform 59">
              <a:extLst>
                <a:ext uri="{FF2B5EF4-FFF2-40B4-BE49-F238E27FC236}">
                  <a16:creationId xmlns:a16="http://schemas.microsoft.com/office/drawing/2014/main" id="{F790465C-5438-4069-94EE-6676503454D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4" y="2674"/>
              <a:ext cx="248" cy="233"/>
            </a:xfrm>
            <a:custGeom>
              <a:avLst/>
              <a:gdLst>
                <a:gd name="T0" fmla="*/ 92 w 341"/>
                <a:gd name="T1" fmla="*/ 44 h 321"/>
                <a:gd name="T2" fmla="*/ 43 w 341"/>
                <a:gd name="T3" fmla="*/ 250 h 321"/>
                <a:gd name="T4" fmla="*/ 171 w 341"/>
                <a:gd name="T5" fmla="*/ 321 h 321"/>
                <a:gd name="T6" fmla="*/ 250 w 341"/>
                <a:gd name="T7" fmla="*/ 299 h 321"/>
                <a:gd name="T8" fmla="*/ 297 w 341"/>
                <a:gd name="T9" fmla="*/ 93 h 321"/>
                <a:gd name="T10" fmla="*/ 92 w 341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92" y="44"/>
                  </a:moveTo>
                  <a:cubicBezTo>
                    <a:pt x="22" y="88"/>
                    <a:pt x="0" y="180"/>
                    <a:pt x="43" y="250"/>
                  </a:cubicBezTo>
                  <a:cubicBezTo>
                    <a:pt x="72" y="296"/>
                    <a:pt x="121" y="321"/>
                    <a:pt x="171" y="321"/>
                  </a:cubicBezTo>
                  <a:cubicBezTo>
                    <a:pt x="198" y="321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Freeform 60">
              <a:extLst>
                <a:ext uri="{FF2B5EF4-FFF2-40B4-BE49-F238E27FC236}">
                  <a16:creationId xmlns:a16="http://schemas.microsoft.com/office/drawing/2014/main" id="{53C7D55B-C0BB-4D65-B3D8-4BC51282302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7" y="2462"/>
              <a:ext cx="248" cy="234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7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2" y="296"/>
                    <a:pt x="121" y="322"/>
                    <a:pt x="171" y="322"/>
                  </a:cubicBezTo>
                  <a:cubicBezTo>
                    <a:pt x="198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4" y="22"/>
                    <a:pt x="162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9" name="Freeform 61">
              <a:extLst>
                <a:ext uri="{FF2B5EF4-FFF2-40B4-BE49-F238E27FC236}">
                  <a16:creationId xmlns:a16="http://schemas.microsoft.com/office/drawing/2014/main" id="{A2829E68-5B61-4491-BFAD-00B93259D8A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1" y="3328"/>
              <a:ext cx="218" cy="217"/>
            </a:xfrm>
            <a:custGeom>
              <a:avLst/>
              <a:gdLst>
                <a:gd name="T0" fmla="*/ 44 w 300"/>
                <a:gd name="T1" fmla="*/ 44 h 300"/>
                <a:gd name="T2" fmla="*/ 0 w 300"/>
                <a:gd name="T3" fmla="*/ 150 h 300"/>
                <a:gd name="T4" fmla="*/ 44 w 300"/>
                <a:gd name="T5" fmla="*/ 256 h 300"/>
                <a:gd name="T6" fmla="*/ 150 w 300"/>
                <a:gd name="T7" fmla="*/ 300 h 300"/>
                <a:gd name="T8" fmla="*/ 257 w 300"/>
                <a:gd name="T9" fmla="*/ 256 h 300"/>
                <a:gd name="T10" fmla="*/ 300 w 300"/>
                <a:gd name="T11" fmla="*/ 150 h 300"/>
                <a:gd name="T12" fmla="*/ 257 w 300"/>
                <a:gd name="T13" fmla="*/ 44 h 300"/>
                <a:gd name="T14" fmla="*/ 150 w 300"/>
                <a:gd name="T15" fmla="*/ 0 h 300"/>
                <a:gd name="T16" fmla="*/ 44 w 300"/>
                <a:gd name="T17" fmla="*/ 4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44" y="44"/>
                  </a:moveTo>
                  <a:cubicBezTo>
                    <a:pt x="17" y="71"/>
                    <a:pt x="0" y="110"/>
                    <a:pt x="0" y="150"/>
                  </a:cubicBezTo>
                  <a:cubicBezTo>
                    <a:pt x="0" y="190"/>
                    <a:pt x="17" y="229"/>
                    <a:pt x="44" y="256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6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1"/>
                    <a:pt x="257" y="44"/>
                  </a:cubicBezTo>
                  <a:cubicBezTo>
                    <a:pt x="229" y="16"/>
                    <a:pt x="190" y="0"/>
                    <a:pt x="150" y="0"/>
                  </a:cubicBezTo>
                  <a:cubicBezTo>
                    <a:pt x="110" y="0"/>
                    <a:pt x="73" y="16"/>
                    <a:pt x="44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0" name="Freeform 62">
              <a:extLst>
                <a:ext uri="{FF2B5EF4-FFF2-40B4-BE49-F238E27FC236}">
                  <a16:creationId xmlns:a16="http://schemas.microsoft.com/office/drawing/2014/main" id="{14A64FAC-DB8B-4D36-A8B2-43964DFB20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73" y="3100"/>
              <a:ext cx="248" cy="232"/>
            </a:xfrm>
            <a:custGeom>
              <a:avLst/>
              <a:gdLst>
                <a:gd name="T0" fmla="*/ 44 w 341"/>
                <a:gd name="T1" fmla="*/ 92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9 w 341"/>
                <a:gd name="T9" fmla="*/ 43 h 320"/>
                <a:gd name="T10" fmla="*/ 44 w 341"/>
                <a:gd name="T11" fmla="*/ 9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4" y="92"/>
                  </a:moveTo>
                  <a:cubicBezTo>
                    <a:pt x="0" y="162"/>
                    <a:pt x="21" y="254"/>
                    <a:pt x="91" y="298"/>
                  </a:cubicBezTo>
                  <a:cubicBezTo>
                    <a:pt x="116" y="313"/>
                    <a:pt x="144" y="320"/>
                    <a:pt x="170" y="320"/>
                  </a:cubicBezTo>
                  <a:cubicBezTo>
                    <a:pt x="220" y="320"/>
                    <a:pt x="269" y="295"/>
                    <a:pt x="297" y="249"/>
                  </a:cubicBezTo>
                  <a:cubicBezTo>
                    <a:pt x="341" y="179"/>
                    <a:pt x="320" y="87"/>
                    <a:pt x="249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1" name="Freeform 63">
              <a:extLst>
                <a:ext uri="{FF2B5EF4-FFF2-40B4-BE49-F238E27FC236}">
                  <a16:creationId xmlns:a16="http://schemas.microsoft.com/office/drawing/2014/main" id="{F7928523-AC54-4107-91EF-4BD98DCB40A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2248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2 w 341"/>
                <a:gd name="T3" fmla="*/ 298 h 321"/>
                <a:gd name="T4" fmla="*/ 170 w 341"/>
                <a:gd name="T5" fmla="*/ 321 h 321"/>
                <a:gd name="T6" fmla="*/ 298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2" y="255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2" name="Freeform 64">
              <a:extLst>
                <a:ext uri="{FF2B5EF4-FFF2-40B4-BE49-F238E27FC236}">
                  <a16:creationId xmlns:a16="http://schemas.microsoft.com/office/drawing/2014/main" id="{FF210771-9090-4F42-AD50-EBA0D7693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1" y="2887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1 w 341"/>
                <a:gd name="T3" fmla="*/ 298 h 321"/>
                <a:gd name="T4" fmla="*/ 170 w 341"/>
                <a:gd name="T5" fmla="*/ 321 h 321"/>
                <a:gd name="T6" fmla="*/ 297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1" y="255"/>
                    <a:pt x="91" y="298"/>
                  </a:cubicBezTo>
                  <a:cubicBezTo>
                    <a:pt x="116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7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3" name="Freeform 65">
              <a:extLst>
                <a:ext uri="{FF2B5EF4-FFF2-40B4-BE49-F238E27FC236}">
                  <a16:creationId xmlns:a16="http://schemas.microsoft.com/office/drawing/2014/main" id="{5EE40D4E-9650-4C73-9673-3241258EE2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8" y="2674"/>
              <a:ext cx="248" cy="233"/>
            </a:xfrm>
            <a:custGeom>
              <a:avLst/>
              <a:gdLst>
                <a:gd name="T0" fmla="*/ 43 w 341"/>
                <a:gd name="T1" fmla="*/ 91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8 w 341"/>
                <a:gd name="T9" fmla="*/ 43 h 320"/>
                <a:gd name="T10" fmla="*/ 43 w 341"/>
                <a:gd name="T11" fmla="*/ 9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3" y="91"/>
                  </a:moveTo>
                  <a:cubicBezTo>
                    <a:pt x="0" y="161"/>
                    <a:pt x="21" y="254"/>
                    <a:pt x="91" y="298"/>
                  </a:cubicBezTo>
                  <a:cubicBezTo>
                    <a:pt x="116" y="313"/>
                    <a:pt x="143" y="320"/>
                    <a:pt x="170" y="320"/>
                  </a:cubicBezTo>
                  <a:cubicBezTo>
                    <a:pt x="220" y="320"/>
                    <a:pt x="268" y="295"/>
                    <a:pt x="297" y="249"/>
                  </a:cubicBezTo>
                  <a:cubicBezTo>
                    <a:pt x="341" y="179"/>
                    <a:pt x="320" y="86"/>
                    <a:pt x="248" y="43"/>
                  </a:cubicBezTo>
                  <a:cubicBezTo>
                    <a:pt x="180" y="0"/>
                    <a:pt x="87" y="21"/>
                    <a:pt x="43" y="9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4" name="Freeform 66">
              <a:extLst>
                <a:ext uri="{FF2B5EF4-FFF2-40B4-BE49-F238E27FC236}">
                  <a16:creationId xmlns:a16="http://schemas.microsoft.com/office/drawing/2014/main" id="{96828D0A-9B53-4F62-B3B8-0C6CD9AB71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44" y="2462"/>
              <a:ext cx="249" cy="233"/>
            </a:xfrm>
            <a:custGeom>
              <a:avLst/>
              <a:gdLst>
                <a:gd name="T0" fmla="*/ 44 w 342"/>
                <a:gd name="T1" fmla="*/ 92 h 321"/>
                <a:gd name="T2" fmla="*/ 92 w 342"/>
                <a:gd name="T3" fmla="*/ 298 h 321"/>
                <a:gd name="T4" fmla="*/ 170 w 342"/>
                <a:gd name="T5" fmla="*/ 321 h 321"/>
                <a:gd name="T6" fmla="*/ 298 w 342"/>
                <a:gd name="T7" fmla="*/ 249 h 321"/>
                <a:gd name="T8" fmla="*/ 250 w 342"/>
                <a:gd name="T9" fmla="*/ 43 h 321"/>
                <a:gd name="T10" fmla="*/ 44 w 342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44" y="92"/>
                  </a:moveTo>
                  <a:cubicBezTo>
                    <a:pt x="0" y="162"/>
                    <a:pt x="22" y="254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49"/>
                  </a:cubicBezTo>
                  <a:cubicBezTo>
                    <a:pt x="342" y="179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5" name="Freeform 67">
              <a:extLst>
                <a:ext uri="{FF2B5EF4-FFF2-40B4-BE49-F238E27FC236}">
                  <a16:creationId xmlns:a16="http://schemas.microsoft.com/office/drawing/2014/main" id="{6EA1C41B-1635-4C59-AF02-0608AC5338F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75" y="2051"/>
              <a:ext cx="218" cy="218"/>
            </a:xfrm>
            <a:custGeom>
              <a:avLst/>
              <a:gdLst>
                <a:gd name="T0" fmla="*/ 150 w 300"/>
                <a:gd name="T1" fmla="*/ 300 h 300"/>
                <a:gd name="T2" fmla="*/ 257 w 300"/>
                <a:gd name="T3" fmla="*/ 257 h 300"/>
                <a:gd name="T4" fmla="*/ 300 w 300"/>
                <a:gd name="T5" fmla="*/ 150 h 300"/>
                <a:gd name="T6" fmla="*/ 257 w 300"/>
                <a:gd name="T7" fmla="*/ 44 h 300"/>
                <a:gd name="T8" fmla="*/ 150 w 300"/>
                <a:gd name="T9" fmla="*/ 0 h 300"/>
                <a:gd name="T10" fmla="*/ 44 w 300"/>
                <a:gd name="T11" fmla="*/ 44 h 300"/>
                <a:gd name="T12" fmla="*/ 0 w 300"/>
                <a:gd name="T13" fmla="*/ 150 h 300"/>
                <a:gd name="T14" fmla="*/ 44 w 300"/>
                <a:gd name="T15" fmla="*/ 257 h 300"/>
                <a:gd name="T16" fmla="*/ 150 w 300"/>
                <a:gd name="T17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300"/>
                  </a:move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3" y="285"/>
                    <a:pt x="110" y="300"/>
                    <a:pt x="150" y="3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6" name="Freeform 68">
              <a:extLst>
                <a:ext uri="{FF2B5EF4-FFF2-40B4-BE49-F238E27FC236}">
                  <a16:creationId xmlns:a16="http://schemas.microsoft.com/office/drawing/2014/main" id="{F07C5AD9-2576-4472-9676-8AE3668E86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660" y="2765"/>
              <a:ext cx="4359" cy="1509"/>
            </a:xfrm>
            <a:custGeom>
              <a:avLst/>
              <a:gdLst>
                <a:gd name="T0" fmla="*/ 5743 w 5990"/>
                <a:gd name="T1" fmla="*/ 44 h 2079"/>
                <a:gd name="T2" fmla="*/ 2996 w 5990"/>
                <a:gd name="T3" fmla="*/ 1754 h 2079"/>
                <a:gd name="T4" fmla="*/ 250 w 5990"/>
                <a:gd name="T5" fmla="*/ 44 h 2079"/>
                <a:gd name="T6" fmla="*/ 44 w 5990"/>
                <a:gd name="T7" fmla="*/ 91 h 2079"/>
                <a:gd name="T8" fmla="*/ 91 w 5990"/>
                <a:gd name="T9" fmla="*/ 298 h 2079"/>
                <a:gd name="T10" fmla="*/ 2916 w 5990"/>
                <a:gd name="T11" fmla="*/ 2056 h 2079"/>
                <a:gd name="T12" fmla="*/ 2995 w 5990"/>
                <a:gd name="T13" fmla="*/ 2079 h 2079"/>
                <a:gd name="T14" fmla="*/ 3074 w 5990"/>
                <a:gd name="T15" fmla="*/ 2056 h 2079"/>
                <a:gd name="T16" fmla="*/ 5899 w 5990"/>
                <a:gd name="T17" fmla="*/ 298 h 2079"/>
                <a:gd name="T18" fmla="*/ 5946 w 5990"/>
                <a:gd name="T19" fmla="*/ 91 h 2079"/>
                <a:gd name="T20" fmla="*/ 5743 w 5990"/>
                <a:gd name="T21" fmla="*/ 44 h 2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90" h="2079">
                  <a:moveTo>
                    <a:pt x="5743" y="44"/>
                  </a:moveTo>
                  <a:lnTo>
                    <a:pt x="2996" y="1754"/>
                  </a:lnTo>
                  <a:lnTo>
                    <a:pt x="250" y="44"/>
                  </a:lnTo>
                  <a:cubicBezTo>
                    <a:pt x="180" y="0"/>
                    <a:pt x="87" y="21"/>
                    <a:pt x="44" y="91"/>
                  </a:cubicBezTo>
                  <a:cubicBezTo>
                    <a:pt x="0" y="161"/>
                    <a:pt x="21" y="254"/>
                    <a:pt x="91" y="298"/>
                  </a:cubicBezTo>
                  <a:lnTo>
                    <a:pt x="2916" y="2056"/>
                  </a:lnTo>
                  <a:cubicBezTo>
                    <a:pt x="2940" y="2071"/>
                    <a:pt x="2968" y="2079"/>
                    <a:pt x="2995" y="2079"/>
                  </a:cubicBezTo>
                  <a:cubicBezTo>
                    <a:pt x="3023" y="2079"/>
                    <a:pt x="3050" y="2071"/>
                    <a:pt x="3074" y="2056"/>
                  </a:cubicBezTo>
                  <a:lnTo>
                    <a:pt x="5899" y="298"/>
                  </a:lnTo>
                  <a:cubicBezTo>
                    <a:pt x="5969" y="254"/>
                    <a:pt x="5990" y="161"/>
                    <a:pt x="5946" y="91"/>
                  </a:cubicBezTo>
                  <a:cubicBezTo>
                    <a:pt x="5905" y="21"/>
                    <a:pt x="5813" y="0"/>
                    <a:pt x="5743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36" name="Group 4">
            <a:extLst>
              <a:ext uri="{FF2B5EF4-FFF2-40B4-BE49-F238E27FC236}">
                <a16:creationId xmlns:a16="http://schemas.microsoft.com/office/drawing/2014/main" id="{8E2746D5-F4A6-458B-ACE0-7717EF4760B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804898" y="2511422"/>
            <a:ext cx="432049" cy="416973"/>
            <a:chOff x="1674" y="69"/>
            <a:chExt cx="4299" cy="4149"/>
          </a:xfrm>
          <a:solidFill>
            <a:schemeClr val="bg1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D59FD45F-AB88-48EA-93DF-2EC9935F3C9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87"/>
              <a:ext cx="1235" cy="3031"/>
            </a:xfrm>
            <a:custGeom>
              <a:avLst/>
              <a:gdLst>
                <a:gd name="T0" fmla="*/ 1540 w 1738"/>
                <a:gd name="T1" fmla="*/ 0 h 4275"/>
                <a:gd name="T2" fmla="*/ 196 w 1738"/>
                <a:gd name="T3" fmla="*/ 0 h 4275"/>
                <a:gd name="T4" fmla="*/ 0 w 1738"/>
                <a:gd name="T5" fmla="*/ 196 h 4275"/>
                <a:gd name="T6" fmla="*/ 0 w 1738"/>
                <a:gd name="T7" fmla="*/ 4079 h 4275"/>
                <a:gd name="T8" fmla="*/ 196 w 1738"/>
                <a:gd name="T9" fmla="*/ 4275 h 4275"/>
                <a:gd name="T10" fmla="*/ 1540 w 1738"/>
                <a:gd name="T11" fmla="*/ 4275 h 4275"/>
                <a:gd name="T12" fmla="*/ 1736 w 1738"/>
                <a:gd name="T13" fmla="*/ 4079 h 4275"/>
                <a:gd name="T14" fmla="*/ 1736 w 1738"/>
                <a:gd name="T15" fmla="*/ 196 h 4275"/>
                <a:gd name="T16" fmla="*/ 1540 w 1738"/>
                <a:gd name="T17" fmla="*/ 0 h 4275"/>
                <a:gd name="T18" fmla="*/ 1344 w 1738"/>
                <a:gd name="T19" fmla="*/ 3883 h 4275"/>
                <a:gd name="T20" fmla="*/ 393 w 1738"/>
                <a:gd name="T21" fmla="*/ 3883 h 4275"/>
                <a:gd name="T22" fmla="*/ 393 w 1738"/>
                <a:gd name="T23" fmla="*/ 393 h 4275"/>
                <a:gd name="T24" fmla="*/ 1344 w 1738"/>
                <a:gd name="T25" fmla="*/ 393 h 4275"/>
                <a:gd name="T26" fmla="*/ 1344 w 1738"/>
                <a:gd name="T27" fmla="*/ 3883 h 4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8" h="4275">
                  <a:moveTo>
                    <a:pt x="1540" y="0"/>
                  </a:moveTo>
                  <a:lnTo>
                    <a:pt x="196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4079"/>
                  </a:lnTo>
                  <a:cubicBezTo>
                    <a:pt x="0" y="4188"/>
                    <a:pt x="88" y="4275"/>
                    <a:pt x="196" y="4275"/>
                  </a:cubicBezTo>
                  <a:lnTo>
                    <a:pt x="1540" y="4275"/>
                  </a:lnTo>
                  <a:cubicBezTo>
                    <a:pt x="1649" y="4275"/>
                    <a:pt x="1736" y="4188"/>
                    <a:pt x="1736" y="4079"/>
                  </a:cubicBezTo>
                  <a:lnTo>
                    <a:pt x="1736" y="196"/>
                  </a:lnTo>
                  <a:cubicBezTo>
                    <a:pt x="1738" y="88"/>
                    <a:pt x="1649" y="0"/>
                    <a:pt x="1540" y="0"/>
                  </a:cubicBezTo>
                  <a:close/>
                  <a:moveTo>
                    <a:pt x="1344" y="3883"/>
                  </a:moveTo>
                  <a:lnTo>
                    <a:pt x="393" y="3883"/>
                  </a:lnTo>
                  <a:lnTo>
                    <a:pt x="393" y="393"/>
                  </a:lnTo>
                  <a:lnTo>
                    <a:pt x="1344" y="393"/>
                  </a:lnTo>
                  <a:lnTo>
                    <a:pt x="1344" y="388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71750523-6DAB-4310-BDF6-FF89528BED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38" y="1918"/>
              <a:ext cx="1235" cy="2300"/>
            </a:xfrm>
            <a:custGeom>
              <a:avLst/>
              <a:gdLst>
                <a:gd name="T0" fmla="*/ 1540 w 1737"/>
                <a:gd name="T1" fmla="*/ 0 h 3245"/>
                <a:gd name="T2" fmla="*/ 197 w 1737"/>
                <a:gd name="T3" fmla="*/ 0 h 3245"/>
                <a:gd name="T4" fmla="*/ 0 w 1737"/>
                <a:gd name="T5" fmla="*/ 196 h 3245"/>
                <a:gd name="T6" fmla="*/ 0 w 1737"/>
                <a:gd name="T7" fmla="*/ 3049 h 3245"/>
                <a:gd name="T8" fmla="*/ 197 w 1737"/>
                <a:gd name="T9" fmla="*/ 3245 h 3245"/>
                <a:gd name="T10" fmla="*/ 1540 w 1737"/>
                <a:gd name="T11" fmla="*/ 3245 h 3245"/>
                <a:gd name="T12" fmla="*/ 1737 w 1737"/>
                <a:gd name="T13" fmla="*/ 3049 h 3245"/>
                <a:gd name="T14" fmla="*/ 1737 w 1737"/>
                <a:gd name="T15" fmla="*/ 196 h 3245"/>
                <a:gd name="T16" fmla="*/ 1540 w 1737"/>
                <a:gd name="T17" fmla="*/ 0 h 3245"/>
                <a:gd name="T18" fmla="*/ 393 w 1737"/>
                <a:gd name="T19" fmla="*/ 393 h 3245"/>
                <a:gd name="T20" fmla="*/ 698 w 1737"/>
                <a:gd name="T21" fmla="*/ 393 h 3245"/>
                <a:gd name="T22" fmla="*/ 393 w 1737"/>
                <a:gd name="T23" fmla="*/ 698 h 3245"/>
                <a:gd name="T24" fmla="*/ 393 w 1737"/>
                <a:gd name="T25" fmla="*/ 393 h 3245"/>
                <a:gd name="T26" fmla="*/ 393 w 1737"/>
                <a:gd name="T27" fmla="*/ 1010 h 3245"/>
                <a:gd name="T28" fmla="*/ 1009 w 1737"/>
                <a:gd name="T29" fmla="*/ 394 h 3245"/>
                <a:gd name="T30" fmla="*/ 1320 w 1737"/>
                <a:gd name="T31" fmla="*/ 394 h 3245"/>
                <a:gd name="T32" fmla="*/ 393 w 1737"/>
                <a:gd name="T33" fmla="*/ 1321 h 3245"/>
                <a:gd name="T34" fmla="*/ 393 w 1737"/>
                <a:gd name="T35" fmla="*/ 1010 h 3245"/>
                <a:gd name="T36" fmla="*/ 1344 w 1737"/>
                <a:gd name="T37" fmla="*/ 2853 h 3245"/>
                <a:gd name="T38" fmla="*/ 1038 w 1737"/>
                <a:gd name="T39" fmla="*/ 2853 h 3245"/>
                <a:gd name="T40" fmla="*/ 1344 w 1737"/>
                <a:gd name="T41" fmla="*/ 2546 h 3245"/>
                <a:gd name="T42" fmla="*/ 1344 w 1737"/>
                <a:gd name="T43" fmla="*/ 2853 h 3245"/>
                <a:gd name="T44" fmla="*/ 1344 w 1737"/>
                <a:gd name="T45" fmla="*/ 2235 h 3245"/>
                <a:gd name="T46" fmla="*/ 727 w 1737"/>
                <a:gd name="T47" fmla="*/ 2853 h 3245"/>
                <a:gd name="T48" fmla="*/ 415 w 1737"/>
                <a:gd name="T49" fmla="*/ 2853 h 3245"/>
                <a:gd name="T50" fmla="*/ 1343 w 1737"/>
                <a:gd name="T51" fmla="*/ 1925 h 3245"/>
                <a:gd name="T52" fmla="*/ 1343 w 1737"/>
                <a:gd name="T53" fmla="*/ 2235 h 3245"/>
                <a:gd name="T54" fmla="*/ 1344 w 1737"/>
                <a:gd name="T55" fmla="*/ 2235 h 3245"/>
                <a:gd name="T56" fmla="*/ 1344 w 1737"/>
                <a:gd name="T57" fmla="*/ 1614 h 3245"/>
                <a:gd name="T58" fmla="*/ 393 w 1737"/>
                <a:gd name="T59" fmla="*/ 2565 h 3245"/>
                <a:gd name="T60" fmla="*/ 393 w 1737"/>
                <a:gd name="T61" fmla="*/ 2254 h 3245"/>
                <a:gd name="T62" fmla="*/ 1344 w 1737"/>
                <a:gd name="T63" fmla="*/ 1303 h 3245"/>
                <a:gd name="T64" fmla="*/ 1344 w 1737"/>
                <a:gd name="T65" fmla="*/ 1614 h 3245"/>
                <a:gd name="T66" fmla="*/ 1344 w 1737"/>
                <a:gd name="T67" fmla="*/ 991 h 3245"/>
                <a:gd name="T68" fmla="*/ 393 w 1737"/>
                <a:gd name="T69" fmla="*/ 1942 h 3245"/>
                <a:gd name="T70" fmla="*/ 393 w 1737"/>
                <a:gd name="T71" fmla="*/ 1631 h 3245"/>
                <a:gd name="T72" fmla="*/ 1344 w 1737"/>
                <a:gd name="T73" fmla="*/ 680 h 3245"/>
                <a:gd name="T74" fmla="*/ 1344 w 1737"/>
                <a:gd name="T75" fmla="*/ 991 h 3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37" h="3245">
                  <a:moveTo>
                    <a:pt x="1540" y="0"/>
                  </a:moveTo>
                  <a:lnTo>
                    <a:pt x="197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3049"/>
                  </a:lnTo>
                  <a:cubicBezTo>
                    <a:pt x="0" y="3157"/>
                    <a:pt x="88" y="3245"/>
                    <a:pt x="197" y="3245"/>
                  </a:cubicBezTo>
                  <a:lnTo>
                    <a:pt x="1540" y="3245"/>
                  </a:lnTo>
                  <a:cubicBezTo>
                    <a:pt x="1649" y="3245"/>
                    <a:pt x="1737" y="3157"/>
                    <a:pt x="1737" y="3049"/>
                  </a:cubicBezTo>
                  <a:lnTo>
                    <a:pt x="1737" y="196"/>
                  </a:lnTo>
                  <a:cubicBezTo>
                    <a:pt x="1737" y="88"/>
                    <a:pt x="1649" y="0"/>
                    <a:pt x="1540" y="0"/>
                  </a:cubicBezTo>
                  <a:close/>
                  <a:moveTo>
                    <a:pt x="393" y="393"/>
                  </a:moveTo>
                  <a:lnTo>
                    <a:pt x="698" y="393"/>
                  </a:lnTo>
                  <a:lnTo>
                    <a:pt x="393" y="698"/>
                  </a:lnTo>
                  <a:lnTo>
                    <a:pt x="393" y="393"/>
                  </a:lnTo>
                  <a:close/>
                  <a:moveTo>
                    <a:pt x="393" y="1010"/>
                  </a:moveTo>
                  <a:lnTo>
                    <a:pt x="1009" y="394"/>
                  </a:lnTo>
                  <a:lnTo>
                    <a:pt x="1320" y="394"/>
                  </a:lnTo>
                  <a:lnTo>
                    <a:pt x="393" y="1321"/>
                  </a:lnTo>
                  <a:lnTo>
                    <a:pt x="393" y="1010"/>
                  </a:lnTo>
                  <a:close/>
                  <a:moveTo>
                    <a:pt x="1344" y="2853"/>
                  </a:moveTo>
                  <a:lnTo>
                    <a:pt x="1038" y="2853"/>
                  </a:lnTo>
                  <a:lnTo>
                    <a:pt x="1344" y="2546"/>
                  </a:lnTo>
                  <a:lnTo>
                    <a:pt x="1344" y="2853"/>
                  </a:lnTo>
                  <a:close/>
                  <a:moveTo>
                    <a:pt x="1344" y="2235"/>
                  </a:moveTo>
                  <a:lnTo>
                    <a:pt x="727" y="2853"/>
                  </a:lnTo>
                  <a:lnTo>
                    <a:pt x="415" y="2853"/>
                  </a:lnTo>
                  <a:lnTo>
                    <a:pt x="1343" y="1925"/>
                  </a:lnTo>
                  <a:lnTo>
                    <a:pt x="1343" y="2235"/>
                  </a:lnTo>
                  <a:lnTo>
                    <a:pt x="1344" y="2235"/>
                  </a:lnTo>
                  <a:close/>
                  <a:moveTo>
                    <a:pt x="1344" y="1614"/>
                  </a:moveTo>
                  <a:lnTo>
                    <a:pt x="393" y="2565"/>
                  </a:lnTo>
                  <a:lnTo>
                    <a:pt x="393" y="2254"/>
                  </a:lnTo>
                  <a:lnTo>
                    <a:pt x="1344" y="1303"/>
                  </a:lnTo>
                  <a:lnTo>
                    <a:pt x="1344" y="1614"/>
                  </a:lnTo>
                  <a:close/>
                  <a:moveTo>
                    <a:pt x="1344" y="991"/>
                  </a:moveTo>
                  <a:lnTo>
                    <a:pt x="393" y="1942"/>
                  </a:lnTo>
                  <a:lnTo>
                    <a:pt x="393" y="1631"/>
                  </a:lnTo>
                  <a:lnTo>
                    <a:pt x="1344" y="680"/>
                  </a:lnTo>
                  <a:lnTo>
                    <a:pt x="1344" y="9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A2223AF8-CDC8-4864-8828-A765767720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69"/>
              <a:ext cx="1235" cy="4149"/>
            </a:xfrm>
            <a:custGeom>
              <a:avLst/>
              <a:gdLst>
                <a:gd name="T0" fmla="*/ 1541 w 1737"/>
                <a:gd name="T1" fmla="*/ 0 h 5852"/>
                <a:gd name="T2" fmla="*/ 196 w 1737"/>
                <a:gd name="T3" fmla="*/ 0 h 5852"/>
                <a:gd name="T4" fmla="*/ 0 w 1737"/>
                <a:gd name="T5" fmla="*/ 196 h 5852"/>
                <a:gd name="T6" fmla="*/ 0 w 1737"/>
                <a:gd name="T7" fmla="*/ 5656 h 5852"/>
                <a:gd name="T8" fmla="*/ 196 w 1737"/>
                <a:gd name="T9" fmla="*/ 5852 h 5852"/>
                <a:gd name="T10" fmla="*/ 1540 w 1737"/>
                <a:gd name="T11" fmla="*/ 5852 h 5852"/>
                <a:gd name="T12" fmla="*/ 1736 w 1737"/>
                <a:gd name="T13" fmla="*/ 5656 h 5852"/>
                <a:gd name="T14" fmla="*/ 1736 w 1737"/>
                <a:gd name="T15" fmla="*/ 196 h 5852"/>
                <a:gd name="T16" fmla="*/ 1541 w 1737"/>
                <a:gd name="T17" fmla="*/ 0 h 5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37" h="5852">
                  <a:moveTo>
                    <a:pt x="1541" y="0"/>
                  </a:moveTo>
                  <a:lnTo>
                    <a:pt x="196" y="0"/>
                  </a:lnTo>
                  <a:cubicBezTo>
                    <a:pt x="88" y="0"/>
                    <a:pt x="0" y="87"/>
                    <a:pt x="0" y="196"/>
                  </a:cubicBezTo>
                  <a:lnTo>
                    <a:pt x="0" y="5656"/>
                  </a:lnTo>
                  <a:cubicBezTo>
                    <a:pt x="0" y="5765"/>
                    <a:pt x="88" y="5852"/>
                    <a:pt x="196" y="5852"/>
                  </a:cubicBezTo>
                  <a:lnTo>
                    <a:pt x="1540" y="5852"/>
                  </a:lnTo>
                  <a:cubicBezTo>
                    <a:pt x="1649" y="5852"/>
                    <a:pt x="1736" y="5765"/>
                    <a:pt x="1736" y="5656"/>
                  </a:cubicBezTo>
                  <a:lnTo>
                    <a:pt x="1736" y="196"/>
                  </a:lnTo>
                  <a:cubicBezTo>
                    <a:pt x="1737" y="87"/>
                    <a:pt x="1650" y="0"/>
                    <a:pt x="154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9" name="Group 168">
            <a:extLst>
              <a:ext uri="{FF2B5EF4-FFF2-40B4-BE49-F238E27FC236}">
                <a16:creationId xmlns:a16="http://schemas.microsoft.com/office/drawing/2014/main" id="{2CDEA289-289B-42F8-8E27-79CA0D825014}"/>
              </a:ext>
            </a:extLst>
          </p:cNvPr>
          <p:cNvGrpSpPr/>
          <p:nvPr/>
        </p:nvGrpSpPr>
        <p:grpSpPr bwMode="gray">
          <a:xfrm>
            <a:off x="5337554" y="2283495"/>
            <a:ext cx="387723" cy="458852"/>
            <a:chOff x="549275" y="2252663"/>
            <a:chExt cx="882650" cy="1044575"/>
          </a:xfrm>
          <a:solidFill>
            <a:schemeClr val="bg1"/>
          </a:solidFill>
        </p:grpSpPr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BBFB1179-3F63-4A0E-94F9-CF07DE61B1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9275" y="2252663"/>
              <a:ext cx="882650" cy="1044575"/>
            </a:xfrm>
            <a:custGeom>
              <a:avLst/>
              <a:gdLst>
                <a:gd name="T0" fmla="*/ 2688 w 3336"/>
                <a:gd name="T1" fmla="*/ 3300 h 3948"/>
                <a:gd name="T2" fmla="*/ 161 w 3336"/>
                <a:gd name="T3" fmla="*/ 3322 h 3948"/>
                <a:gd name="T4" fmla="*/ 171 w 3336"/>
                <a:gd name="T5" fmla="*/ 3406 h 3948"/>
                <a:gd name="T6" fmla="*/ 244 w 3336"/>
                <a:gd name="T7" fmla="*/ 3452 h 3948"/>
                <a:gd name="T8" fmla="*/ 324 w 3336"/>
                <a:gd name="T9" fmla="*/ 3424 h 3948"/>
                <a:gd name="T10" fmla="*/ 1844 w 3336"/>
                <a:gd name="T11" fmla="*/ 906 h 3948"/>
                <a:gd name="T12" fmla="*/ 1570 w 3336"/>
                <a:gd name="T13" fmla="*/ 986 h 3948"/>
                <a:gd name="T14" fmla="*/ 1348 w 3336"/>
                <a:gd name="T15" fmla="*/ 1154 h 3948"/>
                <a:gd name="T16" fmla="*/ 1198 w 3336"/>
                <a:gd name="T17" fmla="*/ 1391 h 3948"/>
                <a:gd name="T18" fmla="*/ 1144 w 3336"/>
                <a:gd name="T19" fmla="*/ 1677 h 3948"/>
                <a:gd name="T20" fmla="*/ 1198 w 3336"/>
                <a:gd name="T21" fmla="*/ 1962 h 3948"/>
                <a:gd name="T22" fmla="*/ 1348 w 3336"/>
                <a:gd name="T23" fmla="*/ 2199 h 3948"/>
                <a:gd name="T24" fmla="*/ 1570 w 3336"/>
                <a:gd name="T25" fmla="*/ 2368 h 3948"/>
                <a:gd name="T26" fmla="*/ 1844 w 3336"/>
                <a:gd name="T27" fmla="*/ 2448 h 3948"/>
                <a:gd name="T28" fmla="*/ 2136 w 3336"/>
                <a:gd name="T29" fmla="*/ 2420 h 3948"/>
                <a:gd name="T30" fmla="*/ 2387 w 3336"/>
                <a:gd name="T31" fmla="*/ 2293 h 3948"/>
                <a:gd name="T32" fmla="*/ 2574 w 3336"/>
                <a:gd name="T33" fmla="*/ 2088 h 3948"/>
                <a:gd name="T34" fmla="*/ 2678 w 3336"/>
                <a:gd name="T35" fmla="*/ 1823 h 3948"/>
                <a:gd name="T36" fmla="*/ 2678 w 3336"/>
                <a:gd name="T37" fmla="*/ 1530 h 3948"/>
                <a:gd name="T38" fmla="*/ 2574 w 3336"/>
                <a:gd name="T39" fmla="*/ 1266 h 3948"/>
                <a:gd name="T40" fmla="*/ 2387 w 3336"/>
                <a:gd name="T41" fmla="*/ 1060 h 3948"/>
                <a:gd name="T42" fmla="*/ 2136 w 3336"/>
                <a:gd name="T43" fmla="*/ 933 h 3948"/>
                <a:gd name="T44" fmla="*/ 635 w 3336"/>
                <a:gd name="T45" fmla="*/ 157 h 3948"/>
                <a:gd name="T46" fmla="*/ 918 w 3336"/>
                <a:gd name="T47" fmla="*/ 2344 h 3948"/>
                <a:gd name="T48" fmla="*/ 994 w 3336"/>
                <a:gd name="T49" fmla="*/ 2364 h 3948"/>
                <a:gd name="T50" fmla="*/ 1126 w 3336"/>
                <a:gd name="T51" fmla="*/ 2167 h 3948"/>
                <a:gd name="T52" fmla="*/ 1014 w 3336"/>
                <a:gd name="T53" fmla="*/ 1900 h 3948"/>
                <a:gd name="T54" fmla="*/ 991 w 3336"/>
                <a:gd name="T55" fmla="*/ 1592 h 3948"/>
                <a:gd name="T56" fmla="*/ 1077 w 3336"/>
                <a:gd name="T57" fmla="*/ 1278 h 3948"/>
                <a:gd name="T58" fmla="*/ 1260 w 3336"/>
                <a:gd name="T59" fmla="*/ 1018 h 3948"/>
                <a:gd name="T60" fmla="*/ 1520 w 3336"/>
                <a:gd name="T61" fmla="*/ 835 h 3948"/>
                <a:gd name="T62" fmla="*/ 1834 w 3336"/>
                <a:gd name="T63" fmla="*/ 749 h 3948"/>
                <a:gd name="T64" fmla="*/ 2167 w 3336"/>
                <a:gd name="T65" fmla="*/ 778 h 3948"/>
                <a:gd name="T66" fmla="*/ 2456 w 3336"/>
                <a:gd name="T67" fmla="*/ 915 h 3948"/>
                <a:gd name="T68" fmla="*/ 2680 w 3336"/>
                <a:gd name="T69" fmla="*/ 1140 h 3948"/>
                <a:gd name="T70" fmla="*/ 2817 w 3336"/>
                <a:gd name="T71" fmla="*/ 1430 h 3948"/>
                <a:gd name="T72" fmla="*/ 2846 w 3336"/>
                <a:gd name="T73" fmla="*/ 1761 h 3948"/>
                <a:gd name="T74" fmla="*/ 2761 w 3336"/>
                <a:gd name="T75" fmla="*/ 2076 h 3948"/>
                <a:gd name="T76" fmla="*/ 2577 w 3336"/>
                <a:gd name="T77" fmla="*/ 2335 h 3948"/>
                <a:gd name="T78" fmla="*/ 2317 w 3336"/>
                <a:gd name="T79" fmla="*/ 2518 h 3948"/>
                <a:gd name="T80" fmla="*/ 2003 w 3336"/>
                <a:gd name="T81" fmla="*/ 2604 h 3948"/>
                <a:gd name="T82" fmla="*/ 1673 w 3336"/>
                <a:gd name="T83" fmla="*/ 2576 h 3948"/>
                <a:gd name="T84" fmla="*/ 1386 w 3336"/>
                <a:gd name="T85" fmla="*/ 2441 h 3948"/>
                <a:gd name="T86" fmla="*/ 1257 w 3336"/>
                <a:gd name="T87" fmla="*/ 2631 h 3948"/>
                <a:gd name="T88" fmla="*/ 1257 w 3336"/>
                <a:gd name="T89" fmla="*/ 2709 h 3948"/>
                <a:gd name="T90" fmla="*/ 2531 w 3336"/>
                <a:gd name="T91" fmla="*/ 3791 h 3948"/>
                <a:gd name="T92" fmla="*/ 2554 w 3336"/>
                <a:gd name="T93" fmla="*/ 3166 h 3948"/>
                <a:gd name="T94" fmla="*/ 2610 w 3336"/>
                <a:gd name="T95" fmla="*/ 3143 h 3948"/>
                <a:gd name="T96" fmla="*/ 556 w 3336"/>
                <a:gd name="T97" fmla="*/ 0 h 3948"/>
                <a:gd name="T98" fmla="*/ 3313 w 3336"/>
                <a:gd name="T99" fmla="*/ 23 h 3948"/>
                <a:gd name="T100" fmla="*/ 3336 w 3336"/>
                <a:gd name="T101" fmla="*/ 3222 h 3948"/>
                <a:gd name="T102" fmla="*/ 2666 w 3336"/>
                <a:gd name="T103" fmla="*/ 3925 h 3948"/>
                <a:gd name="T104" fmla="*/ 556 w 3336"/>
                <a:gd name="T105" fmla="*/ 3948 h 3948"/>
                <a:gd name="T106" fmla="*/ 488 w 3336"/>
                <a:gd name="T107" fmla="*/ 3909 h 3948"/>
                <a:gd name="T108" fmla="*/ 435 w 3336"/>
                <a:gd name="T109" fmla="*/ 3535 h 3948"/>
                <a:gd name="T110" fmla="*/ 319 w 3336"/>
                <a:gd name="T111" fmla="*/ 3601 h 3948"/>
                <a:gd name="T112" fmla="*/ 190 w 3336"/>
                <a:gd name="T113" fmla="*/ 3601 h 3948"/>
                <a:gd name="T114" fmla="*/ 74 w 3336"/>
                <a:gd name="T115" fmla="*/ 3535 h 3948"/>
                <a:gd name="T116" fmla="*/ 5 w 3336"/>
                <a:gd name="T117" fmla="*/ 3407 h 3948"/>
                <a:gd name="T118" fmla="*/ 14 w 3336"/>
                <a:gd name="T119" fmla="*/ 3266 h 3948"/>
                <a:gd name="T120" fmla="*/ 477 w 3336"/>
                <a:gd name="T121" fmla="*/ 2770 h 3948"/>
                <a:gd name="T122" fmla="*/ 501 w 3336"/>
                <a:gd name="T123" fmla="*/ 23 h 3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36" h="3948">
                  <a:moveTo>
                    <a:pt x="2688" y="3300"/>
                  </a:moveTo>
                  <a:lnTo>
                    <a:pt x="2689" y="3680"/>
                  </a:lnTo>
                  <a:lnTo>
                    <a:pt x="3068" y="3300"/>
                  </a:lnTo>
                  <a:lnTo>
                    <a:pt x="2688" y="3300"/>
                  </a:lnTo>
                  <a:close/>
                  <a:moveTo>
                    <a:pt x="939" y="2532"/>
                  </a:moveTo>
                  <a:lnTo>
                    <a:pt x="185" y="3285"/>
                  </a:lnTo>
                  <a:lnTo>
                    <a:pt x="171" y="3302"/>
                  </a:lnTo>
                  <a:lnTo>
                    <a:pt x="161" y="3322"/>
                  </a:lnTo>
                  <a:lnTo>
                    <a:pt x="157" y="3344"/>
                  </a:lnTo>
                  <a:lnTo>
                    <a:pt x="157" y="3365"/>
                  </a:lnTo>
                  <a:lnTo>
                    <a:pt x="161" y="3386"/>
                  </a:lnTo>
                  <a:lnTo>
                    <a:pt x="171" y="3406"/>
                  </a:lnTo>
                  <a:lnTo>
                    <a:pt x="185" y="3424"/>
                  </a:lnTo>
                  <a:lnTo>
                    <a:pt x="203" y="3438"/>
                  </a:lnTo>
                  <a:lnTo>
                    <a:pt x="222" y="3447"/>
                  </a:lnTo>
                  <a:lnTo>
                    <a:pt x="244" y="3452"/>
                  </a:lnTo>
                  <a:lnTo>
                    <a:pt x="265" y="3452"/>
                  </a:lnTo>
                  <a:lnTo>
                    <a:pt x="287" y="3447"/>
                  </a:lnTo>
                  <a:lnTo>
                    <a:pt x="306" y="3438"/>
                  </a:lnTo>
                  <a:lnTo>
                    <a:pt x="324" y="3424"/>
                  </a:lnTo>
                  <a:lnTo>
                    <a:pt x="1077" y="2670"/>
                  </a:lnTo>
                  <a:lnTo>
                    <a:pt x="939" y="2532"/>
                  </a:lnTo>
                  <a:close/>
                  <a:moveTo>
                    <a:pt x="1919" y="902"/>
                  </a:moveTo>
                  <a:lnTo>
                    <a:pt x="1844" y="906"/>
                  </a:lnTo>
                  <a:lnTo>
                    <a:pt x="1772" y="916"/>
                  </a:lnTo>
                  <a:lnTo>
                    <a:pt x="1701" y="933"/>
                  </a:lnTo>
                  <a:lnTo>
                    <a:pt x="1635" y="956"/>
                  </a:lnTo>
                  <a:lnTo>
                    <a:pt x="1570" y="986"/>
                  </a:lnTo>
                  <a:lnTo>
                    <a:pt x="1508" y="1020"/>
                  </a:lnTo>
                  <a:lnTo>
                    <a:pt x="1450" y="1060"/>
                  </a:lnTo>
                  <a:lnTo>
                    <a:pt x="1397" y="1105"/>
                  </a:lnTo>
                  <a:lnTo>
                    <a:pt x="1348" y="1154"/>
                  </a:lnTo>
                  <a:lnTo>
                    <a:pt x="1302" y="1208"/>
                  </a:lnTo>
                  <a:lnTo>
                    <a:pt x="1263" y="1266"/>
                  </a:lnTo>
                  <a:lnTo>
                    <a:pt x="1228" y="1327"/>
                  </a:lnTo>
                  <a:lnTo>
                    <a:pt x="1198" y="1391"/>
                  </a:lnTo>
                  <a:lnTo>
                    <a:pt x="1175" y="1460"/>
                  </a:lnTo>
                  <a:lnTo>
                    <a:pt x="1159" y="1530"/>
                  </a:lnTo>
                  <a:lnTo>
                    <a:pt x="1148" y="1602"/>
                  </a:lnTo>
                  <a:lnTo>
                    <a:pt x="1144" y="1677"/>
                  </a:lnTo>
                  <a:lnTo>
                    <a:pt x="1148" y="1751"/>
                  </a:lnTo>
                  <a:lnTo>
                    <a:pt x="1159" y="1823"/>
                  </a:lnTo>
                  <a:lnTo>
                    <a:pt x="1175" y="1894"/>
                  </a:lnTo>
                  <a:lnTo>
                    <a:pt x="1198" y="1962"/>
                  </a:lnTo>
                  <a:lnTo>
                    <a:pt x="1228" y="2027"/>
                  </a:lnTo>
                  <a:lnTo>
                    <a:pt x="1263" y="2088"/>
                  </a:lnTo>
                  <a:lnTo>
                    <a:pt x="1302" y="2145"/>
                  </a:lnTo>
                  <a:lnTo>
                    <a:pt x="1348" y="2199"/>
                  </a:lnTo>
                  <a:lnTo>
                    <a:pt x="1397" y="2248"/>
                  </a:lnTo>
                  <a:lnTo>
                    <a:pt x="1450" y="2293"/>
                  </a:lnTo>
                  <a:lnTo>
                    <a:pt x="1508" y="2333"/>
                  </a:lnTo>
                  <a:lnTo>
                    <a:pt x="1570" y="2368"/>
                  </a:lnTo>
                  <a:lnTo>
                    <a:pt x="1635" y="2398"/>
                  </a:lnTo>
                  <a:lnTo>
                    <a:pt x="1701" y="2420"/>
                  </a:lnTo>
                  <a:lnTo>
                    <a:pt x="1772" y="2437"/>
                  </a:lnTo>
                  <a:lnTo>
                    <a:pt x="1844" y="2448"/>
                  </a:lnTo>
                  <a:lnTo>
                    <a:pt x="1919" y="2451"/>
                  </a:lnTo>
                  <a:lnTo>
                    <a:pt x="1993" y="2448"/>
                  </a:lnTo>
                  <a:lnTo>
                    <a:pt x="2066" y="2437"/>
                  </a:lnTo>
                  <a:lnTo>
                    <a:pt x="2136" y="2420"/>
                  </a:lnTo>
                  <a:lnTo>
                    <a:pt x="2204" y="2398"/>
                  </a:lnTo>
                  <a:lnTo>
                    <a:pt x="2268" y="2368"/>
                  </a:lnTo>
                  <a:lnTo>
                    <a:pt x="2329" y="2333"/>
                  </a:lnTo>
                  <a:lnTo>
                    <a:pt x="2387" y="2293"/>
                  </a:lnTo>
                  <a:lnTo>
                    <a:pt x="2440" y="2248"/>
                  </a:lnTo>
                  <a:lnTo>
                    <a:pt x="2491" y="2199"/>
                  </a:lnTo>
                  <a:lnTo>
                    <a:pt x="2535" y="2145"/>
                  </a:lnTo>
                  <a:lnTo>
                    <a:pt x="2574" y="2088"/>
                  </a:lnTo>
                  <a:lnTo>
                    <a:pt x="2609" y="2027"/>
                  </a:lnTo>
                  <a:lnTo>
                    <a:pt x="2639" y="1962"/>
                  </a:lnTo>
                  <a:lnTo>
                    <a:pt x="2662" y="1894"/>
                  </a:lnTo>
                  <a:lnTo>
                    <a:pt x="2678" y="1823"/>
                  </a:lnTo>
                  <a:lnTo>
                    <a:pt x="2689" y="1751"/>
                  </a:lnTo>
                  <a:lnTo>
                    <a:pt x="2693" y="1677"/>
                  </a:lnTo>
                  <a:lnTo>
                    <a:pt x="2689" y="1602"/>
                  </a:lnTo>
                  <a:lnTo>
                    <a:pt x="2678" y="1530"/>
                  </a:lnTo>
                  <a:lnTo>
                    <a:pt x="2662" y="1460"/>
                  </a:lnTo>
                  <a:lnTo>
                    <a:pt x="2639" y="1391"/>
                  </a:lnTo>
                  <a:lnTo>
                    <a:pt x="2609" y="1327"/>
                  </a:lnTo>
                  <a:lnTo>
                    <a:pt x="2574" y="1266"/>
                  </a:lnTo>
                  <a:lnTo>
                    <a:pt x="2535" y="1208"/>
                  </a:lnTo>
                  <a:lnTo>
                    <a:pt x="2491" y="1154"/>
                  </a:lnTo>
                  <a:lnTo>
                    <a:pt x="2440" y="1105"/>
                  </a:lnTo>
                  <a:lnTo>
                    <a:pt x="2387" y="1060"/>
                  </a:lnTo>
                  <a:lnTo>
                    <a:pt x="2329" y="1020"/>
                  </a:lnTo>
                  <a:lnTo>
                    <a:pt x="2268" y="986"/>
                  </a:lnTo>
                  <a:lnTo>
                    <a:pt x="2204" y="956"/>
                  </a:lnTo>
                  <a:lnTo>
                    <a:pt x="2136" y="933"/>
                  </a:lnTo>
                  <a:lnTo>
                    <a:pt x="2066" y="916"/>
                  </a:lnTo>
                  <a:lnTo>
                    <a:pt x="1993" y="906"/>
                  </a:lnTo>
                  <a:lnTo>
                    <a:pt x="1919" y="902"/>
                  </a:lnTo>
                  <a:close/>
                  <a:moveTo>
                    <a:pt x="635" y="157"/>
                  </a:moveTo>
                  <a:lnTo>
                    <a:pt x="635" y="2613"/>
                  </a:lnTo>
                  <a:lnTo>
                    <a:pt x="882" y="2364"/>
                  </a:lnTo>
                  <a:lnTo>
                    <a:pt x="899" y="2352"/>
                  </a:lnTo>
                  <a:lnTo>
                    <a:pt x="918" y="2344"/>
                  </a:lnTo>
                  <a:lnTo>
                    <a:pt x="939" y="2341"/>
                  </a:lnTo>
                  <a:lnTo>
                    <a:pt x="959" y="2344"/>
                  </a:lnTo>
                  <a:lnTo>
                    <a:pt x="978" y="2352"/>
                  </a:lnTo>
                  <a:lnTo>
                    <a:pt x="994" y="2364"/>
                  </a:lnTo>
                  <a:lnTo>
                    <a:pt x="1061" y="2431"/>
                  </a:lnTo>
                  <a:lnTo>
                    <a:pt x="1211" y="2281"/>
                  </a:lnTo>
                  <a:lnTo>
                    <a:pt x="1167" y="2225"/>
                  </a:lnTo>
                  <a:lnTo>
                    <a:pt x="1126" y="2167"/>
                  </a:lnTo>
                  <a:lnTo>
                    <a:pt x="1090" y="2103"/>
                  </a:lnTo>
                  <a:lnTo>
                    <a:pt x="1061" y="2039"/>
                  </a:lnTo>
                  <a:lnTo>
                    <a:pt x="1034" y="1970"/>
                  </a:lnTo>
                  <a:lnTo>
                    <a:pt x="1014" y="1900"/>
                  </a:lnTo>
                  <a:lnTo>
                    <a:pt x="1000" y="1827"/>
                  </a:lnTo>
                  <a:lnTo>
                    <a:pt x="990" y="1753"/>
                  </a:lnTo>
                  <a:lnTo>
                    <a:pt x="988" y="1677"/>
                  </a:lnTo>
                  <a:lnTo>
                    <a:pt x="991" y="1592"/>
                  </a:lnTo>
                  <a:lnTo>
                    <a:pt x="1002" y="1510"/>
                  </a:lnTo>
                  <a:lnTo>
                    <a:pt x="1021" y="1430"/>
                  </a:lnTo>
                  <a:lnTo>
                    <a:pt x="1045" y="1352"/>
                  </a:lnTo>
                  <a:lnTo>
                    <a:pt x="1077" y="1278"/>
                  </a:lnTo>
                  <a:lnTo>
                    <a:pt x="1114" y="1207"/>
                  </a:lnTo>
                  <a:lnTo>
                    <a:pt x="1157" y="1140"/>
                  </a:lnTo>
                  <a:lnTo>
                    <a:pt x="1206" y="1077"/>
                  </a:lnTo>
                  <a:lnTo>
                    <a:pt x="1260" y="1018"/>
                  </a:lnTo>
                  <a:lnTo>
                    <a:pt x="1319" y="964"/>
                  </a:lnTo>
                  <a:lnTo>
                    <a:pt x="1382" y="915"/>
                  </a:lnTo>
                  <a:lnTo>
                    <a:pt x="1449" y="872"/>
                  </a:lnTo>
                  <a:lnTo>
                    <a:pt x="1520" y="835"/>
                  </a:lnTo>
                  <a:lnTo>
                    <a:pt x="1594" y="803"/>
                  </a:lnTo>
                  <a:lnTo>
                    <a:pt x="1672" y="778"/>
                  </a:lnTo>
                  <a:lnTo>
                    <a:pt x="1752" y="760"/>
                  </a:lnTo>
                  <a:lnTo>
                    <a:pt x="1834" y="749"/>
                  </a:lnTo>
                  <a:lnTo>
                    <a:pt x="1919" y="745"/>
                  </a:lnTo>
                  <a:lnTo>
                    <a:pt x="2003" y="749"/>
                  </a:lnTo>
                  <a:lnTo>
                    <a:pt x="2086" y="760"/>
                  </a:lnTo>
                  <a:lnTo>
                    <a:pt x="2167" y="778"/>
                  </a:lnTo>
                  <a:lnTo>
                    <a:pt x="2243" y="803"/>
                  </a:lnTo>
                  <a:lnTo>
                    <a:pt x="2317" y="835"/>
                  </a:lnTo>
                  <a:lnTo>
                    <a:pt x="2389" y="872"/>
                  </a:lnTo>
                  <a:lnTo>
                    <a:pt x="2456" y="915"/>
                  </a:lnTo>
                  <a:lnTo>
                    <a:pt x="2518" y="964"/>
                  </a:lnTo>
                  <a:lnTo>
                    <a:pt x="2577" y="1018"/>
                  </a:lnTo>
                  <a:lnTo>
                    <a:pt x="2631" y="1077"/>
                  </a:lnTo>
                  <a:lnTo>
                    <a:pt x="2680" y="1140"/>
                  </a:lnTo>
                  <a:lnTo>
                    <a:pt x="2723" y="1207"/>
                  </a:lnTo>
                  <a:lnTo>
                    <a:pt x="2761" y="1278"/>
                  </a:lnTo>
                  <a:lnTo>
                    <a:pt x="2792" y="1352"/>
                  </a:lnTo>
                  <a:lnTo>
                    <a:pt x="2817" y="1430"/>
                  </a:lnTo>
                  <a:lnTo>
                    <a:pt x="2835" y="1510"/>
                  </a:lnTo>
                  <a:lnTo>
                    <a:pt x="2846" y="1592"/>
                  </a:lnTo>
                  <a:lnTo>
                    <a:pt x="2851" y="1677"/>
                  </a:lnTo>
                  <a:lnTo>
                    <a:pt x="2846" y="1761"/>
                  </a:lnTo>
                  <a:lnTo>
                    <a:pt x="2835" y="1844"/>
                  </a:lnTo>
                  <a:lnTo>
                    <a:pt x="2817" y="1924"/>
                  </a:lnTo>
                  <a:lnTo>
                    <a:pt x="2792" y="2002"/>
                  </a:lnTo>
                  <a:lnTo>
                    <a:pt x="2761" y="2076"/>
                  </a:lnTo>
                  <a:lnTo>
                    <a:pt x="2723" y="2146"/>
                  </a:lnTo>
                  <a:lnTo>
                    <a:pt x="2680" y="2214"/>
                  </a:lnTo>
                  <a:lnTo>
                    <a:pt x="2631" y="2277"/>
                  </a:lnTo>
                  <a:lnTo>
                    <a:pt x="2577" y="2335"/>
                  </a:lnTo>
                  <a:lnTo>
                    <a:pt x="2518" y="2389"/>
                  </a:lnTo>
                  <a:lnTo>
                    <a:pt x="2456" y="2438"/>
                  </a:lnTo>
                  <a:lnTo>
                    <a:pt x="2389" y="2481"/>
                  </a:lnTo>
                  <a:lnTo>
                    <a:pt x="2317" y="2518"/>
                  </a:lnTo>
                  <a:lnTo>
                    <a:pt x="2243" y="2551"/>
                  </a:lnTo>
                  <a:lnTo>
                    <a:pt x="2167" y="2576"/>
                  </a:lnTo>
                  <a:lnTo>
                    <a:pt x="2086" y="2594"/>
                  </a:lnTo>
                  <a:lnTo>
                    <a:pt x="2003" y="2604"/>
                  </a:lnTo>
                  <a:lnTo>
                    <a:pt x="1919" y="2609"/>
                  </a:lnTo>
                  <a:lnTo>
                    <a:pt x="1834" y="2604"/>
                  </a:lnTo>
                  <a:lnTo>
                    <a:pt x="1753" y="2594"/>
                  </a:lnTo>
                  <a:lnTo>
                    <a:pt x="1673" y="2576"/>
                  </a:lnTo>
                  <a:lnTo>
                    <a:pt x="1596" y="2551"/>
                  </a:lnTo>
                  <a:lnTo>
                    <a:pt x="1522" y="2520"/>
                  </a:lnTo>
                  <a:lnTo>
                    <a:pt x="1452" y="2484"/>
                  </a:lnTo>
                  <a:lnTo>
                    <a:pt x="1386" y="2441"/>
                  </a:lnTo>
                  <a:lnTo>
                    <a:pt x="1322" y="2393"/>
                  </a:lnTo>
                  <a:lnTo>
                    <a:pt x="1172" y="2542"/>
                  </a:lnTo>
                  <a:lnTo>
                    <a:pt x="1245" y="2614"/>
                  </a:lnTo>
                  <a:lnTo>
                    <a:pt x="1257" y="2631"/>
                  </a:lnTo>
                  <a:lnTo>
                    <a:pt x="1265" y="2650"/>
                  </a:lnTo>
                  <a:lnTo>
                    <a:pt x="1267" y="2670"/>
                  </a:lnTo>
                  <a:lnTo>
                    <a:pt x="1265" y="2691"/>
                  </a:lnTo>
                  <a:lnTo>
                    <a:pt x="1257" y="2709"/>
                  </a:lnTo>
                  <a:lnTo>
                    <a:pt x="1245" y="2725"/>
                  </a:lnTo>
                  <a:lnTo>
                    <a:pt x="635" y="3335"/>
                  </a:lnTo>
                  <a:lnTo>
                    <a:pt x="635" y="3791"/>
                  </a:lnTo>
                  <a:lnTo>
                    <a:pt x="2531" y="3791"/>
                  </a:lnTo>
                  <a:lnTo>
                    <a:pt x="2531" y="3221"/>
                  </a:lnTo>
                  <a:lnTo>
                    <a:pt x="2534" y="3200"/>
                  </a:lnTo>
                  <a:lnTo>
                    <a:pt x="2542" y="3182"/>
                  </a:lnTo>
                  <a:lnTo>
                    <a:pt x="2554" y="3166"/>
                  </a:lnTo>
                  <a:lnTo>
                    <a:pt x="2571" y="3152"/>
                  </a:lnTo>
                  <a:lnTo>
                    <a:pt x="2590" y="3145"/>
                  </a:lnTo>
                  <a:lnTo>
                    <a:pt x="2610" y="3143"/>
                  </a:lnTo>
                  <a:lnTo>
                    <a:pt x="2610" y="3143"/>
                  </a:lnTo>
                  <a:lnTo>
                    <a:pt x="3179" y="3143"/>
                  </a:lnTo>
                  <a:lnTo>
                    <a:pt x="3179" y="157"/>
                  </a:lnTo>
                  <a:lnTo>
                    <a:pt x="635" y="157"/>
                  </a:lnTo>
                  <a:close/>
                  <a:moveTo>
                    <a:pt x="556" y="0"/>
                  </a:moveTo>
                  <a:lnTo>
                    <a:pt x="3258" y="0"/>
                  </a:lnTo>
                  <a:lnTo>
                    <a:pt x="3279" y="2"/>
                  </a:lnTo>
                  <a:lnTo>
                    <a:pt x="3298" y="11"/>
                  </a:lnTo>
                  <a:lnTo>
                    <a:pt x="3313" y="23"/>
                  </a:lnTo>
                  <a:lnTo>
                    <a:pt x="3325" y="39"/>
                  </a:lnTo>
                  <a:lnTo>
                    <a:pt x="3334" y="57"/>
                  </a:lnTo>
                  <a:lnTo>
                    <a:pt x="3336" y="79"/>
                  </a:lnTo>
                  <a:lnTo>
                    <a:pt x="3336" y="3222"/>
                  </a:lnTo>
                  <a:lnTo>
                    <a:pt x="3334" y="3242"/>
                  </a:lnTo>
                  <a:lnTo>
                    <a:pt x="3325" y="3261"/>
                  </a:lnTo>
                  <a:lnTo>
                    <a:pt x="3313" y="3277"/>
                  </a:lnTo>
                  <a:lnTo>
                    <a:pt x="2666" y="3925"/>
                  </a:lnTo>
                  <a:lnTo>
                    <a:pt x="2650" y="3937"/>
                  </a:lnTo>
                  <a:lnTo>
                    <a:pt x="2631" y="3946"/>
                  </a:lnTo>
                  <a:lnTo>
                    <a:pt x="2610" y="3948"/>
                  </a:lnTo>
                  <a:lnTo>
                    <a:pt x="556" y="3948"/>
                  </a:lnTo>
                  <a:lnTo>
                    <a:pt x="536" y="3946"/>
                  </a:lnTo>
                  <a:lnTo>
                    <a:pt x="517" y="3937"/>
                  </a:lnTo>
                  <a:lnTo>
                    <a:pt x="501" y="3925"/>
                  </a:lnTo>
                  <a:lnTo>
                    <a:pt x="488" y="3909"/>
                  </a:lnTo>
                  <a:lnTo>
                    <a:pt x="481" y="3891"/>
                  </a:lnTo>
                  <a:lnTo>
                    <a:pt x="477" y="3869"/>
                  </a:lnTo>
                  <a:lnTo>
                    <a:pt x="477" y="3493"/>
                  </a:lnTo>
                  <a:lnTo>
                    <a:pt x="435" y="3535"/>
                  </a:lnTo>
                  <a:lnTo>
                    <a:pt x="409" y="3558"/>
                  </a:lnTo>
                  <a:lnTo>
                    <a:pt x="381" y="3576"/>
                  </a:lnTo>
                  <a:lnTo>
                    <a:pt x="352" y="3591"/>
                  </a:lnTo>
                  <a:lnTo>
                    <a:pt x="319" y="3601"/>
                  </a:lnTo>
                  <a:lnTo>
                    <a:pt x="287" y="3607"/>
                  </a:lnTo>
                  <a:lnTo>
                    <a:pt x="255" y="3609"/>
                  </a:lnTo>
                  <a:lnTo>
                    <a:pt x="222" y="3607"/>
                  </a:lnTo>
                  <a:lnTo>
                    <a:pt x="190" y="3601"/>
                  </a:lnTo>
                  <a:lnTo>
                    <a:pt x="159" y="3591"/>
                  </a:lnTo>
                  <a:lnTo>
                    <a:pt x="129" y="3576"/>
                  </a:lnTo>
                  <a:lnTo>
                    <a:pt x="100" y="3558"/>
                  </a:lnTo>
                  <a:lnTo>
                    <a:pt x="74" y="3535"/>
                  </a:lnTo>
                  <a:lnTo>
                    <a:pt x="49" y="3507"/>
                  </a:lnTo>
                  <a:lnTo>
                    <a:pt x="30" y="3475"/>
                  </a:lnTo>
                  <a:lnTo>
                    <a:pt x="14" y="3442"/>
                  </a:lnTo>
                  <a:lnTo>
                    <a:pt x="5" y="3407"/>
                  </a:lnTo>
                  <a:lnTo>
                    <a:pt x="0" y="3373"/>
                  </a:lnTo>
                  <a:lnTo>
                    <a:pt x="0" y="3337"/>
                  </a:lnTo>
                  <a:lnTo>
                    <a:pt x="5" y="3301"/>
                  </a:lnTo>
                  <a:lnTo>
                    <a:pt x="14" y="3266"/>
                  </a:lnTo>
                  <a:lnTo>
                    <a:pt x="30" y="3234"/>
                  </a:lnTo>
                  <a:lnTo>
                    <a:pt x="49" y="3203"/>
                  </a:lnTo>
                  <a:lnTo>
                    <a:pt x="74" y="3174"/>
                  </a:lnTo>
                  <a:lnTo>
                    <a:pt x="477" y="2770"/>
                  </a:lnTo>
                  <a:lnTo>
                    <a:pt x="477" y="79"/>
                  </a:lnTo>
                  <a:lnTo>
                    <a:pt x="481" y="57"/>
                  </a:lnTo>
                  <a:lnTo>
                    <a:pt x="488" y="39"/>
                  </a:lnTo>
                  <a:lnTo>
                    <a:pt x="501" y="23"/>
                  </a:lnTo>
                  <a:lnTo>
                    <a:pt x="517" y="11"/>
                  </a:lnTo>
                  <a:lnTo>
                    <a:pt x="536" y="2"/>
                  </a:lnTo>
                  <a:lnTo>
                    <a:pt x="5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9BD1DB6F-D051-4D2B-A502-29B9885BA65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676526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2 h 158"/>
                <a:gd name="T6" fmla="*/ 998 w 1038"/>
                <a:gd name="T7" fmla="*/ 11 h 158"/>
                <a:gd name="T8" fmla="*/ 1015 w 1038"/>
                <a:gd name="T9" fmla="*/ 23 h 158"/>
                <a:gd name="T10" fmla="*/ 1027 w 1038"/>
                <a:gd name="T11" fmla="*/ 39 h 158"/>
                <a:gd name="T12" fmla="*/ 1034 w 1038"/>
                <a:gd name="T13" fmla="*/ 57 h 158"/>
                <a:gd name="T14" fmla="*/ 1038 w 1038"/>
                <a:gd name="T15" fmla="*/ 79 h 158"/>
                <a:gd name="T16" fmla="*/ 1034 w 1038"/>
                <a:gd name="T17" fmla="*/ 99 h 158"/>
                <a:gd name="T18" fmla="*/ 1027 w 1038"/>
                <a:gd name="T19" fmla="*/ 118 h 158"/>
                <a:gd name="T20" fmla="*/ 1015 w 1038"/>
                <a:gd name="T21" fmla="*/ 134 h 158"/>
                <a:gd name="T22" fmla="*/ 998 w 1038"/>
                <a:gd name="T23" fmla="*/ 147 h 158"/>
                <a:gd name="T24" fmla="*/ 980 w 1038"/>
                <a:gd name="T25" fmla="*/ 154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4 h 158"/>
                <a:gd name="T32" fmla="*/ 39 w 1038"/>
                <a:gd name="T33" fmla="*/ 147 h 158"/>
                <a:gd name="T34" fmla="*/ 22 w 1038"/>
                <a:gd name="T35" fmla="*/ 134 h 158"/>
                <a:gd name="T36" fmla="*/ 11 w 1038"/>
                <a:gd name="T37" fmla="*/ 118 h 158"/>
                <a:gd name="T38" fmla="*/ 2 w 1038"/>
                <a:gd name="T39" fmla="*/ 99 h 158"/>
                <a:gd name="T40" fmla="*/ 0 w 1038"/>
                <a:gd name="T41" fmla="*/ 79 h 158"/>
                <a:gd name="T42" fmla="*/ 2 w 1038"/>
                <a:gd name="T43" fmla="*/ 57 h 158"/>
                <a:gd name="T44" fmla="*/ 11 w 1038"/>
                <a:gd name="T45" fmla="*/ 39 h 158"/>
                <a:gd name="T46" fmla="*/ 22 w 1038"/>
                <a:gd name="T47" fmla="*/ 23 h 158"/>
                <a:gd name="T48" fmla="*/ 39 w 1038"/>
                <a:gd name="T49" fmla="*/ 11 h 158"/>
                <a:gd name="T50" fmla="*/ 57 w 1038"/>
                <a:gd name="T51" fmla="*/ 2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2"/>
                  </a:lnTo>
                  <a:lnTo>
                    <a:pt x="998" y="11"/>
                  </a:lnTo>
                  <a:lnTo>
                    <a:pt x="1015" y="23"/>
                  </a:lnTo>
                  <a:lnTo>
                    <a:pt x="1027" y="39"/>
                  </a:lnTo>
                  <a:lnTo>
                    <a:pt x="1034" y="57"/>
                  </a:lnTo>
                  <a:lnTo>
                    <a:pt x="1038" y="79"/>
                  </a:lnTo>
                  <a:lnTo>
                    <a:pt x="1034" y="99"/>
                  </a:lnTo>
                  <a:lnTo>
                    <a:pt x="1027" y="118"/>
                  </a:lnTo>
                  <a:lnTo>
                    <a:pt x="1015" y="134"/>
                  </a:lnTo>
                  <a:lnTo>
                    <a:pt x="998" y="147"/>
                  </a:lnTo>
                  <a:lnTo>
                    <a:pt x="980" y="154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4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8"/>
                  </a:lnTo>
                  <a:lnTo>
                    <a:pt x="2" y="99"/>
                  </a:lnTo>
                  <a:lnTo>
                    <a:pt x="0" y="79"/>
                  </a:lnTo>
                  <a:lnTo>
                    <a:pt x="2" y="57"/>
                  </a:lnTo>
                  <a:lnTo>
                    <a:pt x="11" y="39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F4F32B4C-8FCF-4E91-AFB5-C37B9DD8E6F0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757488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4 h 158"/>
                <a:gd name="T6" fmla="*/ 998 w 1038"/>
                <a:gd name="T7" fmla="*/ 11 h 158"/>
                <a:gd name="T8" fmla="*/ 1015 w 1038"/>
                <a:gd name="T9" fmla="*/ 24 h 158"/>
                <a:gd name="T10" fmla="*/ 1027 w 1038"/>
                <a:gd name="T11" fmla="*/ 40 h 158"/>
                <a:gd name="T12" fmla="*/ 1034 w 1038"/>
                <a:gd name="T13" fmla="*/ 59 h 158"/>
                <a:gd name="T14" fmla="*/ 1038 w 1038"/>
                <a:gd name="T15" fmla="*/ 79 h 158"/>
                <a:gd name="T16" fmla="*/ 1034 w 1038"/>
                <a:gd name="T17" fmla="*/ 101 h 158"/>
                <a:gd name="T18" fmla="*/ 1027 w 1038"/>
                <a:gd name="T19" fmla="*/ 119 h 158"/>
                <a:gd name="T20" fmla="*/ 1015 w 1038"/>
                <a:gd name="T21" fmla="*/ 135 h 158"/>
                <a:gd name="T22" fmla="*/ 998 w 1038"/>
                <a:gd name="T23" fmla="*/ 147 h 158"/>
                <a:gd name="T24" fmla="*/ 980 w 1038"/>
                <a:gd name="T25" fmla="*/ 156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6 h 158"/>
                <a:gd name="T32" fmla="*/ 39 w 1038"/>
                <a:gd name="T33" fmla="*/ 147 h 158"/>
                <a:gd name="T34" fmla="*/ 22 w 1038"/>
                <a:gd name="T35" fmla="*/ 135 h 158"/>
                <a:gd name="T36" fmla="*/ 11 w 1038"/>
                <a:gd name="T37" fmla="*/ 119 h 158"/>
                <a:gd name="T38" fmla="*/ 2 w 1038"/>
                <a:gd name="T39" fmla="*/ 101 h 158"/>
                <a:gd name="T40" fmla="*/ 0 w 1038"/>
                <a:gd name="T41" fmla="*/ 79 h 158"/>
                <a:gd name="T42" fmla="*/ 2 w 1038"/>
                <a:gd name="T43" fmla="*/ 59 h 158"/>
                <a:gd name="T44" fmla="*/ 11 w 1038"/>
                <a:gd name="T45" fmla="*/ 40 h 158"/>
                <a:gd name="T46" fmla="*/ 22 w 1038"/>
                <a:gd name="T47" fmla="*/ 24 h 158"/>
                <a:gd name="T48" fmla="*/ 39 w 1038"/>
                <a:gd name="T49" fmla="*/ 11 h 158"/>
                <a:gd name="T50" fmla="*/ 57 w 1038"/>
                <a:gd name="T51" fmla="*/ 4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4"/>
                  </a:lnTo>
                  <a:lnTo>
                    <a:pt x="998" y="11"/>
                  </a:lnTo>
                  <a:lnTo>
                    <a:pt x="1015" y="24"/>
                  </a:lnTo>
                  <a:lnTo>
                    <a:pt x="1027" y="40"/>
                  </a:lnTo>
                  <a:lnTo>
                    <a:pt x="1034" y="59"/>
                  </a:lnTo>
                  <a:lnTo>
                    <a:pt x="1038" y="79"/>
                  </a:lnTo>
                  <a:lnTo>
                    <a:pt x="1034" y="101"/>
                  </a:lnTo>
                  <a:lnTo>
                    <a:pt x="1027" y="119"/>
                  </a:lnTo>
                  <a:lnTo>
                    <a:pt x="1015" y="135"/>
                  </a:lnTo>
                  <a:lnTo>
                    <a:pt x="998" y="147"/>
                  </a:lnTo>
                  <a:lnTo>
                    <a:pt x="980" y="156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6"/>
                  </a:lnTo>
                  <a:lnTo>
                    <a:pt x="39" y="147"/>
                  </a:lnTo>
                  <a:lnTo>
                    <a:pt x="22" y="135"/>
                  </a:lnTo>
                  <a:lnTo>
                    <a:pt x="11" y="119"/>
                  </a:lnTo>
                  <a:lnTo>
                    <a:pt x="2" y="101"/>
                  </a:lnTo>
                  <a:lnTo>
                    <a:pt x="0" y="79"/>
                  </a:lnTo>
                  <a:lnTo>
                    <a:pt x="2" y="59"/>
                  </a:lnTo>
                  <a:lnTo>
                    <a:pt x="11" y="40"/>
                  </a:lnTo>
                  <a:lnTo>
                    <a:pt x="22" y="24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6C70008B-5C1A-4F4A-B2FB-FC575C58D8F7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593976"/>
              <a:ext cx="134938" cy="41275"/>
            </a:xfrm>
            <a:custGeom>
              <a:avLst/>
              <a:gdLst>
                <a:gd name="T0" fmla="*/ 79 w 510"/>
                <a:gd name="T1" fmla="*/ 0 h 158"/>
                <a:gd name="T2" fmla="*/ 433 w 510"/>
                <a:gd name="T3" fmla="*/ 0 h 158"/>
                <a:gd name="T4" fmla="*/ 453 w 510"/>
                <a:gd name="T5" fmla="*/ 4 h 158"/>
                <a:gd name="T6" fmla="*/ 472 w 510"/>
                <a:gd name="T7" fmla="*/ 11 h 158"/>
                <a:gd name="T8" fmla="*/ 488 w 510"/>
                <a:gd name="T9" fmla="*/ 23 h 158"/>
                <a:gd name="T10" fmla="*/ 500 w 510"/>
                <a:gd name="T11" fmla="*/ 40 h 158"/>
                <a:gd name="T12" fmla="*/ 508 w 510"/>
                <a:gd name="T13" fmla="*/ 58 h 158"/>
                <a:gd name="T14" fmla="*/ 510 w 510"/>
                <a:gd name="T15" fmla="*/ 79 h 158"/>
                <a:gd name="T16" fmla="*/ 508 w 510"/>
                <a:gd name="T17" fmla="*/ 100 h 158"/>
                <a:gd name="T18" fmla="*/ 500 w 510"/>
                <a:gd name="T19" fmla="*/ 119 h 158"/>
                <a:gd name="T20" fmla="*/ 488 w 510"/>
                <a:gd name="T21" fmla="*/ 134 h 158"/>
                <a:gd name="T22" fmla="*/ 472 w 510"/>
                <a:gd name="T23" fmla="*/ 147 h 158"/>
                <a:gd name="T24" fmla="*/ 453 w 510"/>
                <a:gd name="T25" fmla="*/ 155 h 158"/>
                <a:gd name="T26" fmla="*/ 433 w 510"/>
                <a:gd name="T27" fmla="*/ 158 h 158"/>
                <a:gd name="T28" fmla="*/ 79 w 510"/>
                <a:gd name="T29" fmla="*/ 158 h 158"/>
                <a:gd name="T30" fmla="*/ 57 w 510"/>
                <a:gd name="T31" fmla="*/ 155 h 158"/>
                <a:gd name="T32" fmla="*/ 39 w 510"/>
                <a:gd name="T33" fmla="*/ 147 h 158"/>
                <a:gd name="T34" fmla="*/ 22 w 510"/>
                <a:gd name="T35" fmla="*/ 134 h 158"/>
                <a:gd name="T36" fmla="*/ 11 w 510"/>
                <a:gd name="T37" fmla="*/ 119 h 158"/>
                <a:gd name="T38" fmla="*/ 2 w 510"/>
                <a:gd name="T39" fmla="*/ 100 h 158"/>
                <a:gd name="T40" fmla="*/ 0 w 510"/>
                <a:gd name="T41" fmla="*/ 79 h 158"/>
                <a:gd name="T42" fmla="*/ 2 w 510"/>
                <a:gd name="T43" fmla="*/ 58 h 158"/>
                <a:gd name="T44" fmla="*/ 11 w 510"/>
                <a:gd name="T45" fmla="*/ 40 h 158"/>
                <a:gd name="T46" fmla="*/ 22 w 510"/>
                <a:gd name="T47" fmla="*/ 23 h 158"/>
                <a:gd name="T48" fmla="*/ 39 w 510"/>
                <a:gd name="T49" fmla="*/ 11 h 158"/>
                <a:gd name="T50" fmla="*/ 57 w 510"/>
                <a:gd name="T51" fmla="*/ 4 h 158"/>
                <a:gd name="T52" fmla="*/ 79 w 510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0" h="158">
                  <a:moveTo>
                    <a:pt x="79" y="0"/>
                  </a:moveTo>
                  <a:lnTo>
                    <a:pt x="433" y="0"/>
                  </a:lnTo>
                  <a:lnTo>
                    <a:pt x="453" y="4"/>
                  </a:lnTo>
                  <a:lnTo>
                    <a:pt x="472" y="11"/>
                  </a:lnTo>
                  <a:lnTo>
                    <a:pt x="488" y="23"/>
                  </a:lnTo>
                  <a:lnTo>
                    <a:pt x="500" y="40"/>
                  </a:lnTo>
                  <a:lnTo>
                    <a:pt x="508" y="58"/>
                  </a:lnTo>
                  <a:lnTo>
                    <a:pt x="510" y="79"/>
                  </a:lnTo>
                  <a:lnTo>
                    <a:pt x="508" y="100"/>
                  </a:lnTo>
                  <a:lnTo>
                    <a:pt x="500" y="119"/>
                  </a:lnTo>
                  <a:lnTo>
                    <a:pt x="488" y="134"/>
                  </a:lnTo>
                  <a:lnTo>
                    <a:pt x="472" y="147"/>
                  </a:lnTo>
                  <a:lnTo>
                    <a:pt x="453" y="155"/>
                  </a:lnTo>
                  <a:lnTo>
                    <a:pt x="433" y="158"/>
                  </a:lnTo>
                  <a:lnTo>
                    <a:pt x="79" y="158"/>
                  </a:lnTo>
                  <a:lnTo>
                    <a:pt x="57" y="155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9"/>
                  </a:lnTo>
                  <a:lnTo>
                    <a:pt x="2" y="100"/>
                  </a:lnTo>
                  <a:lnTo>
                    <a:pt x="0" y="79"/>
                  </a:lnTo>
                  <a:lnTo>
                    <a:pt x="2" y="58"/>
                  </a:lnTo>
                  <a:lnTo>
                    <a:pt x="11" y="40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739E68F6-5ECA-4191-B9CA-E69922F63C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6325" y="2593976"/>
              <a:ext cx="53975" cy="41275"/>
            </a:xfrm>
            <a:custGeom>
              <a:avLst/>
              <a:gdLst>
                <a:gd name="T0" fmla="*/ 79 w 205"/>
                <a:gd name="T1" fmla="*/ 0 h 158"/>
                <a:gd name="T2" fmla="*/ 126 w 205"/>
                <a:gd name="T3" fmla="*/ 0 h 158"/>
                <a:gd name="T4" fmla="*/ 147 w 205"/>
                <a:gd name="T5" fmla="*/ 4 h 158"/>
                <a:gd name="T6" fmla="*/ 165 w 205"/>
                <a:gd name="T7" fmla="*/ 11 h 158"/>
                <a:gd name="T8" fmla="*/ 182 w 205"/>
                <a:gd name="T9" fmla="*/ 23 h 158"/>
                <a:gd name="T10" fmla="*/ 194 w 205"/>
                <a:gd name="T11" fmla="*/ 40 h 158"/>
                <a:gd name="T12" fmla="*/ 202 w 205"/>
                <a:gd name="T13" fmla="*/ 58 h 158"/>
                <a:gd name="T14" fmla="*/ 205 w 205"/>
                <a:gd name="T15" fmla="*/ 79 h 158"/>
                <a:gd name="T16" fmla="*/ 202 w 205"/>
                <a:gd name="T17" fmla="*/ 100 h 158"/>
                <a:gd name="T18" fmla="*/ 194 w 205"/>
                <a:gd name="T19" fmla="*/ 119 h 158"/>
                <a:gd name="T20" fmla="*/ 182 w 205"/>
                <a:gd name="T21" fmla="*/ 134 h 158"/>
                <a:gd name="T22" fmla="*/ 165 w 205"/>
                <a:gd name="T23" fmla="*/ 147 h 158"/>
                <a:gd name="T24" fmla="*/ 147 w 205"/>
                <a:gd name="T25" fmla="*/ 155 h 158"/>
                <a:gd name="T26" fmla="*/ 126 w 205"/>
                <a:gd name="T27" fmla="*/ 158 h 158"/>
                <a:gd name="T28" fmla="*/ 79 w 205"/>
                <a:gd name="T29" fmla="*/ 158 h 158"/>
                <a:gd name="T30" fmla="*/ 58 w 205"/>
                <a:gd name="T31" fmla="*/ 155 h 158"/>
                <a:gd name="T32" fmla="*/ 40 w 205"/>
                <a:gd name="T33" fmla="*/ 147 h 158"/>
                <a:gd name="T34" fmla="*/ 23 w 205"/>
                <a:gd name="T35" fmla="*/ 134 h 158"/>
                <a:gd name="T36" fmla="*/ 11 w 205"/>
                <a:gd name="T37" fmla="*/ 119 h 158"/>
                <a:gd name="T38" fmla="*/ 3 w 205"/>
                <a:gd name="T39" fmla="*/ 100 h 158"/>
                <a:gd name="T40" fmla="*/ 0 w 205"/>
                <a:gd name="T41" fmla="*/ 79 h 158"/>
                <a:gd name="T42" fmla="*/ 3 w 205"/>
                <a:gd name="T43" fmla="*/ 58 h 158"/>
                <a:gd name="T44" fmla="*/ 11 w 205"/>
                <a:gd name="T45" fmla="*/ 40 h 158"/>
                <a:gd name="T46" fmla="*/ 23 w 205"/>
                <a:gd name="T47" fmla="*/ 23 h 158"/>
                <a:gd name="T48" fmla="*/ 40 w 205"/>
                <a:gd name="T49" fmla="*/ 11 h 158"/>
                <a:gd name="T50" fmla="*/ 58 w 205"/>
                <a:gd name="T51" fmla="*/ 4 h 158"/>
                <a:gd name="T52" fmla="*/ 79 w 205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5" h="158">
                  <a:moveTo>
                    <a:pt x="79" y="0"/>
                  </a:moveTo>
                  <a:lnTo>
                    <a:pt x="126" y="0"/>
                  </a:lnTo>
                  <a:lnTo>
                    <a:pt x="147" y="4"/>
                  </a:lnTo>
                  <a:lnTo>
                    <a:pt x="165" y="11"/>
                  </a:lnTo>
                  <a:lnTo>
                    <a:pt x="182" y="23"/>
                  </a:lnTo>
                  <a:lnTo>
                    <a:pt x="194" y="40"/>
                  </a:lnTo>
                  <a:lnTo>
                    <a:pt x="202" y="58"/>
                  </a:lnTo>
                  <a:lnTo>
                    <a:pt x="205" y="79"/>
                  </a:lnTo>
                  <a:lnTo>
                    <a:pt x="202" y="100"/>
                  </a:lnTo>
                  <a:lnTo>
                    <a:pt x="194" y="119"/>
                  </a:lnTo>
                  <a:lnTo>
                    <a:pt x="182" y="134"/>
                  </a:lnTo>
                  <a:lnTo>
                    <a:pt x="165" y="147"/>
                  </a:lnTo>
                  <a:lnTo>
                    <a:pt x="147" y="155"/>
                  </a:lnTo>
                  <a:lnTo>
                    <a:pt x="126" y="158"/>
                  </a:lnTo>
                  <a:lnTo>
                    <a:pt x="79" y="158"/>
                  </a:lnTo>
                  <a:lnTo>
                    <a:pt x="58" y="155"/>
                  </a:lnTo>
                  <a:lnTo>
                    <a:pt x="40" y="147"/>
                  </a:lnTo>
                  <a:lnTo>
                    <a:pt x="23" y="134"/>
                  </a:lnTo>
                  <a:lnTo>
                    <a:pt x="11" y="119"/>
                  </a:lnTo>
                  <a:lnTo>
                    <a:pt x="3" y="100"/>
                  </a:lnTo>
                  <a:lnTo>
                    <a:pt x="0" y="79"/>
                  </a:lnTo>
                  <a:lnTo>
                    <a:pt x="3" y="58"/>
                  </a:lnTo>
                  <a:lnTo>
                    <a:pt x="11" y="40"/>
                  </a:lnTo>
                  <a:lnTo>
                    <a:pt x="23" y="23"/>
                  </a:lnTo>
                  <a:lnTo>
                    <a:pt x="40" y="11"/>
                  </a:lnTo>
                  <a:lnTo>
                    <a:pt x="58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27" name="Freeform 15">
            <a:extLst>
              <a:ext uri="{FF2B5EF4-FFF2-40B4-BE49-F238E27FC236}">
                <a16:creationId xmlns:a16="http://schemas.microsoft.com/office/drawing/2014/main" id="{9A2CF8C3-3843-4AED-8169-359DF1A82054}"/>
              </a:ext>
            </a:extLst>
          </p:cNvPr>
          <p:cNvSpPr>
            <a:spLocks noEditPoints="1"/>
          </p:cNvSpPr>
          <p:nvPr/>
        </p:nvSpPr>
        <p:spPr bwMode="gray">
          <a:xfrm>
            <a:off x="6418099" y="5045483"/>
            <a:ext cx="358516" cy="455696"/>
          </a:xfrm>
          <a:custGeom>
            <a:avLst/>
            <a:gdLst>
              <a:gd name="T0" fmla="*/ 202 w 2734"/>
              <a:gd name="T1" fmla="*/ 930 h 3477"/>
              <a:gd name="T2" fmla="*/ 195 w 2734"/>
              <a:gd name="T3" fmla="*/ 3249 h 3477"/>
              <a:gd name="T4" fmla="*/ 243 w 2734"/>
              <a:gd name="T5" fmla="*/ 3284 h 3477"/>
              <a:gd name="T6" fmla="*/ 1303 w 2734"/>
              <a:gd name="T7" fmla="*/ 2971 h 3477"/>
              <a:gd name="T8" fmla="*/ 1363 w 2734"/>
              <a:gd name="T9" fmla="*/ 2844 h 3477"/>
              <a:gd name="T10" fmla="*/ 1478 w 2734"/>
              <a:gd name="T11" fmla="*/ 2773 h 3477"/>
              <a:gd name="T12" fmla="*/ 1825 w 2734"/>
              <a:gd name="T13" fmla="*/ 960 h 3477"/>
              <a:gd name="T14" fmla="*/ 1790 w 2734"/>
              <a:gd name="T15" fmla="*/ 911 h 3477"/>
              <a:gd name="T16" fmla="*/ 602 w 2734"/>
              <a:gd name="T17" fmla="*/ 550 h 3477"/>
              <a:gd name="T18" fmla="*/ 553 w 2734"/>
              <a:gd name="T19" fmla="*/ 585 h 3477"/>
              <a:gd name="T20" fmla="*/ 1814 w 2734"/>
              <a:gd name="T21" fmla="*/ 720 h 3477"/>
              <a:gd name="T22" fmla="*/ 1946 w 2734"/>
              <a:gd name="T23" fmla="*/ 788 h 3477"/>
              <a:gd name="T24" fmla="*/ 2014 w 2734"/>
              <a:gd name="T25" fmla="*/ 921 h 3477"/>
              <a:gd name="T26" fmla="*/ 2012 w 2734"/>
              <a:gd name="T27" fmla="*/ 2898 h 3477"/>
              <a:gd name="T28" fmla="*/ 2132 w 2734"/>
              <a:gd name="T29" fmla="*/ 2925 h 3477"/>
              <a:gd name="T30" fmla="*/ 2181 w 2734"/>
              <a:gd name="T31" fmla="*/ 2890 h 3477"/>
              <a:gd name="T32" fmla="*/ 2173 w 2734"/>
              <a:gd name="T33" fmla="*/ 572 h 3477"/>
              <a:gd name="T34" fmla="*/ 2490 w 2734"/>
              <a:gd name="T35" fmla="*/ 192 h 3477"/>
              <a:gd name="T36" fmla="*/ 919 w 2734"/>
              <a:gd name="T37" fmla="*/ 213 h 3477"/>
              <a:gd name="T38" fmla="*/ 2132 w 2734"/>
              <a:gd name="T39" fmla="*/ 358 h 3477"/>
              <a:gd name="T40" fmla="*/ 2276 w 2734"/>
              <a:gd name="T41" fmla="*/ 405 h 3477"/>
              <a:gd name="T42" fmla="*/ 2363 w 2734"/>
              <a:gd name="T43" fmla="*/ 525 h 3477"/>
              <a:gd name="T44" fmla="*/ 2490 w 2734"/>
              <a:gd name="T45" fmla="*/ 2567 h 3477"/>
              <a:gd name="T46" fmla="*/ 2539 w 2734"/>
              <a:gd name="T47" fmla="*/ 2532 h 3477"/>
              <a:gd name="T48" fmla="*/ 2532 w 2734"/>
              <a:gd name="T49" fmla="*/ 213 h 3477"/>
              <a:gd name="T50" fmla="*/ 960 w 2734"/>
              <a:gd name="T51" fmla="*/ 0 h 3477"/>
              <a:gd name="T52" fmla="*/ 2602 w 2734"/>
              <a:gd name="T53" fmla="*/ 27 h 3477"/>
              <a:gd name="T54" fmla="*/ 2707 w 2734"/>
              <a:gd name="T55" fmla="*/ 131 h 3477"/>
              <a:gd name="T56" fmla="*/ 2734 w 2734"/>
              <a:gd name="T57" fmla="*/ 2516 h 3477"/>
              <a:gd name="T58" fmla="*/ 2687 w 2734"/>
              <a:gd name="T59" fmla="*/ 2660 h 3477"/>
              <a:gd name="T60" fmla="*/ 2568 w 2734"/>
              <a:gd name="T61" fmla="*/ 2747 h 3477"/>
              <a:gd name="T62" fmla="*/ 2376 w 2734"/>
              <a:gd name="T63" fmla="*/ 2875 h 3477"/>
              <a:gd name="T64" fmla="*/ 2329 w 2734"/>
              <a:gd name="T65" fmla="*/ 3018 h 3477"/>
              <a:gd name="T66" fmla="*/ 2209 w 2734"/>
              <a:gd name="T67" fmla="*/ 3105 h 3477"/>
              <a:gd name="T68" fmla="*/ 1520 w 2734"/>
              <a:gd name="T69" fmla="*/ 3394 h 3477"/>
              <a:gd name="T70" fmla="*/ 1393 w 2734"/>
              <a:gd name="T71" fmla="*/ 3467 h 3477"/>
              <a:gd name="T72" fmla="*/ 204 w 2734"/>
              <a:gd name="T73" fmla="*/ 3473 h 3477"/>
              <a:gd name="T74" fmla="*/ 72 w 2734"/>
              <a:gd name="T75" fmla="*/ 3405 h 3477"/>
              <a:gd name="T76" fmla="*/ 3 w 2734"/>
              <a:gd name="T77" fmla="*/ 3272 h 3477"/>
              <a:gd name="T78" fmla="*/ 13 w 2734"/>
              <a:gd name="T79" fmla="*/ 884 h 3477"/>
              <a:gd name="T80" fmla="*/ 99 w 2734"/>
              <a:gd name="T81" fmla="*/ 764 h 3477"/>
              <a:gd name="T82" fmla="*/ 243 w 2734"/>
              <a:gd name="T83" fmla="*/ 716 h 3477"/>
              <a:gd name="T84" fmla="*/ 371 w 2734"/>
              <a:gd name="T85" fmla="*/ 525 h 3477"/>
              <a:gd name="T86" fmla="*/ 458 w 2734"/>
              <a:gd name="T87" fmla="*/ 405 h 3477"/>
              <a:gd name="T88" fmla="*/ 602 w 2734"/>
              <a:gd name="T89" fmla="*/ 358 h 3477"/>
              <a:gd name="T90" fmla="*/ 729 w 2734"/>
              <a:gd name="T91" fmla="*/ 166 h 3477"/>
              <a:gd name="T92" fmla="*/ 816 w 2734"/>
              <a:gd name="T93" fmla="*/ 47 h 3477"/>
              <a:gd name="T94" fmla="*/ 960 w 2734"/>
              <a:gd name="T95" fmla="*/ 0 h 34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34" h="3477">
                <a:moveTo>
                  <a:pt x="243" y="909"/>
                </a:moveTo>
                <a:lnTo>
                  <a:pt x="227" y="911"/>
                </a:lnTo>
                <a:lnTo>
                  <a:pt x="214" y="919"/>
                </a:lnTo>
                <a:lnTo>
                  <a:pt x="202" y="930"/>
                </a:lnTo>
                <a:lnTo>
                  <a:pt x="195" y="944"/>
                </a:lnTo>
                <a:lnTo>
                  <a:pt x="192" y="960"/>
                </a:lnTo>
                <a:lnTo>
                  <a:pt x="192" y="3233"/>
                </a:lnTo>
                <a:lnTo>
                  <a:pt x="195" y="3249"/>
                </a:lnTo>
                <a:lnTo>
                  <a:pt x="202" y="3263"/>
                </a:lnTo>
                <a:lnTo>
                  <a:pt x="214" y="3274"/>
                </a:lnTo>
                <a:lnTo>
                  <a:pt x="227" y="3281"/>
                </a:lnTo>
                <a:lnTo>
                  <a:pt x="243" y="3284"/>
                </a:lnTo>
                <a:lnTo>
                  <a:pt x="1301" y="3284"/>
                </a:lnTo>
                <a:lnTo>
                  <a:pt x="1300" y="3008"/>
                </a:lnTo>
                <a:lnTo>
                  <a:pt x="1300" y="3008"/>
                </a:lnTo>
                <a:lnTo>
                  <a:pt x="1303" y="2971"/>
                </a:lnTo>
                <a:lnTo>
                  <a:pt x="1311" y="2935"/>
                </a:lnTo>
                <a:lnTo>
                  <a:pt x="1324" y="2902"/>
                </a:lnTo>
                <a:lnTo>
                  <a:pt x="1342" y="2871"/>
                </a:lnTo>
                <a:lnTo>
                  <a:pt x="1363" y="2844"/>
                </a:lnTo>
                <a:lnTo>
                  <a:pt x="1388" y="2820"/>
                </a:lnTo>
                <a:lnTo>
                  <a:pt x="1417" y="2799"/>
                </a:lnTo>
                <a:lnTo>
                  <a:pt x="1449" y="2784"/>
                </a:lnTo>
                <a:lnTo>
                  <a:pt x="1478" y="2773"/>
                </a:lnTo>
                <a:lnTo>
                  <a:pt x="1510" y="2767"/>
                </a:lnTo>
                <a:lnTo>
                  <a:pt x="1544" y="2765"/>
                </a:lnTo>
                <a:lnTo>
                  <a:pt x="1825" y="2765"/>
                </a:lnTo>
                <a:lnTo>
                  <a:pt x="1825" y="960"/>
                </a:lnTo>
                <a:lnTo>
                  <a:pt x="1823" y="944"/>
                </a:lnTo>
                <a:lnTo>
                  <a:pt x="1816" y="930"/>
                </a:lnTo>
                <a:lnTo>
                  <a:pt x="1804" y="919"/>
                </a:lnTo>
                <a:lnTo>
                  <a:pt x="1790" y="911"/>
                </a:lnTo>
                <a:lnTo>
                  <a:pt x="1774" y="909"/>
                </a:lnTo>
                <a:lnTo>
                  <a:pt x="243" y="909"/>
                </a:lnTo>
                <a:close/>
                <a:moveTo>
                  <a:pt x="2132" y="550"/>
                </a:moveTo>
                <a:lnTo>
                  <a:pt x="602" y="550"/>
                </a:lnTo>
                <a:lnTo>
                  <a:pt x="586" y="554"/>
                </a:lnTo>
                <a:lnTo>
                  <a:pt x="571" y="560"/>
                </a:lnTo>
                <a:lnTo>
                  <a:pt x="560" y="572"/>
                </a:lnTo>
                <a:lnTo>
                  <a:pt x="553" y="585"/>
                </a:lnTo>
                <a:lnTo>
                  <a:pt x="551" y="601"/>
                </a:lnTo>
                <a:lnTo>
                  <a:pt x="551" y="716"/>
                </a:lnTo>
                <a:lnTo>
                  <a:pt x="1774" y="716"/>
                </a:lnTo>
                <a:lnTo>
                  <a:pt x="1814" y="720"/>
                </a:lnTo>
                <a:lnTo>
                  <a:pt x="1851" y="729"/>
                </a:lnTo>
                <a:lnTo>
                  <a:pt x="1885" y="744"/>
                </a:lnTo>
                <a:lnTo>
                  <a:pt x="1918" y="764"/>
                </a:lnTo>
                <a:lnTo>
                  <a:pt x="1946" y="788"/>
                </a:lnTo>
                <a:lnTo>
                  <a:pt x="1970" y="817"/>
                </a:lnTo>
                <a:lnTo>
                  <a:pt x="1990" y="849"/>
                </a:lnTo>
                <a:lnTo>
                  <a:pt x="2005" y="884"/>
                </a:lnTo>
                <a:lnTo>
                  <a:pt x="2014" y="921"/>
                </a:lnTo>
                <a:lnTo>
                  <a:pt x="2018" y="960"/>
                </a:lnTo>
                <a:lnTo>
                  <a:pt x="2018" y="2861"/>
                </a:lnTo>
                <a:lnTo>
                  <a:pt x="2016" y="2881"/>
                </a:lnTo>
                <a:lnTo>
                  <a:pt x="2012" y="2898"/>
                </a:lnTo>
                <a:lnTo>
                  <a:pt x="2006" y="2910"/>
                </a:lnTo>
                <a:lnTo>
                  <a:pt x="2001" y="2919"/>
                </a:lnTo>
                <a:lnTo>
                  <a:pt x="1994" y="2925"/>
                </a:lnTo>
                <a:lnTo>
                  <a:pt x="2132" y="2925"/>
                </a:lnTo>
                <a:lnTo>
                  <a:pt x="2149" y="2923"/>
                </a:lnTo>
                <a:lnTo>
                  <a:pt x="2163" y="2916"/>
                </a:lnTo>
                <a:lnTo>
                  <a:pt x="2173" y="2904"/>
                </a:lnTo>
                <a:lnTo>
                  <a:pt x="2181" y="2890"/>
                </a:lnTo>
                <a:lnTo>
                  <a:pt x="2184" y="2875"/>
                </a:lnTo>
                <a:lnTo>
                  <a:pt x="2184" y="601"/>
                </a:lnTo>
                <a:lnTo>
                  <a:pt x="2181" y="585"/>
                </a:lnTo>
                <a:lnTo>
                  <a:pt x="2173" y="572"/>
                </a:lnTo>
                <a:lnTo>
                  <a:pt x="2163" y="560"/>
                </a:lnTo>
                <a:lnTo>
                  <a:pt x="2149" y="554"/>
                </a:lnTo>
                <a:lnTo>
                  <a:pt x="2132" y="550"/>
                </a:lnTo>
                <a:close/>
                <a:moveTo>
                  <a:pt x="2490" y="192"/>
                </a:moveTo>
                <a:lnTo>
                  <a:pt x="960" y="192"/>
                </a:lnTo>
                <a:lnTo>
                  <a:pt x="943" y="195"/>
                </a:lnTo>
                <a:lnTo>
                  <a:pt x="929" y="202"/>
                </a:lnTo>
                <a:lnTo>
                  <a:pt x="919" y="213"/>
                </a:lnTo>
                <a:lnTo>
                  <a:pt x="912" y="227"/>
                </a:lnTo>
                <a:lnTo>
                  <a:pt x="909" y="244"/>
                </a:lnTo>
                <a:lnTo>
                  <a:pt x="909" y="358"/>
                </a:lnTo>
                <a:lnTo>
                  <a:pt x="2132" y="358"/>
                </a:lnTo>
                <a:lnTo>
                  <a:pt x="2172" y="361"/>
                </a:lnTo>
                <a:lnTo>
                  <a:pt x="2209" y="371"/>
                </a:lnTo>
                <a:lnTo>
                  <a:pt x="2244" y="385"/>
                </a:lnTo>
                <a:lnTo>
                  <a:pt x="2276" y="405"/>
                </a:lnTo>
                <a:lnTo>
                  <a:pt x="2304" y="430"/>
                </a:lnTo>
                <a:lnTo>
                  <a:pt x="2329" y="458"/>
                </a:lnTo>
                <a:lnTo>
                  <a:pt x="2349" y="490"/>
                </a:lnTo>
                <a:lnTo>
                  <a:pt x="2363" y="525"/>
                </a:lnTo>
                <a:lnTo>
                  <a:pt x="2373" y="562"/>
                </a:lnTo>
                <a:lnTo>
                  <a:pt x="2376" y="601"/>
                </a:lnTo>
                <a:lnTo>
                  <a:pt x="2376" y="2567"/>
                </a:lnTo>
                <a:lnTo>
                  <a:pt x="2490" y="2567"/>
                </a:lnTo>
                <a:lnTo>
                  <a:pt x="2506" y="2565"/>
                </a:lnTo>
                <a:lnTo>
                  <a:pt x="2521" y="2557"/>
                </a:lnTo>
                <a:lnTo>
                  <a:pt x="2532" y="2546"/>
                </a:lnTo>
                <a:lnTo>
                  <a:pt x="2539" y="2532"/>
                </a:lnTo>
                <a:lnTo>
                  <a:pt x="2542" y="2516"/>
                </a:lnTo>
                <a:lnTo>
                  <a:pt x="2542" y="244"/>
                </a:lnTo>
                <a:lnTo>
                  <a:pt x="2539" y="227"/>
                </a:lnTo>
                <a:lnTo>
                  <a:pt x="2532" y="213"/>
                </a:lnTo>
                <a:lnTo>
                  <a:pt x="2521" y="202"/>
                </a:lnTo>
                <a:lnTo>
                  <a:pt x="2506" y="195"/>
                </a:lnTo>
                <a:lnTo>
                  <a:pt x="2490" y="192"/>
                </a:lnTo>
                <a:close/>
                <a:moveTo>
                  <a:pt x="960" y="0"/>
                </a:moveTo>
                <a:lnTo>
                  <a:pt x="2490" y="0"/>
                </a:lnTo>
                <a:lnTo>
                  <a:pt x="2531" y="3"/>
                </a:lnTo>
                <a:lnTo>
                  <a:pt x="2568" y="12"/>
                </a:lnTo>
                <a:lnTo>
                  <a:pt x="2602" y="27"/>
                </a:lnTo>
                <a:lnTo>
                  <a:pt x="2634" y="47"/>
                </a:lnTo>
                <a:lnTo>
                  <a:pt x="2663" y="71"/>
                </a:lnTo>
                <a:lnTo>
                  <a:pt x="2687" y="100"/>
                </a:lnTo>
                <a:lnTo>
                  <a:pt x="2707" y="131"/>
                </a:lnTo>
                <a:lnTo>
                  <a:pt x="2722" y="166"/>
                </a:lnTo>
                <a:lnTo>
                  <a:pt x="2730" y="203"/>
                </a:lnTo>
                <a:lnTo>
                  <a:pt x="2734" y="244"/>
                </a:lnTo>
                <a:lnTo>
                  <a:pt x="2734" y="2516"/>
                </a:lnTo>
                <a:lnTo>
                  <a:pt x="2730" y="2555"/>
                </a:lnTo>
                <a:lnTo>
                  <a:pt x="2722" y="2593"/>
                </a:lnTo>
                <a:lnTo>
                  <a:pt x="2707" y="2628"/>
                </a:lnTo>
                <a:lnTo>
                  <a:pt x="2687" y="2660"/>
                </a:lnTo>
                <a:lnTo>
                  <a:pt x="2663" y="2688"/>
                </a:lnTo>
                <a:lnTo>
                  <a:pt x="2634" y="2713"/>
                </a:lnTo>
                <a:lnTo>
                  <a:pt x="2602" y="2732"/>
                </a:lnTo>
                <a:lnTo>
                  <a:pt x="2568" y="2747"/>
                </a:lnTo>
                <a:lnTo>
                  <a:pt x="2531" y="2756"/>
                </a:lnTo>
                <a:lnTo>
                  <a:pt x="2490" y="2759"/>
                </a:lnTo>
                <a:lnTo>
                  <a:pt x="2376" y="2759"/>
                </a:lnTo>
                <a:lnTo>
                  <a:pt x="2376" y="2875"/>
                </a:lnTo>
                <a:lnTo>
                  <a:pt x="2373" y="2914"/>
                </a:lnTo>
                <a:lnTo>
                  <a:pt x="2363" y="2951"/>
                </a:lnTo>
                <a:lnTo>
                  <a:pt x="2349" y="2986"/>
                </a:lnTo>
                <a:lnTo>
                  <a:pt x="2329" y="3018"/>
                </a:lnTo>
                <a:lnTo>
                  <a:pt x="2304" y="3046"/>
                </a:lnTo>
                <a:lnTo>
                  <a:pt x="2276" y="3070"/>
                </a:lnTo>
                <a:lnTo>
                  <a:pt x="2244" y="3090"/>
                </a:lnTo>
                <a:lnTo>
                  <a:pt x="2209" y="3105"/>
                </a:lnTo>
                <a:lnTo>
                  <a:pt x="2172" y="3115"/>
                </a:lnTo>
                <a:lnTo>
                  <a:pt x="2132" y="3118"/>
                </a:lnTo>
                <a:lnTo>
                  <a:pt x="1798" y="3118"/>
                </a:lnTo>
                <a:lnTo>
                  <a:pt x="1520" y="3394"/>
                </a:lnTo>
                <a:lnTo>
                  <a:pt x="1491" y="3418"/>
                </a:lnTo>
                <a:lnTo>
                  <a:pt x="1460" y="3438"/>
                </a:lnTo>
                <a:lnTo>
                  <a:pt x="1428" y="3454"/>
                </a:lnTo>
                <a:lnTo>
                  <a:pt x="1393" y="3467"/>
                </a:lnTo>
                <a:lnTo>
                  <a:pt x="1356" y="3473"/>
                </a:lnTo>
                <a:lnTo>
                  <a:pt x="1319" y="3477"/>
                </a:lnTo>
                <a:lnTo>
                  <a:pt x="243" y="3477"/>
                </a:lnTo>
                <a:lnTo>
                  <a:pt x="204" y="3473"/>
                </a:lnTo>
                <a:lnTo>
                  <a:pt x="167" y="3464"/>
                </a:lnTo>
                <a:lnTo>
                  <a:pt x="132" y="3449"/>
                </a:lnTo>
                <a:lnTo>
                  <a:pt x="99" y="3429"/>
                </a:lnTo>
                <a:lnTo>
                  <a:pt x="72" y="3405"/>
                </a:lnTo>
                <a:lnTo>
                  <a:pt x="48" y="3376"/>
                </a:lnTo>
                <a:lnTo>
                  <a:pt x="27" y="3344"/>
                </a:lnTo>
                <a:lnTo>
                  <a:pt x="13" y="3309"/>
                </a:lnTo>
                <a:lnTo>
                  <a:pt x="3" y="3272"/>
                </a:lnTo>
                <a:lnTo>
                  <a:pt x="0" y="3233"/>
                </a:lnTo>
                <a:lnTo>
                  <a:pt x="0" y="960"/>
                </a:lnTo>
                <a:lnTo>
                  <a:pt x="3" y="921"/>
                </a:lnTo>
                <a:lnTo>
                  <a:pt x="13" y="884"/>
                </a:lnTo>
                <a:lnTo>
                  <a:pt x="27" y="849"/>
                </a:lnTo>
                <a:lnTo>
                  <a:pt x="48" y="816"/>
                </a:lnTo>
                <a:lnTo>
                  <a:pt x="72" y="788"/>
                </a:lnTo>
                <a:lnTo>
                  <a:pt x="99" y="764"/>
                </a:lnTo>
                <a:lnTo>
                  <a:pt x="132" y="744"/>
                </a:lnTo>
                <a:lnTo>
                  <a:pt x="167" y="729"/>
                </a:lnTo>
                <a:lnTo>
                  <a:pt x="204" y="720"/>
                </a:lnTo>
                <a:lnTo>
                  <a:pt x="243" y="716"/>
                </a:lnTo>
                <a:lnTo>
                  <a:pt x="358" y="716"/>
                </a:lnTo>
                <a:lnTo>
                  <a:pt x="358" y="601"/>
                </a:lnTo>
                <a:lnTo>
                  <a:pt x="362" y="562"/>
                </a:lnTo>
                <a:lnTo>
                  <a:pt x="371" y="525"/>
                </a:lnTo>
                <a:lnTo>
                  <a:pt x="386" y="490"/>
                </a:lnTo>
                <a:lnTo>
                  <a:pt x="405" y="458"/>
                </a:lnTo>
                <a:lnTo>
                  <a:pt x="429" y="430"/>
                </a:lnTo>
                <a:lnTo>
                  <a:pt x="458" y="405"/>
                </a:lnTo>
                <a:lnTo>
                  <a:pt x="490" y="385"/>
                </a:lnTo>
                <a:lnTo>
                  <a:pt x="524" y="371"/>
                </a:lnTo>
                <a:lnTo>
                  <a:pt x="563" y="361"/>
                </a:lnTo>
                <a:lnTo>
                  <a:pt x="602" y="358"/>
                </a:lnTo>
                <a:lnTo>
                  <a:pt x="717" y="358"/>
                </a:lnTo>
                <a:lnTo>
                  <a:pt x="717" y="244"/>
                </a:lnTo>
                <a:lnTo>
                  <a:pt x="720" y="203"/>
                </a:lnTo>
                <a:lnTo>
                  <a:pt x="729" y="166"/>
                </a:lnTo>
                <a:lnTo>
                  <a:pt x="743" y="131"/>
                </a:lnTo>
                <a:lnTo>
                  <a:pt x="763" y="100"/>
                </a:lnTo>
                <a:lnTo>
                  <a:pt x="788" y="71"/>
                </a:lnTo>
                <a:lnTo>
                  <a:pt x="816" y="47"/>
                </a:lnTo>
                <a:lnTo>
                  <a:pt x="848" y="27"/>
                </a:lnTo>
                <a:lnTo>
                  <a:pt x="883" y="12"/>
                </a:lnTo>
                <a:lnTo>
                  <a:pt x="921" y="3"/>
                </a:lnTo>
                <a:lnTo>
                  <a:pt x="96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5" name="Freeform 78">
            <a:extLst>
              <a:ext uri="{FF2B5EF4-FFF2-40B4-BE49-F238E27FC236}">
                <a16:creationId xmlns:a16="http://schemas.microsoft.com/office/drawing/2014/main" id="{E5404A4D-20D8-41EC-B357-59567882F64B}"/>
              </a:ext>
            </a:extLst>
          </p:cNvPr>
          <p:cNvSpPr>
            <a:spLocks noEditPoints="1"/>
          </p:cNvSpPr>
          <p:nvPr/>
        </p:nvSpPr>
        <p:spPr bwMode="gray">
          <a:xfrm>
            <a:off x="4379465" y="3454380"/>
            <a:ext cx="377572" cy="429071"/>
          </a:xfrm>
          <a:custGeom>
            <a:avLst/>
            <a:gdLst>
              <a:gd name="T0" fmla="*/ 7 w 739"/>
              <a:gd name="T1" fmla="*/ 744 h 842"/>
              <a:gd name="T2" fmla="*/ 34 w 739"/>
              <a:gd name="T3" fmla="*/ 751 h 842"/>
              <a:gd name="T4" fmla="*/ 140 w 739"/>
              <a:gd name="T5" fmla="*/ 717 h 842"/>
              <a:gd name="T6" fmla="*/ 171 w 739"/>
              <a:gd name="T7" fmla="*/ 824 h 842"/>
              <a:gd name="T8" fmla="*/ 192 w 739"/>
              <a:gd name="T9" fmla="*/ 842 h 842"/>
              <a:gd name="T10" fmla="*/ 195 w 739"/>
              <a:gd name="T11" fmla="*/ 842 h 842"/>
              <a:gd name="T12" fmla="*/ 217 w 739"/>
              <a:gd name="T13" fmla="*/ 829 h 842"/>
              <a:gd name="T14" fmla="*/ 346 w 739"/>
              <a:gd name="T15" fmla="*/ 588 h 842"/>
              <a:gd name="T16" fmla="*/ 373 w 739"/>
              <a:gd name="T17" fmla="*/ 589 h 842"/>
              <a:gd name="T18" fmla="*/ 393 w 739"/>
              <a:gd name="T19" fmla="*/ 588 h 842"/>
              <a:gd name="T20" fmla="*/ 521 w 739"/>
              <a:gd name="T21" fmla="*/ 829 h 842"/>
              <a:gd name="T22" fmla="*/ 543 w 739"/>
              <a:gd name="T23" fmla="*/ 842 h 842"/>
              <a:gd name="T24" fmla="*/ 546 w 739"/>
              <a:gd name="T25" fmla="*/ 842 h 842"/>
              <a:gd name="T26" fmla="*/ 568 w 739"/>
              <a:gd name="T27" fmla="*/ 824 h 842"/>
              <a:gd name="T28" fmla="*/ 598 w 739"/>
              <a:gd name="T29" fmla="*/ 717 h 842"/>
              <a:gd name="T30" fmla="*/ 704 w 739"/>
              <a:gd name="T31" fmla="*/ 751 h 842"/>
              <a:gd name="T32" fmla="*/ 731 w 739"/>
              <a:gd name="T33" fmla="*/ 744 h 842"/>
              <a:gd name="T34" fmla="*/ 734 w 739"/>
              <a:gd name="T35" fmla="*/ 716 h 842"/>
              <a:gd name="T36" fmla="*/ 606 w 739"/>
              <a:gd name="T37" fmla="*/ 475 h 842"/>
              <a:gd name="T38" fmla="*/ 667 w 739"/>
              <a:gd name="T39" fmla="*/ 295 h 842"/>
              <a:gd name="T40" fmla="*/ 373 w 739"/>
              <a:gd name="T41" fmla="*/ 0 h 842"/>
              <a:gd name="T42" fmla="*/ 78 w 739"/>
              <a:gd name="T43" fmla="*/ 295 h 842"/>
              <a:gd name="T44" fmla="*/ 136 w 739"/>
              <a:gd name="T45" fmla="*/ 469 h 842"/>
              <a:gd name="T46" fmla="*/ 4 w 739"/>
              <a:gd name="T47" fmla="*/ 716 h 842"/>
              <a:gd name="T48" fmla="*/ 7 w 739"/>
              <a:gd name="T49" fmla="*/ 744 h 842"/>
              <a:gd name="T50" fmla="*/ 594 w 739"/>
              <a:gd name="T51" fmla="*/ 663 h 842"/>
              <a:gd name="T52" fmla="*/ 574 w 739"/>
              <a:gd name="T53" fmla="*/ 665 h 842"/>
              <a:gd name="T54" fmla="*/ 568 w 739"/>
              <a:gd name="T55" fmla="*/ 668 h 842"/>
              <a:gd name="T56" fmla="*/ 556 w 739"/>
              <a:gd name="T57" fmla="*/ 683 h 842"/>
              <a:gd name="T58" fmla="*/ 536 w 739"/>
              <a:gd name="T59" fmla="*/ 751 h 842"/>
              <a:gd name="T60" fmla="*/ 445 w 739"/>
              <a:gd name="T61" fmla="*/ 580 h 842"/>
              <a:gd name="T62" fmla="*/ 570 w 739"/>
              <a:gd name="T63" fmla="*/ 514 h 842"/>
              <a:gd name="T64" fmla="*/ 661 w 739"/>
              <a:gd name="T65" fmla="*/ 685 h 842"/>
              <a:gd name="T66" fmla="*/ 594 w 739"/>
              <a:gd name="T67" fmla="*/ 663 h 842"/>
              <a:gd name="T68" fmla="*/ 373 w 739"/>
              <a:gd name="T69" fmla="*/ 50 h 842"/>
              <a:gd name="T70" fmla="*/ 617 w 739"/>
              <a:gd name="T71" fmla="*/ 295 h 842"/>
              <a:gd name="T72" fmla="*/ 373 w 739"/>
              <a:gd name="T73" fmla="*/ 539 h 842"/>
              <a:gd name="T74" fmla="*/ 128 w 739"/>
              <a:gd name="T75" fmla="*/ 295 h 842"/>
              <a:gd name="T76" fmla="*/ 373 w 739"/>
              <a:gd name="T77" fmla="*/ 50 h 842"/>
              <a:gd name="T78" fmla="*/ 171 w 739"/>
              <a:gd name="T79" fmla="*/ 509 h 842"/>
              <a:gd name="T80" fmla="*/ 294 w 739"/>
              <a:gd name="T81" fmla="*/ 578 h 842"/>
              <a:gd name="T82" fmla="*/ 202 w 739"/>
              <a:gd name="T83" fmla="*/ 751 h 842"/>
              <a:gd name="T84" fmla="*/ 183 w 739"/>
              <a:gd name="T85" fmla="*/ 683 h 842"/>
              <a:gd name="T86" fmla="*/ 171 w 739"/>
              <a:gd name="T87" fmla="*/ 668 h 842"/>
              <a:gd name="T88" fmla="*/ 165 w 739"/>
              <a:gd name="T89" fmla="*/ 665 h 842"/>
              <a:gd name="T90" fmla="*/ 145 w 739"/>
              <a:gd name="T91" fmla="*/ 663 h 842"/>
              <a:gd name="T92" fmla="*/ 78 w 739"/>
              <a:gd name="T93" fmla="*/ 685 h 842"/>
              <a:gd name="T94" fmla="*/ 171 w 739"/>
              <a:gd name="T95" fmla="*/ 509 h 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39" h="842">
                <a:moveTo>
                  <a:pt x="7" y="744"/>
                </a:moveTo>
                <a:cubicBezTo>
                  <a:pt x="14" y="751"/>
                  <a:pt x="24" y="754"/>
                  <a:pt x="34" y="751"/>
                </a:cubicBezTo>
                <a:lnTo>
                  <a:pt x="140" y="717"/>
                </a:lnTo>
                <a:lnTo>
                  <a:pt x="171" y="824"/>
                </a:lnTo>
                <a:cubicBezTo>
                  <a:pt x="174" y="834"/>
                  <a:pt x="182" y="841"/>
                  <a:pt x="192" y="842"/>
                </a:cubicBezTo>
                <a:cubicBezTo>
                  <a:pt x="193" y="842"/>
                  <a:pt x="194" y="842"/>
                  <a:pt x="195" y="842"/>
                </a:cubicBezTo>
                <a:cubicBezTo>
                  <a:pt x="204" y="842"/>
                  <a:pt x="213" y="837"/>
                  <a:pt x="217" y="829"/>
                </a:cubicBezTo>
                <a:lnTo>
                  <a:pt x="346" y="588"/>
                </a:lnTo>
                <a:cubicBezTo>
                  <a:pt x="355" y="589"/>
                  <a:pt x="364" y="589"/>
                  <a:pt x="373" y="589"/>
                </a:cubicBezTo>
                <a:cubicBezTo>
                  <a:pt x="380" y="589"/>
                  <a:pt x="386" y="589"/>
                  <a:pt x="393" y="588"/>
                </a:cubicBezTo>
                <a:lnTo>
                  <a:pt x="521" y="829"/>
                </a:lnTo>
                <a:cubicBezTo>
                  <a:pt x="526" y="837"/>
                  <a:pt x="534" y="842"/>
                  <a:pt x="543" y="842"/>
                </a:cubicBezTo>
                <a:cubicBezTo>
                  <a:pt x="544" y="842"/>
                  <a:pt x="545" y="842"/>
                  <a:pt x="546" y="842"/>
                </a:cubicBezTo>
                <a:cubicBezTo>
                  <a:pt x="556" y="841"/>
                  <a:pt x="565" y="834"/>
                  <a:pt x="568" y="824"/>
                </a:cubicBezTo>
                <a:lnTo>
                  <a:pt x="598" y="717"/>
                </a:lnTo>
                <a:lnTo>
                  <a:pt x="704" y="751"/>
                </a:lnTo>
                <a:cubicBezTo>
                  <a:pt x="714" y="754"/>
                  <a:pt x="725" y="751"/>
                  <a:pt x="731" y="744"/>
                </a:cubicBezTo>
                <a:cubicBezTo>
                  <a:pt x="738" y="736"/>
                  <a:pt x="739" y="725"/>
                  <a:pt x="734" y="716"/>
                </a:cubicBezTo>
                <a:lnTo>
                  <a:pt x="606" y="475"/>
                </a:lnTo>
                <a:cubicBezTo>
                  <a:pt x="644" y="425"/>
                  <a:pt x="667" y="362"/>
                  <a:pt x="667" y="295"/>
                </a:cubicBezTo>
                <a:cubicBezTo>
                  <a:pt x="667" y="132"/>
                  <a:pt x="535" y="0"/>
                  <a:pt x="373" y="0"/>
                </a:cubicBezTo>
                <a:cubicBezTo>
                  <a:pt x="210" y="0"/>
                  <a:pt x="78" y="132"/>
                  <a:pt x="78" y="295"/>
                </a:cubicBezTo>
                <a:cubicBezTo>
                  <a:pt x="78" y="360"/>
                  <a:pt x="100" y="421"/>
                  <a:pt x="136" y="469"/>
                </a:cubicBezTo>
                <a:lnTo>
                  <a:pt x="4" y="716"/>
                </a:lnTo>
                <a:cubicBezTo>
                  <a:pt x="0" y="725"/>
                  <a:pt x="1" y="736"/>
                  <a:pt x="7" y="744"/>
                </a:cubicBezTo>
                <a:close/>
                <a:moveTo>
                  <a:pt x="594" y="663"/>
                </a:moveTo>
                <a:cubicBezTo>
                  <a:pt x="587" y="661"/>
                  <a:pt x="580" y="661"/>
                  <a:pt x="574" y="665"/>
                </a:cubicBezTo>
                <a:lnTo>
                  <a:pt x="568" y="668"/>
                </a:lnTo>
                <a:cubicBezTo>
                  <a:pt x="562" y="671"/>
                  <a:pt x="558" y="676"/>
                  <a:pt x="556" y="683"/>
                </a:cubicBezTo>
                <a:lnTo>
                  <a:pt x="536" y="751"/>
                </a:lnTo>
                <a:lnTo>
                  <a:pt x="445" y="580"/>
                </a:lnTo>
                <a:cubicBezTo>
                  <a:pt x="492" y="568"/>
                  <a:pt x="535" y="545"/>
                  <a:pt x="570" y="514"/>
                </a:cubicBezTo>
                <a:lnTo>
                  <a:pt x="661" y="685"/>
                </a:lnTo>
                <a:lnTo>
                  <a:pt x="594" y="663"/>
                </a:lnTo>
                <a:close/>
                <a:moveTo>
                  <a:pt x="373" y="50"/>
                </a:moveTo>
                <a:cubicBezTo>
                  <a:pt x="508" y="50"/>
                  <a:pt x="617" y="160"/>
                  <a:pt x="617" y="295"/>
                </a:cubicBezTo>
                <a:cubicBezTo>
                  <a:pt x="617" y="429"/>
                  <a:pt x="508" y="539"/>
                  <a:pt x="373" y="539"/>
                </a:cubicBezTo>
                <a:cubicBezTo>
                  <a:pt x="238" y="539"/>
                  <a:pt x="128" y="429"/>
                  <a:pt x="128" y="295"/>
                </a:cubicBezTo>
                <a:cubicBezTo>
                  <a:pt x="128" y="160"/>
                  <a:pt x="238" y="50"/>
                  <a:pt x="373" y="50"/>
                </a:cubicBezTo>
                <a:close/>
                <a:moveTo>
                  <a:pt x="171" y="509"/>
                </a:moveTo>
                <a:cubicBezTo>
                  <a:pt x="206" y="541"/>
                  <a:pt x="248" y="566"/>
                  <a:pt x="294" y="578"/>
                </a:cubicBezTo>
                <a:lnTo>
                  <a:pt x="202" y="751"/>
                </a:lnTo>
                <a:lnTo>
                  <a:pt x="183" y="683"/>
                </a:lnTo>
                <a:cubicBezTo>
                  <a:pt x="181" y="676"/>
                  <a:pt x="176" y="671"/>
                  <a:pt x="171" y="668"/>
                </a:cubicBezTo>
                <a:lnTo>
                  <a:pt x="165" y="665"/>
                </a:lnTo>
                <a:cubicBezTo>
                  <a:pt x="159" y="661"/>
                  <a:pt x="151" y="661"/>
                  <a:pt x="145" y="663"/>
                </a:cubicBezTo>
                <a:lnTo>
                  <a:pt x="78" y="685"/>
                </a:lnTo>
                <a:lnTo>
                  <a:pt x="171" y="509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3" name="TextBox 82">
            <a:extLst>
              <a:ext uri="{FF2B5EF4-FFF2-40B4-BE49-F238E27FC236}">
                <a16:creationId xmlns:a16="http://schemas.microsoft.com/office/drawing/2014/main" id="{57B40158-F319-4D5A-B764-3BA2AC869B7C}"/>
              </a:ext>
            </a:extLst>
          </p:cNvPr>
          <p:cNvSpPr txBox="1">
            <a:spLocks/>
          </p:cNvSpPr>
          <p:nvPr/>
        </p:nvSpPr>
        <p:spPr bwMode="gray">
          <a:xfrm>
            <a:off x="132424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73" name="Rectangle: Rounded Corners 81">
            <a:extLst>
              <a:ext uri="{FF2B5EF4-FFF2-40B4-BE49-F238E27FC236}">
                <a16:creationId xmlns:a16="http://schemas.microsoft.com/office/drawing/2014/main" id="{A8F676BD-4EF8-4CCB-AFCF-D30AC3A8C451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71" name="Rectangle: Rounded Corners 85">
            <a:extLst>
              <a:ext uri="{FF2B5EF4-FFF2-40B4-BE49-F238E27FC236}">
                <a16:creationId xmlns:a16="http://schemas.microsoft.com/office/drawing/2014/main" id="{C59F953E-51E6-4DAE-AEB4-F649B0C4C759}"/>
              </a:ext>
            </a:extLst>
          </p:cNvPr>
          <p:cNvSpPr>
            <a:spLocks/>
          </p:cNvSpPr>
          <p:nvPr/>
        </p:nvSpPr>
        <p:spPr bwMode="gray">
          <a:xfrm>
            <a:off x="623888" y="2973418"/>
            <a:ext cx="533430" cy="5334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69" name="Rectangle: Rounded Corners 89">
            <a:extLst>
              <a:ext uri="{FF2B5EF4-FFF2-40B4-BE49-F238E27FC236}">
                <a16:creationId xmlns:a16="http://schemas.microsoft.com/office/drawing/2014/main" id="{E4CFEA97-BBDD-4482-A028-2CDFBDAA5DAB}"/>
              </a:ext>
            </a:extLst>
          </p:cNvPr>
          <p:cNvSpPr>
            <a:spLocks/>
          </p:cNvSpPr>
          <p:nvPr/>
        </p:nvSpPr>
        <p:spPr bwMode="gray">
          <a:xfrm>
            <a:off x="628586" y="4370618"/>
            <a:ext cx="533430" cy="5334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accent1"/>
                </a:solidFill>
                <a:latin typeface="+mj-lt"/>
              </a:rPr>
              <a:t>3</a:t>
            </a:r>
          </a:p>
        </p:txBody>
      </p:sp>
      <p:sp>
        <p:nvSpPr>
          <p:cNvPr id="67" name="TextBox 82">
            <a:extLst>
              <a:ext uri="{FF2B5EF4-FFF2-40B4-BE49-F238E27FC236}">
                <a16:creationId xmlns:a16="http://schemas.microsoft.com/office/drawing/2014/main" id="{E26FA82A-4D7A-4E5A-9B98-A0FA62F3809A}"/>
              </a:ext>
            </a:extLst>
          </p:cNvPr>
          <p:cNvSpPr txBox="1">
            <a:spLocks/>
          </p:cNvSpPr>
          <p:nvPr/>
        </p:nvSpPr>
        <p:spPr bwMode="gray">
          <a:xfrm>
            <a:off x="132424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8" name="TextBox 82">
            <a:extLst>
              <a:ext uri="{FF2B5EF4-FFF2-40B4-BE49-F238E27FC236}">
                <a16:creationId xmlns:a16="http://schemas.microsoft.com/office/drawing/2014/main" id="{A6BFA0A2-8673-42D4-9DE1-131721832115}"/>
              </a:ext>
            </a:extLst>
          </p:cNvPr>
          <p:cNvSpPr txBox="1">
            <a:spLocks/>
          </p:cNvSpPr>
          <p:nvPr/>
        </p:nvSpPr>
        <p:spPr bwMode="gray">
          <a:xfrm>
            <a:off x="132424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6" name="Rectangle: Rounded Corners 99">
            <a:extLst>
              <a:ext uri="{FF2B5EF4-FFF2-40B4-BE49-F238E27FC236}">
                <a16:creationId xmlns:a16="http://schemas.microsoft.com/office/drawing/2014/main" id="{D041819E-8803-4FE5-9DAC-64BA4C1B3A89}"/>
              </a:ext>
            </a:extLst>
          </p:cNvPr>
          <p:cNvSpPr>
            <a:spLocks/>
          </p:cNvSpPr>
          <p:nvPr/>
        </p:nvSpPr>
        <p:spPr bwMode="gray">
          <a:xfrm>
            <a:off x="10923364" y="1594401"/>
            <a:ext cx="533430" cy="533430"/>
          </a:xfrm>
          <a:prstGeom prst="rect">
            <a:avLst/>
          </a:prstGeom>
          <a:solidFill>
            <a:srgbClr val="F25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</a:t>
            </a:r>
          </a:p>
        </p:txBody>
      </p:sp>
      <p:sp>
        <p:nvSpPr>
          <p:cNvPr id="84" name="Rectangle: Rounded Corners 101">
            <a:extLst>
              <a:ext uri="{FF2B5EF4-FFF2-40B4-BE49-F238E27FC236}">
                <a16:creationId xmlns:a16="http://schemas.microsoft.com/office/drawing/2014/main" id="{9F1FCAFC-C0AE-4D80-953E-DDDB0A92390A}"/>
              </a:ext>
            </a:extLst>
          </p:cNvPr>
          <p:cNvSpPr>
            <a:spLocks/>
          </p:cNvSpPr>
          <p:nvPr/>
        </p:nvSpPr>
        <p:spPr bwMode="gray">
          <a:xfrm>
            <a:off x="10923364" y="2973418"/>
            <a:ext cx="533430" cy="533430"/>
          </a:xfrm>
          <a:prstGeom prst="rect">
            <a:avLst/>
          </a:prstGeom>
          <a:solidFill>
            <a:srgbClr val="CA3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</a:t>
            </a:r>
          </a:p>
        </p:txBody>
      </p:sp>
      <p:sp>
        <p:nvSpPr>
          <p:cNvPr id="82" name="Rectangle: Rounded Corners 103">
            <a:extLst>
              <a:ext uri="{FF2B5EF4-FFF2-40B4-BE49-F238E27FC236}">
                <a16:creationId xmlns:a16="http://schemas.microsoft.com/office/drawing/2014/main" id="{27D9B7EC-C776-4EC5-9F0E-3A57CC749915}"/>
              </a:ext>
            </a:extLst>
          </p:cNvPr>
          <p:cNvSpPr>
            <a:spLocks/>
          </p:cNvSpPr>
          <p:nvPr/>
        </p:nvSpPr>
        <p:spPr bwMode="gray">
          <a:xfrm>
            <a:off x="10923364" y="4370618"/>
            <a:ext cx="533430" cy="533430"/>
          </a:xfrm>
          <a:prstGeom prst="rect">
            <a:avLst/>
          </a:prstGeom>
          <a:solidFill>
            <a:srgbClr val="A22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6</a:t>
            </a:r>
          </a:p>
        </p:txBody>
      </p:sp>
      <p:sp>
        <p:nvSpPr>
          <p:cNvPr id="79" name="TextBox 82">
            <a:extLst>
              <a:ext uri="{FF2B5EF4-FFF2-40B4-BE49-F238E27FC236}">
                <a16:creationId xmlns:a16="http://schemas.microsoft.com/office/drawing/2014/main" id="{F839AF4F-3127-4C69-99AE-E05D65E15D84}"/>
              </a:ext>
            </a:extLst>
          </p:cNvPr>
          <p:cNvSpPr txBox="1">
            <a:spLocks/>
          </p:cNvSpPr>
          <p:nvPr/>
        </p:nvSpPr>
        <p:spPr bwMode="gray">
          <a:xfrm>
            <a:off x="838517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algn="r"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0" name="TextBox 82">
            <a:extLst>
              <a:ext uri="{FF2B5EF4-FFF2-40B4-BE49-F238E27FC236}">
                <a16:creationId xmlns:a16="http://schemas.microsoft.com/office/drawing/2014/main" id="{AB23440F-328D-4644-85E1-86C8E4AA93A4}"/>
              </a:ext>
            </a:extLst>
          </p:cNvPr>
          <p:cNvSpPr txBox="1">
            <a:spLocks/>
          </p:cNvSpPr>
          <p:nvPr/>
        </p:nvSpPr>
        <p:spPr bwMode="gray">
          <a:xfrm>
            <a:off x="838517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1" name="TextBox 82">
            <a:extLst>
              <a:ext uri="{FF2B5EF4-FFF2-40B4-BE49-F238E27FC236}">
                <a16:creationId xmlns:a16="http://schemas.microsoft.com/office/drawing/2014/main" id="{18911ADB-819B-4C79-9651-7170135B301D}"/>
              </a:ext>
            </a:extLst>
          </p:cNvPr>
          <p:cNvSpPr txBox="1">
            <a:spLocks/>
          </p:cNvSpPr>
          <p:nvPr/>
        </p:nvSpPr>
        <p:spPr bwMode="gray">
          <a:xfrm>
            <a:off x="838517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6ECE-A2FA-4CF6-965F-DC31B6CDAEE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008915446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21F49B-1D22-497A-B276-532B1C443F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3030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7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21F49B-1D22-497A-B276-532B1C443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Bildplatzhalter 25" descr="Ein Bild, das Text enthält.&#10;&#10;Automatisch generierte Beschreibung">
            <a:extLst>
              <a:ext uri="{FF2B5EF4-FFF2-40B4-BE49-F238E27FC236}">
                <a16:creationId xmlns:a16="http://schemas.microsoft.com/office/drawing/2014/main" id="{2428EEFE-4981-4E5E-81A5-8F12C88A7FC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796" r="32796"/>
          <a:stretch/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3CEB0761-053F-433F-BF4B-344B0096CCD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rei Ziele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D3934F3B-7867-4720-B153-98C51463BE80}"/>
              </a:ext>
            </a:extLst>
          </p:cNvPr>
          <p:cNvGrpSpPr/>
          <p:nvPr/>
        </p:nvGrpSpPr>
        <p:grpSpPr bwMode="gray">
          <a:xfrm>
            <a:off x="623887" y="1592263"/>
            <a:ext cx="7120970" cy="827123"/>
            <a:chOff x="623887" y="1592263"/>
            <a:chExt cx="7120970" cy="827123"/>
          </a:xfrm>
        </p:grpSpPr>
        <p:sp>
          <p:nvSpPr>
            <p:cNvPr id="14" name="Textplatzhalter 6">
              <a:extLst>
                <a:ext uri="{FF2B5EF4-FFF2-40B4-BE49-F238E27FC236}">
                  <a16:creationId xmlns:a16="http://schemas.microsoft.com/office/drawing/2014/main" id="{5E258079-47BE-442F-B931-3FAC7851D45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7" y="15922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15" name="Textplatzhalter 7">
              <a:extLst>
                <a:ext uri="{FF2B5EF4-FFF2-40B4-BE49-F238E27FC236}">
                  <a16:creationId xmlns:a16="http://schemas.microsoft.com/office/drawing/2014/main" id="{34927F27-26FA-40E5-B583-23709DD2C0A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1734583"/>
              <a:ext cx="6251337" cy="684803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1</a:t>
              </a:r>
            </a:p>
            <a:p>
              <a:pPr marL="0" indent="0">
                <a:buNone/>
              </a:pP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CF825ABD-497C-4560-ACAD-0F4A6AEF9A83}"/>
              </a:ext>
            </a:extLst>
          </p:cNvPr>
          <p:cNvGrpSpPr/>
          <p:nvPr/>
        </p:nvGrpSpPr>
        <p:grpSpPr bwMode="gray">
          <a:xfrm>
            <a:off x="623888" y="3129548"/>
            <a:ext cx="7120969" cy="788652"/>
            <a:chOff x="623888" y="3129548"/>
            <a:chExt cx="7120969" cy="788652"/>
          </a:xfrm>
        </p:grpSpPr>
        <p:sp>
          <p:nvSpPr>
            <p:cNvPr id="16" name="Textplatzhalter 8">
              <a:extLst>
                <a:ext uri="{FF2B5EF4-FFF2-40B4-BE49-F238E27FC236}">
                  <a16:creationId xmlns:a16="http://schemas.microsoft.com/office/drawing/2014/main" id="{5D4A5D29-4175-4D55-80D4-56005CF7AA2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3129548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17" name="Textplatzhalter 9">
              <a:extLst>
                <a:ext uri="{FF2B5EF4-FFF2-40B4-BE49-F238E27FC236}">
                  <a16:creationId xmlns:a16="http://schemas.microsoft.com/office/drawing/2014/main" id="{4DB3CCF7-21A4-4D15-9699-63ED2EC19CA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3271869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2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ABA66B4C-7C54-491C-9F70-E4D15400C80C}"/>
              </a:ext>
            </a:extLst>
          </p:cNvPr>
          <p:cNvGrpSpPr/>
          <p:nvPr/>
        </p:nvGrpSpPr>
        <p:grpSpPr bwMode="gray">
          <a:xfrm>
            <a:off x="623888" y="4628363"/>
            <a:ext cx="7120969" cy="788651"/>
            <a:chOff x="623888" y="4628363"/>
            <a:chExt cx="7120969" cy="788651"/>
          </a:xfrm>
        </p:grpSpPr>
        <p:sp>
          <p:nvSpPr>
            <p:cNvPr id="18" name="Textplatzhalter 10">
              <a:extLst>
                <a:ext uri="{FF2B5EF4-FFF2-40B4-BE49-F238E27FC236}">
                  <a16:creationId xmlns:a16="http://schemas.microsoft.com/office/drawing/2014/main" id="{1C9B5112-96A9-4416-9FE5-62DD416F181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46283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19" name="Textplatzhalter 11">
              <a:extLst>
                <a:ext uri="{FF2B5EF4-FFF2-40B4-BE49-F238E27FC236}">
                  <a16:creationId xmlns:a16="http://schemas.microsoft.com/office/drawing/2014/main" id="{BE2EE3C0-FA5E-4BC2-8C69-AF1739FC73A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4770683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3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sp>
        <p:nvSpPr>
          <p:cNvPr id="32" name="Datumsplatzhalter 3">
            <a:extLst>
              <a:ext uri="{FF2B5EF4-FFF2-40B4-BE49-F238E27FC236}">
                <a16:creationId xmlns:a16="http://schemas.microsoft.com/office/drawing/2014/main" id="{8924F5E4-614F-4BBA-A2C6-C6E021EF123B}"/>
              </a:ext>
            </a:extLst>
          </p:cNvPr>
          <p:cNvSpPr txBox="1">
            <a:spLocks/>
          </p:cNvSpPr>
          <p:nvPr/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FF9B52-3DD9-4FD6-A712-32A7F5006566}" type="datetime1">
              <a:rPr lang="de-DE"/>
              <a:pPr/>
              <a:t>09.05.22</a:t>
            </a:fld>
            <a:endParaRPr lang="de-DE" dirty="0"/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7D240353-AF21-4E2C-B4E4-F82094864EAA}"/>
              </a:ext>
            </a:extLst>
          </p:cNvPr>
          <p:cNvSpPr txBox="1">
            <a:spLocks/>
          </p:cNvSpPr>
          <p:nvPr/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eite </a:t>
            </a:r>
            <a:fld id="{487D266B-E72C-4639-8FD6-1CF954A8FA0B}" type="slidenum">
              <a:rPr lang="de-DE"/>
              <a:pPr/>
              <a:t>111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46F648-B58D-40FC-8FB2-3E4A9B161F8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523607250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7E0362A0-CE5E-4F93-AD7D-F6392C0221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542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0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0" name="Objekt 39" hidden="1">
                        <a:extLst>
                          <a:ext uri="{FF2B5EF4-FFF2-40B4-BE49-F238E27FC236}">
                            <a16:creationId xmlns:a16="http://schemas.microsoft.com/office/drawing/2014/main" id="{7E0362A0-CE5E-4F93-AD7D-F6392C0221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E9BBDF82-86B1-48B8-973D-7F43F0CA6E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55" name="Titel 54">
            <a:extLst>
              <a:ext uri="{FF2B5EF4-FFF2-40B4-BE49-F238E27FC236}">
                <a16:creationId xmlns:a16="http://schemas.microsoft.com/office/drawing/2014/main" id="{F038FE8B-8FB9-4FD6-A4FD-D4DC9EFEF47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Next Steps (1/2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4B70B4-434A-4DD5-A869-BEC529F97D4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6769776-D7CD-4D2D-B0D2-7229884FC5E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Erster Step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31F861DC-14B7-43B2-AB4A-2939E513398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4A5F7EE-7FD8-4A14-B337-B29B516C0FF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623888" y="2744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65ED7035-88FB-43B9-BBCB-C23F1385677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493520" y="2929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Zweiter Step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DA67E621-B67B-4FA9-A8AF-CB482465706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D1CDABA-0B3E-458E-8CC1-AFA56DC286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623888" y="3896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A41104A8-ADD1-4500-9BF4-4AA60AEBDEE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1493520" y="4081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Dritter Step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98709C1-D073-4E52-8B61-E07FB74299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30045C1-EDC3-48FB-8F8F-62780A8A9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>
          <a:xfrm>
            <a:off x="623888" y="5048263"/>
            <a:ext cx="648000" cy="648000"/>
          </a:xfrm>
        </p:spPr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AA31DBB0-8FBC-4CB3-8BCA-B32C8BDC2ED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1493520" y="5233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Vierter Step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5B03434-2958-4F38-BB68-DC9FFDE0120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493520" y="5510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0CEF771C-3E57-4D69-9D7B-6EBDA78B18C2}"/>
              </a:ext>
            </a:extLst>
          </p:cNvPr>
          <p:cNvSpPr>
            <a:spLocks noGrp="1"/>
          </p:cNvSpPr>
          <p:nvPr>
            <p:ph type="dt" sz="half" idx="31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B24B0AEB-FA12-434B-BD8A-BDC6755186B3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CEF0F572-A194-4220-BE47-90DF8CC4EB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2</a:t>
            </a:fld>
            <a:endParaRPr lang="de-DE" dirty="0"/>
          </a:p>
        </p:txBody>
      </p:sp>
      <p:sp>
        <p:nvSpPr>
          <p:cNvPr id="29" name="Fußzeilenplatzhalter 28">
            <a:extLst>
              <a:ext uri="{FF2B5EF4-FFF2-40B4-BE49-F238E27FC236}">
                <a16:creationId xmlns:a16="http://schemas.microsoft.com/office/drawing/2014/main" id="{F735AB1F-0AC2-4B7F-A45B-0D2BE752FF56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669114399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958DAE07-487F-4BCA-8010-353DA85BDC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373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2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958DAE07-487F-4BCA-8010-353DA85BDC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20">
            <a:extLst>
              <a:ext uri="{FF2B5EF4-FFF2-40B4-BE49-F238E27FC236}">
                <a16:creationId xmlns:a16="http://schemas.microsoft.com/office/drawing/2014/main" id="{59459586-B65A-4C4E-ADCD-6784EBFA49F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Next Steps (2/2)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13A5195F-B5C7-478B-88E5-5FED12617FE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B692121-F59C-4CC7-BDC8-5A36D070941A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212177F-F2E4-4F1F-B99E-E2756F4A153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3</a:t>
            </a:fld>
            <a:endParaRPr lang="de-DE" dirty="0"/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D1F93BB4-E2D1-460B-B34B-B203767F5076}"/>
              </a:ext>
            </a:extLst>
          </p:cNvPr>
          <p:cNvCxnSpPr>
            <a:cxnSpLocks/>
          </p:cNvCxnSpPr>
          <p:nvPr/>
        </p:nvCxnSpPr>
        <p:spPr bwMode="gray">
          <a:xfrm>
            <a:off x="0" y="2429669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0709C15-21E7-4FA0-9E9B-B872BBB7FBAA}"/>
              </a:ext>
            </a:extLst>
          </p:cNvPr>
          <p:cNvSpPr>
            <a:spLocks/>
          </p:cNvSpPr>
          <p:nvPr/>
        </p:nvSpPr>
        <p:spPr bwMode="gray">
          <a:xfrm>
            <a:off x="623888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4356DEB-1201-40F9-A4A3-D00CAD392093}"/>
              </a:ext>
            </a:extLst>
          </p:cNvPr>
          <p:cNvSpPr>
            <a:spLocks/>
          </p:cNvSpPr>
          <p:nvPr/>
        </p:nvSpPr>
        <p:spPr bwMode="gray">
          <a:xfrm>
            <a:off x="3440642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F0D447B-615E-470E-9CC1-B237809F7413}"/>
              </a:ext>
            </a:extLst>
          </p:cNvPr>
          <p:cNvSpPr>
            <a:spLocks/>
          </p:cNvSpPr>
          <p:nvPr/>
        </p:nvSpPr>
        <p:spPr bwMode="gray">
          <a:xfrm>
            <a:off x="9074151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95D03D4-D08B-4A3E-B69B-4B12B3FFEB58}"/>
              </a:ext>
            </a:extLst>
          </p:cNvPr>
          <p:cNvSpPr>
            <a:spLocks/>
          </p:cNvSpPr>
          <p:nvPr/>
        </p:nvSpPr>
        <p:spPr bwMode="gray">
          <a:xfrm>
            <a:off x="6257396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31" name="TextBox 82">
            <a:extLst>
              <a:ext uri="{FF2B5EF4-FFF2-40B4-BE49-F238E27FC236}">
                <a16:creationId xmlns:a16="http://schemas.microsoft.com/office/drawing/2014/main" id="{8C5B8BB2-A6C9-4B03-A87E-7F9BC87017F6}"/>
              </a:ext>
            </a:extLst>
          </p:cNvPr>
          <p:cNvSpPr txBox="1">
            <a:spLocks/>
          </p:cNvSpPr>
          <p:nvPr/>
        </p:nvSpPr>
        <p:spPr bwMode="gray">
          <a:xfrm>
            <a:off x="623888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Erster Step</a:t>
            </a:r>
          </a:p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2" name="TextBox 82">
            <a:extLst>
              <a:ext uri="{FF2B5EF4-FFF2-40B4-BE49-F238E27FC236}">
                <a16:creationId xmlns:a16="http://schemas.microsoft.com/office/drawing/2014/main" id="{085DEBBA-7A1C-4C88-9F79-5DCF62287676}"/>
              </a:ext>
            </a:extLst>
          </p:cNvPr>
          <p:cNvSpPr txBox="1">
            <a:spLocks/>
          </p:cNvSpPr>
          <p:nvPr/>
        </p:nvSpPr>
        <p:spPr bwMode="gray">
          <a:xfrm>
            <a:off x="3440642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Zwei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3" name="TextBox 82">
            <a:extLst>
              <a:ext uri="{FF2B5EF4-FFF2-40B4-BE49-F238E27FC236}">
                <a16:creationId xmlns:a16="http://schemas.microsoft.com/office/drawing/2014/main" id="{8BB85970-E63E-485A-94C4-202D1047EA21}"/>
              </a:ext>
            </a:extLst>
          </p:cNvPr>
          <p:cNvSpPr txBox="1">
            <a:spLocks/>
          </p:cNvSpPr>
          <p:nvPr/>
        </p:nvSpPr>
        <p:spPr bwMode="gray">
          <a:xfrm>
            <a:off x="6257396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Drit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4" name="TextBox 82">
            <a:extLst>
              <a:ext uri="{FF2B5EF4-FFF2-40B4-BE49-F238E27FC236}">
                <a16:creationId xmlns:a16="http://schemas.microsoft.com/office/drawing/2014/main" id="{96ADA740-23F5-4136-9D6F-6CE4980ACADC}"/>
              </a:ext>
            </a:extLst>
          </p:cNvPr>
          <p:cNvSpPr txBox="1">
            <a:spLocks/>
          </p:cNvSpPr>
          <p:nvPr/>
        </p:nvSpPr>
        <p:spPr bwMode="gray">
          <a:xfrm>
            <a:off x="9074151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Vier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A2746E-BA09-486C-A394-3D7D779905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1371488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661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4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90673B6-AF8D-40E3-B4A0-E60347A31DA7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4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CE60008-1CC4-4D20-A82E-6771428B1C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48538057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6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7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69A07B3-925F-47D9-BFD1-ED47E8A05855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5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A85F677-DBE7-4014-8553-613EEDE7C0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29531091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7898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9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068FFF8-EB0B-4E4B-9D5B-8295544A738F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6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E2CDC97-D764-4FDE-BB85-65C8892BEF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8428534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064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2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35516A4-FDC4-49C4-8EE8-D89DAA0580A5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7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FE5CFF8-A6BB-4672-87F3-A14B69A58B14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9718855-4A7B-4F86-93A1-BC0001CC17EB}"/>
              </a:ext>
            </a:extLst>
          </p:cNvPr>
          <p:cNvSpPr>
            <a:spLocks/>
          </p:cNvSpPr>
          <p:nvPr/>
        </p:nvSpPr>
        <p:spPr bwMode="gray">
          <a:xfrm>
            <a:off x="6222026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78E1D3E-FC56-408B-A389-3A91C68A16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912471229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6749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4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745CA5F-C1A3-4085-94A8-64546CD11A45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8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2BC8B3A-78D9-4816-8C5A-EB95E460FAB2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E0D4D0DA-D461-4A4C-9102-EBB07B370DBF}"/>
              </a:ext>
            </a:extLst>
          </p:cNvPr>
          <p:cNvSpPr>
            <a:spLocks/>
          </p:cNvSpPr>
          <p:nvPr/>
        </p:nvSpPr>
        <p:spPr bwMode="gray">
          <a:xfrm>
            <a:off x="8088071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11610FA-0EDD-47B5-9AD1-0ADF8D6A5FBB}"/>
              </a:ext>
            </a:extLst>
          </p:cNvPr>
          <p:cNvSpPr>
            <a:spLocks/>
          </p:cNvSpPr>
          <p:nvPr/>
        </p:nvSpPr>
        <p:spPr bwMode="gray">
          <a:xfrm>
            <a:off x="4355980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81415D-3FB9-4506-B29F-F5FEC94513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96690472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976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6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2885A2C-47BC-435F-989F-646F6EDB8985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9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AF405CE-E9A7-48B3-82D8-48D188954FC6}"/>
              </a:ext>
            </a:extLst>
          </p:cNvPr>
          <p:cNvSpPr>
            <a:spLocks/>
          </p:cNvSpPr>
          <p:nvPr/>
        </p:nvSpPr>
        <p:spPr bwMode="gray">
          <a:xfrm>
            <a:off x="623889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0DB5E8E-A347-4A15-B7A5-9505DF02B528}"/>
              </a:ext>
            </a:extLst>
          </p:cNvPr>
          <p:cNvSpPr>
            <a:spLocks/>
          </p:cNvSpPr>
          <p:nvPr/>
        </p:nvSpPr>
        <p:spPr bwMode="gray">
          <a:xfrm>
            <a:off x="9021094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B15CC33-1A2A-4E6B-BC17-E2756588CE20}"/>
              </a:ext>
            </a:extLst>
          </p:cNvPr>
          <p:cNvSpPr>
            <a:spLocks/>
          </p:cNvSpPr>
          <p:nvPr/>
        </p:nvSpPr>
        <p:spPr bwMode="gray">
          <a:xfrm>
            <a:off x="3422957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4839E09-7E22-420B-A793-325E7D798821}"/>
              </a:ext>
            </a:extLst>
          </p:cNvPr>
          <p:cNvSpPr>
            <a:spLocks/>
          </p:cNvSpPr>
          <p:nvPr/>
        </p:nvSpPr>
        <p:spPr bwMode="gray">
          <a:xfrm>
            <a:off x="6222025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7AC545-E1C6-453C-A46D-7BECC21F299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3874236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EE9A31-C3BA-8544-9C4C-A9C479393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n-</a:t>
            </a:r>
            <a:r>
              <a:rPr lang="de-DE" dirty="0" err="1"/>
              <a:t>blocking</a:t>
            </a:r>
            <a:r>
              <a:rPr lang="de-DE" dirty="0"/>
              <a:t> IO ermöglicht effizienteres Ausnutzen eines einzelnen Threads, wie etwa 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37D8EF4-28A7-0244-BF4C-B845A97E45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04B5690-F37C-FB4C-BAE4-195590B6A7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1E7A60-0ABC-144C-AEEB-A525016477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466A7E1-3A93-0C43-902C-B1BAB0E5B47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B3D9007-ED14-5642-98F4-688FF5169DF2}"/>
              </a:ext>
            </a:extLst>
          </p:cNvPr>
          <p:cNvSpPr txBox="1"/>
          <p:nvPr/>
        </p:nvSpPr>
        <p:spPr>
          <a:xfrm>
            <a:off x="755780" y="2343969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Non-</a:t>
            </a:r>
            <a:r>
              <a:rPr lang="de-DE" sz="1400" dirty="0" err="1"/>
              <a:t>blocking</a:t>
            </a:r>
            <a:r>
              <a:rPr lang="de-DE" sz="1400" dirty="0"/>
              <a:t> IO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8B82509-362F-4F49-ADCA-FEBD593D6850}"/>
              </a:ext>
            </a:extLst>
          </p:cNvPr>
          <p:cNvSpPr txBox="1"/>
          <p:nvPr/>
        </p:nvSpPr>
        <p:spPr>
          <a:xfrm>
            <a:off x="2045401" y="4712048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hread 2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B5D97E39-0D17-9247-AA25-6872CF30261A}"/>
              </a:ext>
            </a:extLst>
          </p:cNvPr>
          <p:cNvSpPr/>
          <p:nvPr/>
        </p:nvSpPr>
        <p:spPr>
          <a:xfrm>
            <a:off x="2768241" y="2174904"/>
            <a:ext cx="1713118" cy="5878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D34B9E5E-0A61-9C44-8DCB-6DDB06897206}"/>
              </a:ext>
            </a:extLst>
          </p:cNvPr>
          <p:cNvSpPr/>
          <p:nvPr/>
        </p:nvSpPr>
        <p:spPr>
          <a:xfrm>
            <a:off x="4613832" y="2174904"/>
            <a:ext cx="1713118" cy="58782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62D9818B-9453-8E49-926A-FB9CEA6476DD}"/>
              </a:ext>
            </a:extLst>
          </p:cNvPr>
          <p:cNvSpPr/>
          <p:nvPr/>
        </p:nvSpPr>
        <p:spPr>
          <a:xfrm>
            <a:off x="6459423" y="2174904"/>
            <a:ext cx="1713118" cy="5878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D1F3AE91-AEA2-424B-89AC-99642747ED2D}"/>
              </a:ext>
            </a:extLst>
          </p:cNvPr>
          <p:cNvSpPr/>
          <p:nvPr/>
        </p:nvSpPr>
        <p:spPr>
          <a:xfrm>
            <a:off x="8305015" y="2174904"/>
            <a:ext cx="1713118" cy="58782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A8158903-A7C0-AD4D-A6EF-944ED918E829}"/>
              </a:ext>
            </a:extLst>
          </p:cNvPr>
          <p:cNvSpPr/>
          <p:nvPr/>
        </p:nvSpPr>
        <p:spPr>
          <a:xfrm>
            <a:off x="2768240" y="3691506"/>
            <a:ext cx="2476931" cy="5878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E99BDD9E-4E3F-2A4D-BF59-92E50620337D}"/>
              </a:ext>
            </a:extLst>
          </p:cNvPr>
          <p:cNvSpPr/>
          <p:nvPr/>
        </p:nvSpPr>
        <p:spPr>
          <a:xfrm>
            <a:off x="5765377" y="3691506"/>
            <a:ext cx="2675755" cy="5878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22" name="Abgerundetes Rechteck 21">
            <a:extLst>
              <a:ext uri="{FF2B5EF4-FFF2-40B4-BE49-F238E27FC236}">
                <a16:creationId xmlns:a16="http://schemas.microsoft.com/office/drawing/2014/main" id="{6F1FA484-D9A0-4541-8E83-55E9F6509F74}"/>
              </a:ext>
            </a:extLst>
          </p:cNvPr>
          <p:cNvSpPr/>
          <p:nvPr/>
        </p:nvSpPr>
        <p:spPr>
          <a:xfrm>
            <a:off x="3030956" y="4517121"/>
            <a:ext cx="3048715" cy="58782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26" name="Abgerundetes Rechteck 25">
            <a:extLst>
              <a:ext uri="{FF2B5EF4-FFF2-40B4-BE49-F238E27FC236}">
                <a16:creationId xmlns:a16="http://schemas.microsoft.com/office/drawing/2014/main" id="{A248420C-1D5E-A14F-BE9B-DE2041A382C9}"/>
              </a:ext>
            </a:extLst>
          </p:cNvPr>
          <p:cNvSpPr/>
          <p:nvPr/>
        </p:nvSpPr>
        <p:spPr>
          <a:xfrm>
            <a:off x="8739840" y="4517121"/>
            <a:ext cx="1278293" cy="58782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53CAADF1-375B-674B-B238-4F0DE443BC87}"/>
              </a:ext>
            </a:extLst>
          </p:cNvPr>
          <p:cNvCxnSpPr>
            <a:cxnSpLocks/>
          </p:cNvCxnSpPr>
          <p:nvPr/>
        </p:nvCxnSpPr>
        <p:spPr>
          <a:xfrm>
            <a:off x="2750486" y="5580078"/>
            <a:ext cx="7364705" cy="0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81238D4F-0772-C84F-A929-3D4E598B7633}"/>
              </a:ext>
            </a:extLst>
          </p:cNvPr>
          <p:cNvSpPr txBox="1"/>
          <p:nvPr/>
        </p:nvSpPr>
        <p:spPr>
          <a:xfrm>
            <a:off x="10252301" y="5472356"/>
            <a:ext cx="310592" cy="2154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FE82F4D-E240-9643-A129-2328F4C8E40E}"/>
              </a:ext>
            </a:extLst>
          </p:cNvPr>
          <p:cNvSpPr txBox="1"/>
          <p:nvPr/>
        </p:nvSpPr>
        <p:spPr>
          <a:xfrm>
            <a:off x="10562893" y="5862623"/>
            <a:ext cx="14101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>
                <a:hlinkClick r:id="rId2"/>
              </a:rPr>
              <a:t>Rob Pike – Concurrency is not parallelism    </a:t>
            </a:r>
            <a:r>
              <a:rPr lang="de-DE" sz="1000" dirty="0"/>
              <a:t> 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37D5417A-3838-1676-26B5-820484CB5C6A}"/>
              </a:ext>
            </a:extLst>
          </p:cNvPr>
          <p:cNvSpPr txBox="1"/>
          <p:nvPr/>
        </p:nvSpPr>
        <p:spPr>
          <a:xfrm>
            <a:off x="908180" y="4454547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locking IO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E26AFF8-9CAA-734C-4900-986FC6ECF384}"/>
              </a:ext>
            </a:extLst>
          </p:cNvPr>
          <p:cNvSpPr txBox="1"/>
          <p:nvPr/>
        </p:nvSpPr>
        <p:spPr>
          <a:xfrm>
            <a:off x="2045401" y="3893817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hread 1</a:t>
            </a:r>
          </a:p>
        </p:txBody>
      </p:sp>
    </p:spTree>
    <p:extLst>
      <p:ext uri="{BB962C8B-B14F-4D97-AF65-F5344CB8AC3E}">
        <p14:creationId xmlns:p14="http://schemas.microsoft.com/office/powerpoint/2010/main" val="653648663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731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9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atrix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D575BBE-BEE2-442C-9656-59C189C6E24F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0</a:t>
            </a:fld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65C799D-0A7A-4DF6-A9AC-4FAB6D544100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3E5B17F-C9FD-4B22-A0D7-8164EE6B3BD3}"/>
              </a:ext>
            </a:extLst>
          </p:cNvPr>
          <p:cNvSpPr txBox="1">
            <a:spLocks/>
          </p:cNvSpPr>
          <p:nvPr/>
        </p:nvSpPr>
        <p:spPr bwMode="gray">
          <a:xfrm>
            <a:off x="623888" y="3749538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AC1EDFA-C632-4C2A-B94B-6866090750C0}"/>
              </a:ext>
            </a:extLst>
          </p:cNvPr>
          <p:cNvSpPr txBox="1">
            <a:spLocks/>
          </p:cNvSpPr>
          <p:nvPr/>
        </p:nvSpPr>
        <p:spPr bwMode="gray">
          <a:xfrm>
            <a:off x="623888" y="5119131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/>
          <p:nvPr/>
        </p:nvGrpSpPr>
        <p:grpSpPr bwMode="gray">
          <a:xfrm>
            <a:off x="3001374" y="1592263"/>
            <a:ext cx="2579596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/>
          <p:nvPr/>
        </p:nvGrpSpPr>
        <p:grpSpPr bwMode="gray">
          <a:xfrm>
            <a:off x="5940970" y="1592263"/>
            <a:ext cx="2579596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/>
          <p:nvPr/>
        </p:nvGrpSpPr>
        <p:grpSpPr bwMode="gray">
          <a:xfrm>
            <a:off x="8880565" y="1592263"/>
            <a:ext cx="257959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001374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5940970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880565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2A021DD-AED4-45F2-8BAD-C01143799884}"/>
              </a:ext>
            </a:extLst>
          </p:cNvPr>
          <p:cNvSpPr txBox="1">
            <a:spLocks/>
          </p:cNvSpPr>
          <p:nvPr/>
        </p:nvSpPr>
        <p:spPr bwMode="gray">
          <a:xfrm>
            <a:off x="3001374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146FDCC-006E-4BBB-A986-596342B44F8D}"/>
              </a:ext>
            </a:extLst>
          </p:cNvPr>
          <p:cNvSpPr txBox="1">
            <a:spLocks/>
          </p:cNvSpPr>
          <p:nvPr/>
        </p:nvSpPr>
        <p:spPr bwMode="gray">
          <a:xfrm>
            <a:off x="5940970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9508399F-E639-4EC3-A9CC-5F8BD113366F}"/>
              </a:ext>
            </a:extLst>
          </p:cNvPr>
          <p:cNvSpPr txBox="1">
            <a:spLocks/>
          </p:cNvSpPr>
          <p:nvPr/>
        </p:nvSpPr>
        <p:spPr bwMode="gray">
          <a:xfrm>
            <a:off x="8880565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3962AFA-60C6-4347-9EC7-C7ACD4A30566}"/>
              </a:ext>
            </a:extLst>
          </p:cNvPr>
          <p:cNvSpPr txBox="1">
            <a:spLocks/>
          </p:cNvSpPr>
          <p:nvPr/>
        </p:nvSpPr>
        <p:spPr bwMode="gray">
          <a:xfrm>
            <a:off x="3001374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48E21C3-31C9-44E5-A9E6-9B134AF9C285}"/>
              </a:ext>
            </a:extLst>
          </p:cNvPr>
          <p:cNvSpPr txBox="1">
            <a:spLocks/>
          </p:cNvSpPr>
          <p:nvPr/>
        </p:nvSpPr>
        <p:spPr bwMode="gray">
          <a:xfrm>
            <a:off x="5940970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C64705C5-5FC8-4018-ADC8-6A2B625DFF6B}"/>
              </a:ext>
            </a:extLst>
          </p:cNvPr>
          <p:cNvSpPr txBox="1">
            <a:spLocks/>
          </p:cNvSpPr>
          <p:nvPr/>
        </p:nvSpPr>
        <p:spPr bwMode="gray">
          <a:xfrm>
            <a:off x="8880565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0BB3AE3A-064C-4B75-9577-9529C8913DB5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3659538"/>
            <a:ext cx="8458788" cy="0"/>
            <a:chOff x="3001374" y="3682652"/>
            <a:chExt cx="8458788" cy="0"/>
          </a:xfrm>
        </p:grpSpPr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D1A4B25F-6247-486B-BA30-10BC2111611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6FB664A8-4F37-4A79-8CA6-74E0C8AEC84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56856273-78DE-423C-8930-920CB085819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75F2050-3235-4AFE-9C6D-DE8A0DDF38C3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5029131"/>
            <a:ext cx="8458788" cy="0"/>
            <a:chOff x="3001374" y="3682652"/>
            <a:chExt cx="8458788" cy="0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97BEA4E2-9D47-4BD2-A923-7D0C230C52A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00664925-1759-4C22-A755-D17ECD4C7B7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DFA0C9CE-2ACB-4E0D-80CC-B35DA4766A5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CB14190-5E10-4B1A-B1DA-175418D2C1D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545203980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B75EC4DB-B9CB-475B-9DF8-4350E87A1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695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1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B75EC4DB-B9CB-475B-9DF8-4350E87A1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B4C37F7-3830-4246-A28D-DC3FBE5D692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recht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5B28CA9-B46B-4440-A7BE-14308C7938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ultricies nec, pellentesque eu, pretium quis, sem consequat massa quis enim.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In enim justo, rhoncus ut, imperdiet a, venenatis vitae, justo. Integer tincidunt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530A0E-863A-4A0B-8FA6-117A12C525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 donec quam felis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8C85AA9-A23D-41A4-B160-A4256C7917F0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69523F1-D852-4B15-88CB-67ADB0778B75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142C348-37A0-49E0-B156-45BE4B8934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1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1AD1-EDC8-4980-B025-43AFE8E1E7C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57139051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000180F-1F49-478A-9291-AA7B54B8DE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96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4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000180F-1F49-478A-9291-AA7B54B8D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B9163DE-00C6-4B83-9A4C-9516BE19954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un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C728C42-BADD-43D0-9ADA-9F0B6FC752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ultricies nec, pellentesque eu, pretium qu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sem consequat massa quis enim. In enim justo, rhoncus ut, imperdiet a, venenatis vitae, justo. Integer tincidunt. Cras dapibus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52292B-D095-46AF-A1F3-67E378235E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.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8FE9CBC-E8AD-4F0F-A93D-06AB03EE7152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8585E7C-1084-4A09-898C-0E0EE4F4B9EB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DD5A592-C832-476F-B641-C6F7C5712B8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8882565-255C-4DA8-B177-97D94332F9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363894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>
            <a:extLst>
              <a:ext uri="{FF2B5EF4-FFF2-40B4-BE49-F238E27FC236}">
                <a16:creationId xmlns:a16="http://schemas.microsoft.com/office/drawing/2014/main" id="{BBDA4D94-D59B-45F1-A2EC-B91BB688A6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073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6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9" name="Objekt 48" hidden="1">
                        <a:extLst>
                          <a:ext uri="{FF2B5EF4-FFF2-40B4-BE49-F238E27FC236}">
                            <a16:creationId xmlns:a16="http://schemas.microsoft.com/office/drawing/2014/main" id="{BBDA4D94-D59B-45F1-A2EC-B91BB688A6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itel 57">
            <a:extLst>
              <a:ext uri="{FF2B5EF4-FFF2-40B4-BE49-F238E27FC236}">
                <a16:creationId xmlns:a16="http://schemas.microsoft.com/office/drawing/2014/main" id="{884DC60B-98EC-412A-B770-DC5BBE5D9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59" name="Textplatzhalter 58">
            <a:extLst>
              <a:ext uri="{FF2B5EF4-FFF2-40B4-BE49-F238E27FC236}">
                <a16:creationId xmlns:a16="http://schemas.microsoft.com/office/drawing/2014/main" id="{95896FD6-226D-4858-BD9C-8654E9B03F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aptop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138B1FF0-B2D8-4C3F-B460-5E709702E6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noProof="0" dirty="0"/>
              <a:t>Lorem ipsum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477EC090-5014-4B17-85F9-1A709EB249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D3747B8D-BCE6-4577-A7AB-5ED6E2B202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370BAB3E-DA9E-46A1-BFF1-AEF3C08CC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900246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pic>
        <p:nvPicPr>
          <p:cNvPr id="33" name="Bildplatzhalter 3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7507BB8B-BC8B-473A-AC18-C0E82A5E86B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7"/>
          <a:srcRect t="3423" b="3423"/>
          <a:stretch/>
        </p:blipFill>
        <p:spPr/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CD1650F3-C909-4613-BB61-3C7EBE086DD9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A091393B-0AB6-4ADD-8592-53449049985C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3614D0F-AA89-4887-920F-A478BBFBA44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3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78FB919-E2C8-48A5-800F-B1FC4D015A3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890673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E1A9B7CC-763B-4060-A125-1DD0570393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480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8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8" name="Objekt 17" hidden="1">
                        <a:extLst>
                          <a:ext uri="{FF2B5EF4-FFF2-40B4-BE49-F238E27FC236}">
                            <a16:creationId xmlns:a16="http://schemas.microsoft.com/office/drawing/2014/main" id="{E1A9B7CC-763B-4060-A125-1DD0570393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Bildplatzhalter 36">
            <a:extLst>
              <a:ext uri="{FF2B5EF4-FFF2-40B4-BE49-F238E27FC236}">
                <a16:creationId xmlns:a16="http://schemas.microsoft.com/office/drawing/2014/main" id="{B0D383E2-37CB-4786-A868-94B8EBE888E7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7"/>
          <a:srcRect l="37165" r="37165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DC85A164-033A-4BAD-83BE-FC75875D1BB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0E2D667-36BF-4AA4-83CD-49AE3096C3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martpho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02789A-3B74-49BC-BA4B-E4BAEE8FBA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3CAC5AC-B68B-4F8D-847D-60DE9C3E77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E6AF8D1-DB5F-4928-BB63-057DD83F3C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10E0829-7A55-4CC9-AA15-1D381C70FD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5441470-3BBA-4517-9B80-C15A320843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33AB90E-A794-4BF2-86B0-EFCF53EBA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145D4E8-ADEF-45A3-9527-9AFBFAC97A8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CEC9CB6-3CCE-4253-9751-16793BF12A5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D591205A-7D60-4367-97FC-231438C19D8C}"/>
              </a:ext>
            </a:extLst>
          </p:cNvPr>
          <p:cNvSpPr>
            <a:spLocks noGrp="1"/>
          </p:cNvSpPr>
          <p:nvPr>
            <p:ph type="dt" sz="half" idx="23"/>
          </p:nvPr>
        </p:nvSpPr>
        <p:spPr bwMode="gray"/>
        <p:txBody>
          <a:bodyPr/>
          <a:lstStyle/>
          <a:p>
            <a:fld id="{8A116F2A-BF3B-4B53-9ADD-D2A3C3E3BB0A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FD376759-3214-4853-9318-86A1D51D43A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4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91D077B-311A-4E92-B2AA-DF68C57E893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7172546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12C276E-CCB7-4EEB-87B8-D89BCDD2CE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786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6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12C276E-CCB7-4EEB-87B8-D89BCDD2CE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67458100-4699-4E83-92BB-A5CE735EABB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C133F4D-7145-4AD6-9677-158211DA21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Bild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3848C22-E869-4BB7-B852-66A949393E07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A3E4416D-5D44-496C-BCD6-B7E56376389F}" type="datetime1">
              <a:rPr lang="de-DE" smtClean="0">
                <a:solidFill>
                  <a:schemeClr val="bg1"/>
                </a:solidFill>
              </a:rPr>
              <a:pPr/>
              <a:t>09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C1FCF61-4564-4B18-A2C5-280EC228ACB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125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5BFEDB16-3EA9-4E22-8A1E-543B45A20811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7B22481-3E5E-42FD-A32D-8E7C694603E6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480F3A6-5601-44A4-89CE-485D744139A0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AB46F03-FCFC-4E02-982E-6B504A06AA5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78858202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5854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8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Marginalspalt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</a:t>
            </a:r>
            <a:br>
              <a:rPr lang="de-DE" dirty="0"/>
            </a:br>
            <a:r>
              <a:rPr lang="de-DE" dirty="0"/>
              <a:t>a, venenatis vitae, justo</a:t>
            </a:r>
          </a:p>
          <a:p>
            <a:pPr lvl="0"/>
            <a:r>
              <a:rPr lang="de-DE" dirty="0"/>
              <a:t>Integer tincidunt. Cras dapibus. </a:t>
            </a:r>
            <a:br>
              <a:rPr lang="de-DE" dirty="0"/>
            </a:br>
            <a:r>
              <a:rPr lang="de-DE" dirty="0"/>
              <a:t>Vivamus elementum semper nisi</a:t>
            </a:r>
          </a:p>
          <a:p>
            <a:pPr lvl="0"/>
            <a:r>
              <a:rPr lang="de-DE" dirty="0"/>
              <a:t>Cum sociis natoque penatibus </a:t>
            </a:r>
            <a:br>
              <a:rPr lang="de-DE" dirty="0"/>
            </a:br>
            <a:r>
              <a:rPr lang="de-DE" dirty="0"/>
              <a:t>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6</a:t>
            </a:fld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90C07506-CDCE-4FCE-A4A5-F49D5CABE248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1363C7AB-6907-492B-B8F7-A7AB640025D8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A875970-DEBB-440A-8F6D-DD77A7E526F5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26091660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4C4E51E3-109A-477C-B35B-D1D5DF3ADC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781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0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4C4E51E3-109A-477C-B35B-D1D5DF3AD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483C73D-837F-4C6F-8069-C32E03EBCC4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Kernaussag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7CF308D-2533-4BEC-B91B-8EE76F83DE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sz="1800" dirty="0">
                <a:latin typeface="+mj-lt"/>
              </a:rPr>
              <a:t>Cum sociis natoque penatibus et magnis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is parturient montes</a:t>
            </a:r>
          </a:p>
          <a:p>
            <a:pPr lvl="0"/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80D81A-90EA-42C6-AFD2-EAE147DD6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sz="1800" dirty="0">
                <a:latin typeface="+mj-lt"/>
              </a:rPr>
              <a:t>Sed ut perspiciatis unde accusantium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oloremque laudantium</a:t>
            </a:r>
          </a:p>
          <a:p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7BFBED6-1F7F-4513-85CA-50085367CD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noProof="1"/>
              <a:t>Duis aute irure dolor in reprehenderit </a:t>
            </a:r>
            <a:br>
              <a:rPr lang="de-DE" noProof="1"/>
            </a:br>
            <a:r>
              <a:rPr lang="de-DE" noProof="1"/>
              <a:t>in voluptate s</a:t>
            </a:r>
            <a:r>
              <a:rPr lang="de-DE" noProof="0" dirty="0"/>
              <a:t>ed ut perspiciatis unde 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DBEAF76-1EDD-403A-9C1B-9B46B76BF801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EFD6F76D-E03A-405E-9FD3-9E54E741D326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81DF997-F05F-4D36-8DCE-3628F72BA2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7</a:t>
            </a:fld>
            <a:endParaRPr lang="de-DE" dirty="0"/>
          </a:p>
        </p:txBody>
      </p:sp>
      <p:sp>
        <p:nvSpPr>
          <p:cNvPr id="14" name="Shape 2591">
            <a:extLst>
              <a:ext uri="{FF2B5EF4-FFF2-40B4-BE49-F238E27FC236}">
                <a16:creationId xmlns:a16="http://schemas.microsoft.com/office/drawing/2014/main" id="{1C76B331-E3EE-47E7-A0EE-80D51155F0A9}"/>
              </a:ext>
            </a:extLst>
          </p:cNvPr>
          <p:cNvSpPr/>
          <p:nvPr/>
        </p:nvSpPr>
        <p:spPr bwMode="gray">
          <a:xfrm>
            <a:off x="6261904" y="5031906"/>
            <a:ext cx="1193586" cy="1193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753E539B-AFDF-479E-A73C-82CB1146947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154953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000180F-1F49-478A-9291-AA7B54B8DE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5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000180F-1F49-478A-9291-AA7B54B8D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B9163DE-00C6-4B83-9A4C-9516BE19954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m Gegensatz zu synchronem I/O wird bei asynchronem I/O die Kontrolle umgehend an den Aufrufer zurückübergeben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52292B-D095-46AF-A1F3-67E378235E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Durch synchrones Event </a:t>
            </a:r>
            <a:r>
              <a:rPr lang="de-DE" dirty="0" err="1"/>
              <a:t>Demultiplexing</a:t>
            </a:r>
            <a:r>
              <a:rPr lang="de-DE" dirty="0"/>
              <a:t> (</a:t>
            </a:r>
            <a:r>
              <a:rPr lang="de-DE" dirty="0" err="1"/>
              <a:t>demultiplexing</a:t>
            </a:r>
            <a:r>
              <a:rPr lang="de-DE" dirty="0"/>
              <a:t> = Signal in Komponenten aufteilen) wird ermöglicht, dass Aufrufer nicht geblockt is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8FE9CBC-E8AD-4F0F-A93D-06AB03EE7152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8585E7C-1084-4A09-898C-0E0EE4F4B9EB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DD5A592-C832-476F-B641-C6F7C5712B8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8882565-255C-4DA8-B177-97D94332F9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885F3EB-908A-5137-7EFD-F3046DA24DAF}"/>
              </a:ext>
            </a:extLst>
          </p:cNvPr>
          <p:cNvSpPr/>
          <p:nvPr/>
        </p:nvSpPr>
        <p:spPr>
          <a:xfrm>
            <a:off x="630853" y="1409473"/>
            <a:ext cx="11123353" cy="286449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d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ocke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FOR_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Ressourcen zu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hinzufüg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d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ile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FOR_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wh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w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Beobachtet Ressourcen synchron und gibt Events 						// zurück nach Beenden vo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rea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writ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-Operation 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loop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o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process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69422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57FA87-BE62-C130-E269-CCD19ACDA9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Javascript</a:t>
            </a:r>
            <a:r>
              <a:rPr lang="de-DE" dirty="0"/>
              <a:t> ist per Design event-</a:t>
            </a:r>
            <a:r>
              <a:rPr lang="de-DE" dirty="0" err="1"/>
              <a:t>driven</a:t>
            </a:r>
            <a:r>
              <a:rPr lang="de-DE" dirty="0"/>
              <a:t> und daher gut geeignet für das Event </a:t>
            </a:r>
            <a:r>
              <a:rPr lang="de-DE" dirty="0" err="1"/>
              <a:t>Demultiplexing</a:t>
            </a:r>
            <a:r>
              <a:rPr lang="de-DE" dirty="0"/>
              <a:t> bzw. Abarbeiten der Tasks über Event Loop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397F31-92D9-EB0E-4CF6-96CB8826C1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E76CB1B-6A8C-2613-C389-01B64B184B1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E924959-4B29-EF5B-4255-2B9358D5CF6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6338061-B156-F461-D156-9DB495455A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2ECB180-F06C-C50B-2E9A-E4B1648D1A42}"/>
              </a:ext>
            </a:extLst>
          </p:cNvPr>
          <p:cNvSpPr/>
          <p:nvPr/>
        </p:nvSpPr>
        <p:spPr>
          <a:xfrm>
            <a:off x="2013225" y="3197108"/>
            <a:ext cx="8165549" cy="1586204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ncli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hangeCont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textCont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Help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me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sty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Color: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re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93319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1162D50E-683B-CCCA-6695-5B0626BD52B0}"/>
              </a:ext>
            </a:extLst>
          </p:cNvPr>
          <p:cNvGrpSpPr>
            <a:grpSpLocks/>
          </p:cNvGrpSpPr>
          <p:nvPr/>
        </p:nvGrpSpPr>
        <p:grpSpPr bwMode="gray">
          <a:xfrm>
            <a:off x="5589423" y="3893788"/>
            <a:ext cx="1440000" cy="1440000"/>
            <a:chOff x="615809" y="1610662"/>
            <a:chExt cx="2333258" cy="2334309"/>
          </a:xfrm>
          <a:solidFill>
            <a:srgbClr val="E4E4E4"/>
          </a:solidFill>
        </p:grpSpPr>
        <p:sp>
          <p:nvSpPr>
            <p:cNvPr id="62" name="Freeform: Shape 34">
              <a:extLst>
                <a:ext uri="{FF2B5EF4-FFF2-40B4-BE49-F238E27FC236}">
                  <a16:creationId xmlns:a16="http://schemas.microsoft.com/office/drawing/2014/main" id="{F0B0BE42-9CED-F226-4E4B-5C9ADCA66091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809" y="1610665"/>
              <a:ext cx="1337151" cy="2334306"/>
            </a:xfrm>
            <a:custGeom>
              <a:avLst/>
              <a:gdLst>
                <a:gd name="connsiteX0" fmla="*/ 1147197 w 1338888"/>
                <a:gd name="connsiteY0" fmla="*/ 0 h 2340917"/>
                <a:gd name="connsiteX1" fmla="*/ 1338888 w 1338888"/>
                <a:gd name="connsiteY1" fmla="*/ 325041 h 2340917"/>
                <a:gd name="connsiteX2" fmla="*/ 1147197 w 1338888"/>
                <a:gd name="connsiteY2" fmla="*/ 652165 h 2340917"/>
                <a:gd name="connsiteX3" fmla="*/ 1064895 w 1338888"/>
                <a:gd name="connsiteY3" fmla="*/ 662583 h 2340917"/>
                <a:gd name="connsiteX4" fmla="*/ 984677 w 1338888"/>
                <a:gd name="connsiteY4" fmla="*/ 686545 h 2340917"/>
                <a:gd name="connsiteX5" fmla="*/ 911751 w 1338888"/>
                <a:gd name="connsiteY5" fmla="*/ 719882 h 2340917"/>
                <a:gd name="connsiteX6" fmla="*/ 844035 w 1338888"/>
                <a:gd name="connsiteY6" fmla="*/ 766763 h 2340917"/>
                <a:gd name="connsiteX7" fmla="*/ 785694 w 1338888"/>
                <a:gd name="connsiteY7" fmla="*/ 821978 h 2340917"/>
                <a:gd name="connsiteX8" fmla="*/ 735688 w 1338888"/>
                <a:gd name="connsiteY8" fmla="*/ 885528 h 2340917"/>
                <a:gd name="connsiteX9" fmla="*/ 696099 w 1338888"/>
                <a:gd name="connsiteY9" fmla="*/ 955328 h 2340917"/>
                <a:gd name="connsiteX10" fmla="*/ 670054 w 1338888"/>
                <a:gd name="connsiteY10" fmla="*/ 1033463 h 2340917"/>
                <a:gd name="connsiteX11" fmla="*/ 653453 w 1338888"/>
                <a:gd name="connsiteY11" fmla="*/ 1110612 h 2340917"/>
                <a:gd name="connsiteX12" fmla="*/ 650081 w 1338888"/>
                <a:gd name="connsiteY12" fmla="*/ 1167087 h 2340917"/>
                <a:gd name="connsiteX13" fmla="*/ 651533 w 1338888"/>
                <a:gd name="connsiteY13" fmla="*/ 1192486 h 2340917"/>
                <a:gd name="connsiteX14" fmla="*/ 652166 w 1338888"/>
                <a:gd name="connsiteY14" fmla="*/ 1192857 h 2340917"/>
                <a:gd name="connsiteX15" fmla="*/ 664667 w 1338888"/>
                <a:gd name="connsiteY15" fmla="*/ 1278284 h 2340917"/>
                <a:gd name="connsiteX16" fmla="*/ 686545 w 1338888"/>
                <a:gd name="connsiteY16" fmla="*/ 1355377 h 2340917"/>
                <a:gd name="connsiteX17" fmla="*/ 720928 w 1338888"/>
                <a:gd name="connsiteY17" fmla="*/ 1427090 h 2340917"/>
                <a:gd name="connsiteX18" fmla="*/ 723759 w 1338888"/>
                <a:gd name="connsiteY18" fmla="*/ 1432486 h 2340917"/>
                <a:gd name="connsiteX19" fmla="*/ 749587 w 1338888"/>
                <a:gd name="connsiteY19" fmla="*/ 1468881 h 2340917"/>
                <a:gd name="connsiteX20" fmla="*/ 770930 w 1338888"/>
                <a:gd name="connsiteY20" fmla="*/ 1497337 h 2340917"/>
                <a:gd name="connsiteX21" fmla="*/ 819894 w 1338888"/>
                <a:gd name="connsiteY21" fmla="*/ 1548385 h 2340917"/>
                <a:gd name="connsiteX22" fmla="*/ 817495 w 1338888"/>
                <a:gd name="connsiteY22" fmla="*/ 1549437 h 2340917"/>
                <a:gd name="connsiteX23" fmla="*/ 821979 w 1338888"/>
                <a:gd name="connsiteY23" fmla="*/ 1554360 h 2340917"/>
                <a:gd name="connsiteX24" fmla="*/ 887612 w 1338888"/>
                <a:gd name="connsiteY24" fmla="*/ 1605409 h 2340917"/>
                <a:gd name="connsiteX25" fmla="*/ 957412 w 1338888"/>
                <a:gd name="connsiteY25" fmla="*/ 1643955 h 2340917"/>
                <a:gd name="connsiteX26" fmla="*/ 1035547 w 1338888"/>
                <a:gd name="connsiteY26" fmla="*/ 1671042 h 2340917"/>
                <a:gd name="connsiteX27" fmla="*/ 1117849 w 1338888"/>
                <a:gd name="connsiteY27" fmla="*/ 1687710 h 2340917"/>
                <a:gd name="connsiteX28" fmla="*/ 924075 w 1338888"/>
                <a:gd name="connsiteY28" fmla="*/ 2017960 h 2340917"/>
                <a:gd name="connsiteX29" fmla="*/ 1115765 w 1338888"/>
                <a:gd name="connsiteY29" fmla="*/ 2340917 h 2340917"/>
                <a:gd name="connsiteX30" fmla="*/ 984499 w 1338888"/>
                <a:gd name="connsiteY30" fmla="*/ 2328416 h 2340917"/>
                <a:gd name="connsiteX31" fmla="*/ 860525 w 1338888"/>
                <a:gd name="connsiteY31" fmla="*/ 2301329 h 2340917"/>
                <a:gd name="connsiteX32" fmla="*/ 741760 w 1338888"/>
                <a:gd name="connsiteY32" fmla="*/ 2260699 h 2340917"/>
                <a:gd name="connsiteX33" fmla="*/ 628205 w 1338888"/>
                <a:gd name="connsiteY33" fmla="*/ 2209651 h 2340917"/>
                <a:gd name="connsiteX34" fmla="*/ 520899 w 1338888"/>
                <a:gd name="connsiteY34" fmla="*/ 2144018 h 2340917"/>
                <a:gd name="connsiteX35" fmla="*/ 421929 w 1338888"/>
                <a:gd name="connsiteY35" fmla="*/ 2071092 h 2340917"/>
                <a:gd name="connsiteX36" fmla="*/ 332334 w 1338888"/>
                <a:gd name="connsiteY36" fmla="*/ 1986706 h 2340917"/>
                <a:gd name="connsiteX37" fmla="*/ 252116 w 1338888"/>
                <a:gd name="connsiteY37" fmla="*/ 1893986 h 2340917"/>
                <a:gd name="connsiteX38" fmla="*/ 179190 w 1338888"/>
                <a:gd name="connsiteY38" fmla="*/ 1791890 h 2340917"/>
                <a:gd name="connsiteX39" fmla="*/ 118766 w 1338888"/>
                <a:gd name="connsiteY39" fmla="*/ 1685627 h 2340917"/>
                <a:gd name="connsiteX40" fmla="*/ 70843 w 1338888"/>
                <a:gd name="connsiteY40" fmla="*/ 1568946 h 2340917"/>
                <a:gd name="connsiteX41" fmla="*/ 34380 w 1338888"/>
                <a:gd name="connsiteY41" fmla="*/ 1448097 h 2340917"/>
                <a:gd name="connsiteX42" fmla="*/ 25444 w 1338888"/>
                <a:gd name="connsiteY42" fmla="*/ 1403045 h 2340917"/>
                <a:gd name="connsiteX43" fmla="*/ 23961 w 1338888"/>
                <a:gd name="connsiteY43" fmla="*/ 1397325 h 2340917"/>
                <a:gd name="connsiteX44" fmla="*/ 22969 w 1338888"/>
                <a:gd name="connsiteY44" fmla="*/ 1390567 h 2340917"/>
                <a:gd name="connsiteX45" fmla="*/ 9377 w 1338888"/>
                <a:gd name="connsiteY45" fmla="*/ 1322040 h 2340917"/>
                <a:gd name="connsiteX46" fmla="*/ 1 w 1338888"/>
                <a:gd name="connsiteY46" fmla="*/ 1192857 h 2340917"/>
                <a:gd name="connsiteX47" fmla="*/ 1553 w 1338888"/>
                <a:gd name="connsiteY47" fmla="*/ 1191941 h 2340917"/>
                <a:gd name="connsiteX48" fmla="*/ 0 w 1338888"/>
                <a:gd name="connsiteY48" fmla="*/ 1167087 h 2340917"/>
                <a:gd name="connsiteX49" fmla="*/ 3559 w 1338888"/>
                <a:gd name="connsiteY49" fmla="*/ 1111676 h 2340917"/>
                <a:gd name="connsiteX50" fmla="*/ 179 w 1338888"/>
                <a:gd name="connsiteY50" fmla="*/ 1113682 h 2340917"/>
                <a:gd name="connsiteX51" fmla="*/ 12681 w 1338888"/>
                <a:gd name="connsiteY51" fmla="*/ 984499 h 2340917"/>
                <a:gd name="connsiteX52" fmla="*/ 41851 w 1338888"/>
                <a:gd name="connsiteY52" fmla="*/ 858441 h 2340917"/>
                <a:gd name="connsiteX53" fmla="*/ 48494 w 1338888"/>
                <a:gd name="connsiteY53" fmla="*/ 837975 h 2340917"/>
                <a:gd name="connsiteX54" fmla="*/ 51048 w 1338888"/>
                <a:gd name="connsiteY54" fmla="*/ 827462 h 2340917"/>
                <a:gd name="connsiteX55" fmla="*/ 51971 w 1338888"/>
                <a:gd name="connsiteY55" fmla="*/ 827259 h 2340917"/>
                <a:gd name="connsiteX56" fmla="*/ 80397 w 1338888"/>
                <a:gd name="connsiteY56" fmla="*/ 739676 h 2340917"/>
                <a:gd name="connsiteX57" fmla="*/ 133529 w 1338888"/>
                <a:gd name="connsiteY57" fmla="*/ 626120 h 2340917"/>
                <a:gd name="connsiteX58" fmla="*/ 197079 w 1338888"/>
                <a:gd name="connsiteY58" fmla="*/ 518815 h 2340917"/>
                <a:gd name="connsiteX59" fmla="*/ 270004 w 1338888"/>
                <a:gd name="connsiteY59" fmla="*/ 421928 h 2340917"/>
                <a:gd name="connsiteX60" fmla="*/ 354390 w 1338888"/>
                <a:gd name="connsiteY60" fmla="*/ 330250 h 2340917"/>
                <a:gd name="connsiteX61" fmla="*/ 447110 w 1338888"/>
                <a:gd name="connsiteY61" fmla="*/ 250032 h 2340917"/>
                <a:gd name="connsiteX62" fmla="*/ 548164 w 1338888"/>
                <a:gd name="connsiteY62" fmla="*/ 179189 h 2340917"/>
                <a:gd name="connsiteX63" fmla="*/ 655469 w 1338888"/>
                <a:gd name="connsiteY63" fmla="*/ 118765 h 2340917"/>
                <a:gd name="connsiteX64" fmla="*/ 772151 w 1338888"/>
                <a:gd name="connsiteY64" fmla="*/ 67717 h 2340917"/>
                <a:gd name="connsiteX65" fmla="*/ 892999 w 1338888"/>
                <a:gd name="connsiteY65" fmla="*/ 31254 h 2340917"/>
                <a:gd name="connsiteX66" fmla="*/ 1019056 w 1338888"/>
                <a:gd name="connsiteY66" fmla="*/ 9376 h 2340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338888" h="2340917">
                  <a:moveTo>
                    <a:pt x="1147197" y="0"/>
                  </a:moveTo>
                  <a:lnTo>
                    <a:pt x="1338888" y="325041"/>
                  </a:lnTo>
                  <a:lnTo>
                    <a:pt x="1147197" y="652165"/>
                  </a:lnTo>
                  <a:lnTo>
                    <a:pt x="1064895" y="662583"/>
                  </a:lnTo>
                  <a:lnTo>
                    <a:pt x="984677" y="686545"/>
                  </a:lnTo>
                  <a:lnTo>
                    <a:pt x="911751" y="719882"/>
                  </a:lnTo>
                  <a:lnTo>
                    <a:pt x="844035" y="766763"/>
                  </a:lnTo>
                  <a:lnTo>
                    <a:pt x="785694" y="821978"/>
                  </a:lnTo>
                  <a:lnTo>
                    <a:pt x="735688" y="885528"/>
                  </a:lnTo>
                  <a:lnTo>
                    <a:pt x="696099" y="955328"/>
                  </a:lnTo>
                  <a:lnTo>
                    <a:pt x="670054" y="1033463"/>
                  </a:lnTo>
                  <a:lnTo>
                    <a:pt x="653453" y="1110612"/>
                  </a:lnTo>
                  <a:lnTo>
                    <a:pt x="650081" y="1167087"/>
                  </a:lnTo>
                  <a:lnTo>
                    <a:pt x="651533" y="1192486"/>
                  </a:lnTo>
                  <a:lnTo>
                    <a:pt x="652166" y="1192857"/>
                  </a:lnTo>
                  <a:lnTo>
                    <a:pt x="664667" y="1278284"/>
                  </a:lnTo>
                  <a:lnTo>
                    <a:pt x="686545" y="1355377"/>
                  </a:lnTo>
                  <a:lnTo>
                    <a:pt x="720928" y="1427090"/>
                  </a:lnTo>
                  <a:lnTo>
                    <a:pt x="723759" y="1432486"/>
                  </a:lnTo>
                  <a:lnTo>
                    <a:pt x="749587" y="1468881"/>
                  </a:lnTo>
                  <a:lnTo>
                    <a:pt x="770930" y="1497337"/>
                  </a:lnTo>
                  <a:lnTo>
                    <a:pt x="819894" y="1548385"/>
                  </a:lnTo>
                  <a:lnTo>
                    <a:pt x="817495" y="1549437"/>
                  </a:lnTo>
                  <a:lnTo>
                    <a:pt x="821979" y="1554360"/>
                  </a:lnTo>
                  <a:lnTo>
                    <a:pt x="887612" y="1605409"/>
                  </a:lnTo>
                  <a:lnTo>
                    <a:pt x="957412" y="1643955"/>
                  </a:lnTo>
                  <a:lnTo>
                    <a:pt x="1035547" y="1671042"/>
                  </a:lnTo>
                  <a:lnTo>
                    <a:pt x="1117849" y="1687710"/>
                  </a:lnTo>
                  <a:lnTo>
                    <a:pt x="924075" y="2017960"/>
                  </a:lnTo>
                  <a:lnTo>
                    <a:pt x="1115765" y="2340917"/>
                  </a:lnTo>
                  <a:lnTo>
                    <a:pt x="984499" y="2328416"/>
                  </a:lnTo>
                  <a:lnTo>
                    <a:pt x="860525" y="2301329"/>
                  </a:lnTo>
                  <a:lnTo>
                    <a:pt x="741760" y="2260699"/>
                  </a:lnTo>
                  <a:lnTo>
                    <a:pt x="628205" y="2209651"/>
                  </a:lnTo>
                  <a:lnTo>
                    <a:pt x="520899" y="2144018"/>
                  </a:lnTo>
                  <a:lnTo>
                    <a:pt x="421929" y="2071092"/>
                  </a:lnTo>
                  <a:lnTo>
                    <a:pt x="332334" y="1986706"/>
                  </a:lnTo>
                  <a:lnTo>
                    <a:pt x="252116" y="1893986"/>
                  </a:lnTo>
                  <a:lnTo>
                    <a:pt x="179190" y="1791890"/>
                  </a:lnTo>
                  <a:lnTo>
                    <a:pt x="118766" y="1685627"/>
                  </a:lnTo>
                  <a:lnTo>
                    <a:pt x="70843" y="1568946"/>
                  </a:lnTo>
                  <a:lnTo>
                    <a:pt x="34380" y="1448097"/>
                  </a:lnTo>
                  <a:lnTo>
                    <a:pt x="25444" y="1403045"/>
                  </a:lnTo>
                  <a:lnTo>
                    <a:pt x="23961" y="1397325"/>
                  </a:lnTo>
                  <a:lnTo>
                    <a:pt x="22969" y="1390567"/>
                  </a:lnTo>
                  <a:lnTo>
                    <a:pt x="9377" y="1322040"/>
                  </a:lnTo>
                  <a:lnTo>
                    <a:pt x="1" y="1192857"/>
                  </a:lnTo>
                  <a:lnTo>
                    <a:pt x="1553" y="1191941"/>
                  </a:lnTo>
                  <a:lnTo>
                    <a:pt x="0" y="1167087"/>
                  </a:lnTo>
                  <a:lnTo>
                    <a:pt x="3559" y="1111676"/>
                  </a:lnTo>
                  <a:lnTo>
                    <a:pt x="179" y="1113682"/>
                  </a:lnTo>
                  <a:lnTo>
                    <a:pt x="12681" y="984499"/>
                  </a:lnTo>
                  <a:lnTo>
                    <a:pt x="41851" y="858441"/>
                  </a:lnTo>
                  <a:lnTo>
                    <a:pt x="48494" y="837975"/>
                  </a:lnTo>
                  <a:lnTo>
                    <a:pt x="51048" y="827462"/>
                  </a:lnTo>
                  <a:lnTo>
                    <a:pt x="51971" y="827259"/>
                  </a:lnTo>
                  <a:lnTo>
                    <a:pt x="80397" y="739676"/>
                  </a:lnTo>
                  <a:lnTo>
                    <a:pt x="133529" y="626120"/>
                  </a:lnTo>
                  <a:lnTo>
                    <a:pt x="197079" y="518815"/>
                  </a:lnTo>
                  <a:lnTo>
                    <a:pt x="270004" y="421928"/>
                  </a:lnTo>
                  <a:lnTo>
                    <a:pt x="354390" y="330250"/>
                  </a:lnTo>
                  <a:lnTo>
                    <a:pt x="447110" y="250032"/>
                  </a:lnTo>
                  <a:lnTo>
                    <a:pt x="548164" y="179189"/>
                  </a:lnTo>
                  <a:lnTo>
                    <a:pt x="655469" y="118765"/>
                  </a:lnTo>
                  <a:lnTo>
                    <a:pt x="772151" y="67717"/>
                  </a:lnTo>
                  <a:lnTo>
                    <a:pt x="892999" y="31254"/>
                  </a:lnTo>
                  <a:lnTo>
                    <a:pt x="1019056" y="9376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3" name="Freeform: Shape 35">
              <a:extLst>
                <a:ext uri="{FF2B5EF4-FFF2-40B4-BE49-F238E27FC236}">
                  <a16:creationId xmlns:a16="http://schemas.microsoft.com/office/drawing/2014/main" id="{7675A8C3-AAF4-DB40-E8EC-0DACA4C3C4D0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1611915" y="1610662"/>
              <a:ext cx="1337152" cy="2334306"/>
            </a:xfrm>
            <a:custGeom>
              <a:avLst/>
              <a:gdLst>
                <a:gd name="connsiteX0" fmla="*/ 1147197 w 1338888"/>
                <a:gd name="connsiteY0" fmla="*/ 0 h 2340917"/>
                <a:gd name="connsiteX1" fmla="*/ 1338888 w 1338888"/>
                <a:gd name="connsiteY1" fmla="*/ 325041 h 2340917"/>
                <a:gd name="connsiteX2" fmla="*/ 1147197 w 1338888"/>
                <a:gd name="connsiteY2" fmla="*/ 652165 h 2340917"/>
                <a:gd name="connsiteX3" fmla="*/ 1064895 w 1338888"/>
                <a:gd name="connsiteY3" fmla="*/ 662583 h 2340917"/>
                <a:gd name="connsiteX4" fmla="*/ 984677 w 1338888"/>
                <a:gd name="connsiteY4" fmla="*/ 686545 h 2340917"/>
                <a:gd name="connsiteX5" fmla="*/ 911751 w 1338888"/>
                <a:gd name="connsiteY5" fmla="*/ 719882 h 2340917"/>
                <a:gd name="connsiteX6" fmla="*/ 844035 w 1338888"/>
                <a:gd name="connsiteY6" fmla="*/ 766763 h 2340917"/>
                <a:gd name="connsiteX7" fmla="*/ 785694 w 1338888"/>
                <a:gd name="connsiteY7" fmla="*/ 821978 h 2340917"/>
                <a:gd name="connsiteX8" fmla="*/ 735688 w 1338888"/>
                <a:gd name="connsiteY8" fmla="*/ 885528 h 2340917"/>
                <a:gd name="connsiteX9" fmla="*/ 696099 w 1338888"/>
                <a:gd name="connsiteY9" fmla="*/ 955328 h 2340917"/>
                <a:gd name="connsiteX10" fmla="*/ 670054 w 1338888"/>
                <a:gd name="connsiteY10" fmla="*/ 1033463 h 2340917"/>
                <a:gd name="connsiteX11" fmla="*/ 653453 w 1338888"/>
                <a:gd name="connsiteY11" fmla="*/ 1110612 h 2340917"/>
                <a:gd name="connsiteX12" fmla="*/ 650081 w 1338888"/>
                <a:gd name="connsiteY12" fmla="*/ 1167087 h 2340917"/>
                <a:gd name="connsiteX13" fmla="*/ 651533 w 1338888"/>
                <a:gd name="connsiteY13" fmla="*/ 1192486 h 2340917"/>
                <a:gd name="connsiteX14" fmla="*/ 652166 w 1338888"/>
                <a:gd name="connsiteY14" fmla="*/ 1192857 h 2340917"/>
                <a:gd name="connsiteX15" fmla="*/ 664667 w 1338888"/>
                <a:gd name="connsiteY15" fmla="*/ 1278284 h 2340917"/>
                <a:gd name="connsiteX16" fmla="*/ 686545 w 1338888"/>
                <a:gd name="connsiteY16" fmla="*/ 1355377 h 2340917"/>
                <a:gd name="connsiteX17" fmla="*/ 720928 w 1338888"/>
                <a:gd name="connsiteY17" fmla="*/ 1427090 h 2340917"/>
                <a:gd name="connsiteX18" fmla="*/ 723759 w 1338888"/>
                <a:gd name="connsiteY18" fmla="*/ 1432486 h 2340917"/>
                <a:gd name="connsiteX19" fmla="*/ 749587 w 1338888"/>
                <a:gd name="connsiteY19" fmla="*/ 1468881 h 2340917"/>
                <a:gd name="connsiteX20" fmla="*/ 770930 w 1338888"/>
                <a:gd name="connsiteY20" fmla="*/ 1497337 h 2340917"/>
                <a:gd name="connsiteX21" fmla="*/ 819894 w 1338888"/>
                <a:gd name="connsiteY21" fmla="*/ 1548385 h 2340917"/>
                <a:gd name="connsiteX22" fmla="*/ 817495 w 1338888"/>
                <a:gd name="connsiteY22" fmla="*/ 1549437 h 2340917"/>
                <a:gd name="connsiteX23" fmla="*/ 821979 w 1338888"/>
                <a:gd name="connsiteY23" fmla="*/ 1554360 h 2340917"/>
                <a:gd name="connsiteX24" fmla="*/ 887612 w 1338888"/>
                <a:gd name="connsiteY24" fmla="*/ 1605409 h 2340917"/>
                <a:gd name="connsiteX25" fmla="*/ 957412 w 1338888"/>
                <a:gd name="connsiteY25" fmla="*/ 1643955 h 2340917"/>
                <a:gd name="connsiteX26" fmla="*/ 1035547 w 1338888"/>
                <a:gd name="connsiteY26" fmla="*/ 1671042 h 2340917"/>
                <a:gd name="connsiteX27" fmla="*/ 1117849 w 1338888"/>
                <a:gd name="connsiteY27" fmla="*/ 1687710 h 2340917"/>
                <a:gd name="connsiteX28" fmla="*/ 924075 w 1338888"/>
                <a:gd name="connsiteY28" fmla="*/ 2017960 h 2340917"/>
                <a:gd name="connsiteX29" fmla="*/ 1115765 w 1338888"/>
                <a:gd name="connsiteY29" fmla="*/ 2340917 h 2340917"/>
                <a:gd name="connsiteX30" fmla="*/ 984499 w 1338888"/>
                <a:gd name="connsiteY30" fmla="*/ 2328416 h 2340917"/>
                <a:gd name="connsiteX31" fmla="*/ 860525 w 1338888"/>
                <a:gd name="connsiteY31" fmla="*/ 2301329 h 2340917"/>
                <a:gd name="connsiteX32" fmla="*/ 741760 w 1338888"/>
                <a:gd name="connsiteY32" fmla="*/ 2260699 h 2340917"/>
                <a:gd name="connsiteX33" fmla="*/ 628205 w 1338888"/>
                <a:gd name="connsiteY33" fmla="*/ 2209651 h 2340917"/>
                <a:gd name="connsiteX34" fmla="*/ 520899 w 1338888"/>
                <a:gd name="connsiteY34" fmla="*/ 2144018 h 2340917"/>
                <a:gd name="connsiteX35" fmla="*/ 421929 w 1338888"/>
                <a:gd name="connsiteY35" fmla="*/ 2071092 h 2340917"/>
                <a:gd name="connsiteX36" fmla="*/ 332334 w 1338888"/>
                <a:gd name="connsiteY36" fmla="*/ 1986706 h 2340917"/>
                <a:gd name="connsiteX37" fmla="*/ 252116 w 1338888"/>
                <a:gd name="connsiteY37" fmla="*/ 1893986 h 2340917"/>
                <a:gd name="connsiteX38" fmla="*/ 179190 w 1338888"/>
                <a:gd name="connsiteY38" fmla="*/ 1791890 h 2340917"/>
                <a:gd name="connsiteX39" fmla="*/ 118766 w 1338888"/>
                <a:gd name="connsiteY39" fmla="*/ 1685627 h 2340917"/>
                <a:gd name="connsiteX40" fmla="*/ 70843 w 1338888"/>
                <a:gd name="connsiteY40" fmla="*/ 1568946 h 2340917"/>
                <a:gd name="connsiteX41" fmla="*/ 34380 w 1338888"/>
                <a:gd name="connsiteY41" fmla="*/ 1448097 h 2340917"/>
                <a:gd name="connsiteX42" fmla="*/ 25444 w 1338888"/>
                <a:gd name="connsiteY42" fmla="*/ 1403045 h 2340917"/>
                <a:gd name="connsiteX43" fmla="*/ 23961 w 1338888"/>
                <a:gd name="connsiteY43" fmla="*/ 1397325 h 2340917"/>
                <a:gd name="connsiteX44" fmla="*/ 22969 w 1338888"/>
                <a:gd name="connsiteY44" fmla="*/ 1390567 h 2340917"/>
                <a:gd name="connsiteX45" fmla="*/ 9377 w 1338888"/>
                <a:gd name="connsiteY45" fmla="*/ 1322040 h 2340917"/>
                <a:gd name="connsiteX46" fmla="*/ 1 w 1338888"/>
                <a:gd name="connsiteY46" fmla="*/ 1192857 h 2340917"/>
                <a:gd name="connsiteX47" fmla="*/ 1553 w 1338888"/>
                <a:gd name="connsiteY47" fmla="*/ 1191941 h 2340917"/>
                <a:gd name="connsiteX48" fmla="*/ 0 w 1338888"/>
                <a:gd name="connsiteY48" fmla="*/ 1167087 h 2340917"/>
                <a:gd name="connsiteX49" fmla="*/ 3559 w 1338888"/>
                <a:gd name="connsiteY49" fmla="*/ 1111676 h 2340917"/>
                <a:gd name="connsiteX50" fmla="*/ 179 w 1338888"/>
                <a:gd name="connsiteY50" fmla="*/ 1113682 h 2340917"/>
                <a:gd name="connsiteX51" fmla="*/ 12681 w 1338888"/>
                <a:gd name="connsiteY51" fmla="*/ 984499 h 2340917"/>
                <a:gd name="connsiteX52" fmla="*/ 41851 w 1338888"/>
                <a:gd name="connsiteY52" fmla="*/ 858441 h 2340917"/>
                <a:gd name="connsiteX53" fmla="*/ 48494 w 1338888"/>
                <a:gd name="connsiteY53" fmla="*/ 837975 h 2340917"/>
                <a:gd name="connsiteX54" fmla="*/ 51048 w 1338888"/>
                <a:gd name="connsiteY54" fmla="*/ 827462 h 2340917"/>
                <a:gd name="connsiteX55" fmla="*/ 51971 w 1338888"/>
                <a:gd name="connsiteY55" fmla="*/ 827259 h 2340917"/>
                <a:gd name="connsiteX56" fmla="*/ 80397 w 1338888"/>
                <a:gd name="connsiteY56" fmla="*/ 739676 h 2340917"/>
                <a:gd name="connsiteX57" fmla="*/ 133529 w 1338888"/>
                <a:gd name="connsiteY57" fmla="*/ 626120 h 2340917"/>
                <a:gd name="connsiteX58" fmla="*/ 197079 w 1338888"/>
                <a:gd name="connsiteY58" fmla="*/ 518815 h 2340917"/>
                <a:gd name="connsiteX59" fmla="*/ 270004 w 1338888"/>
                <a:gd name="connsiteY59" fmla="*/ 421928 h 2340917"/>
                <a:gd name="connsiteX60" fmla="*/ 354390 w 1338888"/>
                <a:gd name="connsiteY60" fmla="*/ 330250 h 2340917"/>
                <a:gd name="connsiteX61" fmla="*/ 447110 w 1338888"/>
                <a:gd name="connsiteY61" fmla="*/ 250032 h 2340917"/>
                <a:gd name="connsiteX62" fmla="*/ 548164 w 1338888"/>
                <a:gd name="connsiteY62" fmla="*/ 179189 h 2340917"/>
                <a:gd name="connsiteX63" fmla="*/ 655469 w 1338888"/>
                <a:gd name="connsiteY63" fmla="*/ 118765 h 2340917"/>
                <a:gd name="connsiteX64" fmla="*/ 772151 w 1338888"/>
                <a:gd name="connsiteY64" fmla="*/ 67717 h 2340917"/>
                <a:gd name="connsiteX65" fmla="*/ 892999 w 1338888"/>
                <a:gd name="connsiteY65" fmla="*/ 31254 h 2340917"/>
                <a:gd name="connsiteX66" fmla="*/ 1019056 w 1338888"/>
                <a:gd name="connsiteY66" fmla="*/ 9376 h 2340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338888" h="2340917">
                  <a:moveTo>
                    <a:pt x="1147197" y="0"/>
                  </a:moveTo>
                  <a:lnTo>
                    <a:pt x="1338888" y="325041"/>
                  </a:lnTo>
                  <a:lnTo>
                    <a:pt x="1147197" y="652165"/>
                  </a:lnTo>
                  <a:lnTo>
                    <a:pt x="1064895" y="662583"/>
                  </a:lnTo>
                  <a:lnTo>
                    <a:pt x="984677" y="686545"/>
                  </a:lnTo>
                  <a:lnTo>
                    <a:pt x="911751" y="719882"/>
                  </a:lnTo>
                  <a:lnTo>
                    <a:pt x="844035" y="766763"/>
                  </a:lnTo>
                  <a:lnTo>
                    <a:pt x="785694" y="821978"/>
                  </a:lnTo>
                  <a:lnTo>
                    <a:pt x="735688" y="885528"/>
                  </a:lnTo>
                  <a:lnTo>
                    <a:pt x="696099" y="955328"/>
                  </a:lnTo>
                  <a:lnTo>
                    <a:pt x="670054" y="1033463"/>
                  </a:lnTo>
                  <a:lnTo>
                    <a:pt x="653453" y="1110612"/>
                  </a:lnTo>
                  <a:lnTo>
                    <a:pt x="650081" y="1167087"/>
                  </a:lnTo>
                  <a:lnTo>
                    <a:pt x="651533" y="1192486"/>
                  </a:lnTo>
                  <a:lnTo>
                    <a:pt x="652166" y="1192857"/>
                  </a:lnTo>
                  <a:lnTo>
                    <a:pt x="664667" y="1278284"/>
                  </a:lnTo>
                  <a:lnTo>
                    <a:pt x="686545" y="1355377"/>
                  </a:lnTo>
                  <a:lnTo>
                    <a:pt x="720928" y="1427090"/>
                  </a:lnTo>
                  <a:lnTo>
                    <a:pt x="723759" y="1432486"/>
                  </a:lnTo>
                  <a:lnTo>
                    <a:pt x="749587" y="1468881"/>
                  </a:lnTo>
                  <a:lnTo>
                    <a:pt x="770930" y="1497337"/>
                  </a:lnTo>
                  <a:lnTo>
                    <a:pt x="819894" y="1548385"/>
                  </a:lnTo>
                  <a:lnTo>
                    <a:pt x="817495" y="1549437"/>
                  </a:lnTo>
                  <a:lnTo>
                    <a:pt x="821979" y="1554360"/>
                  </a:lnTo>
                  <a:lnTo>
                    <a:pt x="887612" y="1605409"/>
                  </a:lnTo>
                  <a:lnTo>
                    <a:pt x="957412" y="1643955"/>
                  </a:lnTo>
                  <a:lnTo>
                    <a:pt x="1035547" y="1671042"/>
                  </a:lnTo>
                  <a:lnTo>
                    <a:pt x="1117849" y="1687710"/>
                  </a:lnTo>
                  <a:lnTo>
                    <a:pt x="924075" y="2017960"/>
                  </a:lnTo>
                  <a:lnTo>
                    <a:pt x="1115765" y="2340917"/>
                  </a:lnTo>
                  <a:lnTo>
                    <a:pt x="984499" y="2328416"/>
                  </a:lnTo>
                  <a:lnTo>
                    <a:pt x="860525" y="2301329"/>
                  </a:lnTo>
                  <a:lnTo>
                    <a:pt x="741760" y="2260699"/>
                  </a:lnTo>
                  <a:lnTo>
                    <a:pt x="628205" y="2209651"/>
                  </a:lnTo>
                  <a:lnTo>
                    <a:pt x="520899" y="2144018"/>
                  </a:lnTo>
                  <a:lnTo>
                    <a:pt x="421929" y="2071092"/>
                  </a:lnTo>
                  <a:lnTo>
                    <a:pt x="332334" y="1986706"/>
                  </a:lnTo>
                  <a:lnTo>
                    <a:pt x="252116" y="1893986"/>
                  </a:lnTo>
                  <a:lnTo>
                    <a:pt x="179190" y="1791890"/>
                  </a:lnTo>
                  <a:lnTo>
                    <a:pt x="118766" y="1685627"/>
                  </a:lnTo>
                  <a:lnTo>
                    <a:pt x="70843" y="1568946"/>
                  </a:lnTo>
                  <a:lnTo>
                    <a:pt x="34380" y="1448097"/>
                  </a:lnTo>
                  <a:lnTo>
                    <a:pt x="25444" y="1403045"/>
                  </a:lnTo>
                  <a:lnTo>
                    <a:pt x="23961" y="1397325"/>
                  </a:lnTo>
                  <a:lnTo>
                    <a:pt x="22969" y="1390567"/>
                  </a:lnTo>
                  <a:lnTo>
                    <a:pt x="9377" y="1322040"/>
                  </a:lnTo>
                  <a:lnTo>
                    <a:pt x="1" y="1192857"/>
                  </a:lnTo>
                  <a:lnTo>
                    <a:pt x="1553" y="1191941"/>
                  </a:lnTo>
                  <a:lnTo>
                    <a:pt x="0" y="1167087"/>
                  </a:lnTo>
                  <a:lnTo>
                    <a:pt x="3559" y="1111676"/>
                  </a:lnTo>
                  <a:lnTo>
                    <a:pt x="179" y="1113682"/>
                  </a:lnTo>
                  <a:lnTo>
                    <a:pt x="12681" y="984499"/>
                  </a:lnTo>
                  <a:lnTo>
                    <a:pt x="41851" y="858441"/>
                  </a:lnTo>
                  <a:lnTo>
                    <a:pt x="48494" y="837975"/>
                  </a:lnTo>
                  <a:lnTo>
                    <a:pt x="51048" y="827462"/>
                  </a:lnTo>
                  <a:lnTo>
                    <a:pt x="51971" y="827259"/>
                  </a:lnTo>
                  <a:lnTo>
                    <a:pt x="80397" y="739676"/>
                  </a:lnTo>
                  <a:lnTo>
                    <a:pt x="133529" y="626120"/>
                  </a:lnTo>
                  <a:lnTo>
                    <a:pt x="197079" y="518815"/>
                  </a:lnTo>
                  <a:lnTo>
                    <a:pt x="270004" y="421928"/>
                  </a:lnTo>
                  <a:lnTo>
                    <a:pt x="354390" y="330250"/>
                  </a:lnTo>
                  <a:lnTo>
                    <a:pt x="447110" y="250032"/>
                  </a:lnTo>
                  <a:lnTo>
                    <a:pt x="548164" y="179189"/>
                  </a:lnTo>
                  <a:lnTo>
                    <a:pt x="655469" y="118765"/>
                  </a:lnTo>
                  <a:lnTo>
                    <a:pt x="772151" y="67717"/>
                  </a:lnTo>
                  <a:lnTo>
                    <a:pt x="892999" y="31254"/>
                  </a:lnTo>
                  <a:lnTo>
                    <a:pt x="1019056" y="937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E2B3113A-BA92-3BAB-6C90-574C06EA7DD8}"/>
              </a:ext>
            </a:extLst>
          </p:cNvPr>
          <p:cNvSpPr/>
          <p:nvPr/>
        </p:nvSpPr>
        <p:spPr>
          <a:xfrm>
            <a:off x="623888" y="4559500"/>
            <a:ext cx="3784448" cy="130903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</a:t>
            </a:r>
            <a:r>
              <a:rPr lang="de-DE" sz="1400" dirty="0" err="1">
                <a:solidFill>
                  <a:schemeClr val="tx1"/>
                </a:solidFill>
              </a:rPr>
              <a:t>Demultiplexer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1" name="Abgerundetes Rechteck 50">
            <a:extLst>
              <a:ext uri="{FF2B5EF4-FFF2-40B4-BE49-F238E27FC236}">
                <a16:creationId xmlns:a16="http://schemas.microsoft.com/office/drawing/2014/main" id="{D60F318C-D8FB-91D4-86D5-7332D53E9BB4}"/>
              </a:ext>
            </a:extLst>
          </p:cNvPr>
          <p:cNvSpPr/>
          <p:nvPr/>
        </p:nvSpPr>
        <p:spPr>
          <a:xfrm>
            <a:off x="860263" y="4947243"/>
            <a:ext cx="3376509" cy="40864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Node.js</a:t>
            </a:r>
            <a:r>
              <a:rPr lang="de-DE" dirty="0"/>
              <a:t> nutzt das </a:t>
            </a:r>
            <a:r>
              <a:rPr lang="de-DE" dirty="0" err="1"/>
              <a:t>Reactor</a:t>
            </a:r>
            <a:r>
              <a:rPr lang="de-DE" dirty="0"/>
              <a:t> Pattern, um asynchrone, rechenintensive Operationen unter der Haube zu koordinieren und abzu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DE77698-8A44-F957-E4A4-23B1AC19693D}"/>
              </a:ext>
            </a:extLst>
          </p:cNvPr>
          <p:cNvSpPr txBox="1"/>
          <p:nvPr/>
        </p:nvSpPr>
        <p:spPr>
          <a:xfrm>
            <a:off x="2295353" y="2157305"/>
            <a:ext cx="198671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1. neue IO </a:t>
            </a:r>
            <a:r>
              <a:rPr lang="de-DE" sz="1200" dirty="0" err="1"/>
              <a:t>operation</a:t>
            </a:r>
            <a:r>
              <a:rPr lang="de-DE" sz="1200" dirty="0"/>
              <a:t> für </a:t>
            </a:r>
            <a:r>
              <a:rPr lang="de-DE" sz="1200" dirty="0" err="1"/>
              <a:t>event</a:t>
            </a:r>
            <a:r>
              <a:rPr lang="de-DE" sz="1200" dirty="0"/>
              <a:t> </a:t>
            </a:r>
            <a:r>
              <a:rPr lang="de-DE" sz="1200" dirty="0" err="1"/>
              <a:t>demultiplexer</a:t>
            </a:r>
            <a:r>
              <a:rPr lang="de-DE" sz="1200" dirty="0"/>
              <a:t> anfordern</a:t>
            </a: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8812DFBD-4F82-374A-6444-FCC296D5DDBA}"/>
              </a:ext>
            </a:extLst>
          </p:cNvPr>
          <p:cNvSpPr/>
          <p:nvPr/>
        </p:nvSpPr>
        <p:spPr>
          <a:xfrm>
            <a:off x="2047454" y="5013125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0" name="Abgerundetes Rechteck 19">
            <a:extLst>
              <a:ext uri="{FF2B5EF4-FFF2-40B4-BE49-F238E27FC236}">
                <a16:creationId xmlns:a16="http://schemas.microsoft.com/office/drawing/2014/main" id="{7B29D141-55C1-9234-4060-00FE73D98F8D}"/>
              </a:ext>
            </a:extLst>
          </p:cNvPr>
          <p:cNvSpPr/>
          <p:nvPr/>
        </p:nvSpPr>
        <p:spPr>
          <a:xfrm>
            <a:off x="3132074" y="5013125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27" name="Abgerundetes Rechteck 26">
            <a:extLst>
              <a:ext uri="{FF2B5EF4-FFF2-40B4-BE49-F238E27FC236}">
                <a16:creationId xmlns:a16="http://schemas.microsoft.com/office/drawing/2014/main" id="{E03C9A31-5CE9-4784-6D15-5F7C5C46827C}"/>
              </a:ext>
            </a:extLst>
          </p:cNvPr>
          <p:cNvSpPr/>
          <p:nvPr/>
        </p:nvSpPr>
        <p:spPr>
          <a:xfrm>
            <a:off x="4282072" y="1795675"/>
            <a:ext cx="3784448" cy="114766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Applicatio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8" name="Abgerundetes Rechteck 27">
            <a:extLst>
              <a:ext uri="{FF2B5EF4-FFF2-40B4-BE49-F238E27FC236}">
                <a16:creationId xmlns:a16="http://schemas.microsoft.com/office/drawing/2014/main" id="{665CCDBD-E8FF-C8FD-1488-41D7A0FD20C6}"/>
              </a:ext>
            </a:extLst>
          </p:cNvPr>
          <p:cNvSpPr/>
          <p:nvPr/>
        </p:nvSpPr>
        <p:spPr>
          <a:xfrm>
            <a:off x="4502829" y="2444850"/>
            <a:ext cx="142057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Request I/O</a:t>
            </a:r>
          </a:p>
        </p:txBody>
      </p:sp>
      <p:cxnSp>
        <p:nvCxnSpPr>
          <p:cNvPr id="35" name="Gewinkelte Verbindung 34">
            <a:extLst>
              <a:ext uri="{FF2B5EF4-FFF2-40B4-BE49-F238E27FC236}">
                <a16:creationId xmlns:a16="http://schemas.microsoft.com/office/drawing/2014/main" id="{266BF52E-6725-AC94-2810-FA3B3FCEA5BD}"/>
              </a:ext>
            </a:extLst>
          </p:cNvPr>
          <p:cNvCxnSpPr>
            <a:cxnSpLocks/>
          </p:cNvCxnSpPr>
          <p:nvPr/>
        </p:nvCxnSpPr>
        <p:spPr>
          <a:xfrm rot="10800000" flipV="1">
            <a:off x="2516113" y="2595924"/>
            <a:ext cx="1986717" cy="1963575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5BC771CC-6226-8733-766C-624C7B44B0A4}"/>
              </a:ext>
            </a:extLst>
          </p:cNvPr>
          <p:cNvCxnSpPr>
            <a:cxnSpLocks/>
          </p:cNvCxnSpPr>
          <p:nvPr/>
        </p:nvCxnSpPr>
        <p:spPr>
          <a:xfrm flipV="1">
            <a:off x="4408336" y="2747000"/>
            <a:ext cx="804778" cy="2467016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AF1B482C-FCCD-EE76-E8E3-F506D8694DCA}"/>
              </a:ext>
            </a:extLst>
          </p:cNvPr>
          <p:cNvSpPr txBox="1"/>
          <p:nvPr/>
        </p:nvSpPr>
        <p:spPr>
          <a:xfrm>
            <a:off x="4154911" y="3381961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2. Kontrolle an Applikation zurückgeben</a:t>
            </a:r>
          </a:p>
        </p:txBody>
      </p:sp>
      <p:sp>
        <p:nvSpPr>
          <p:cNvPr id="48" name="Abgerundetes Rechteck 47">
            <a:extLst>
              <a:ext uri="{FF2B5EF4-FFF2-40B4-BE49-F238E27FC236}">
                <a16:creationId xmlns:a16="http://schemas.microsoft.com/office/drawing/2014/main" id="{C8F9C612-395F-C4BA-2B79-DD02177E3DAC}"/>
              </a:ext>
            </a:extLst>
          </p:cNvPr>
          <p:cNvSpPr/>
          <p:nvPr/>
        </p:nvSpPr>
        <p:spPr>
          <a:xfrm>
            <a:off x="8530734" y="3607110"/>
            <a:ext cx="2698432" cy="203382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Queue</a:t>
            </a:r>
          </a:p>
        </p:txBody>
      </p:sp>
      <p:sp>
        <p:nvSpPr>
          <p:cNvPr id="49" name="Abgerundetes Rechteck 48">
            <a:extLst>
              <a:ext uri="{FF2B5EF4-FFF2-40B4-BE49-F238E27FC236}">
                <a16:creationId xmlns:a16="http://schemas.microsoft.com/office/drawing/2014/main" id="{F0D114AE-7B2E-EED7-01AF-888950418899}"/>
              </a:ext>
            </a:extLst>
          </p:cNvPr>
          <p:cNvSpPr/>
          <p:nvPr/>
        </p:nvSpPr>
        <p:spPr>
          <a:xfrm>
            <a:off x="8869680" y="4041071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0" name="Abgerundetes Rechteck 49">
            <a:extLst>
              <a:ext uri="{FF2B5EF4-FFF2-40B4-BE49-F238E27FC236}">
                <a16:creationId xmlns:a16="http://schemas.microsoft.com/office/drawing/2014/main" id="{81FF7721-6918-8B07-B5AA-2A29C312F31B}"/>
              </a:ext>
            </a:extLst>
          </p:cNvPr>
          <p:cNvSpPr/>
          <p:nvPr/>
        </p:nvSpPr>
        <p:spPr>
          <a:xfrm>
            <a:off x="9954300" y="4041071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2" name="Abgerundetes Rechteck 51">
            <a:extLst>
              <a:ext uri="{FF2B5EF4-FFF2-40B4-BE49-F238E27FC236}">
                <a16:creationId xmlns:a16="http://schemas.microsoft.com/office/drawing/2014/main" id="{3D91BAC8-ED99-E0B9-59C2-BCACC355E98B}"/>
              </a:ext>
            </a:extLst>
          </p:cNvPr>
          <p:cNvSpPr/>
          <p:nvPr/>
        </p:nvSpPr>
        <p:spPr>
          <a:xfrm>
            <a:off x="8869680" y="4404776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3" name="Abgerundetes Rechteck 52">
            <a:extLst>
              <a:ext uri="{FF2B5EF4-FFF2-40B4-BE49-F238E27FC236}">
                <a16:creationId xmlns:a16="http://schemas.microsoft.com/office/drawing/2014/main" id="{E9C35F1D-F563-D810-B33B-E066FB382681}"/>
              </a:ext>
            </a:extLst>
          </p:cNvPr>
          <p:cNvSpPr/>
          <p:nvPr/>
        </p:nvSpPr>
        <p:spPr>
          <a:xfrm>
            <a:off x="9954300" y="4404776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5" name="Abgerundetes Rechteck 54">
            <a:extLst>
              <a:ext uri="{FF2B5EF4-FFF2-40B4-BE49-F238E27FC236}">
                <a16:creationId xmlns:a16="http://schemas.microsoft.com/office/drawing/2014/main" id="{FA090016-600C-D0B1-8DD7-0FA0A7BD3E92}"/>
              </a:ext>
            </a:extLst>
          </p:cNvPr>
          <p:cNvSpPr/>
          <p:nvPr/>
        </p:nvSpPr>
        <p:spPr>
          <a:xfrm>
            <a:off x="8869680" y="4776154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6" name="Abgerundetes Rechteck 55">
            <a:extLst>
              <a:ext uri="{FF2B5EF4-FFF2-40B4-BE49-F238E27FC236}">
                <a16:creationId xmlns:a16="http://schemas.microsoft.com/office/drawing/2014/main" id="{4BAA8173-5540-58B9-9B57-DC073EDB8D50}"/>
              </a:ext>
            </a:extLst>
          </p:cNvPr>
          <p:cNvSpPr/>
          <p:nvPr/>
        </p:nvSpPr>
        <p:spPr>
          <a:xfrm>
            <a:off x="9954300" y="4776154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7" name="Abgerundetes Rechteck 56">
            <a:extLst>
              <a:ext uri="{FF2B5EF4-FFF2-40B4-BE49-F238E27FC236}">
                <a16:creationId xmlns:a16="http://schemas.microsoft.com/office/drawing/2014/main" id="{FADC2544-E7AE-E478-BCA4-5C31ED4407DD}"/>
              </a:ext>
            </a:extLst>
          </p:cNvPr>
          <p:cNvSpPr/>
          <p:nvPr/>
        </p:nvSpPr>
        <p:spPr>
          <a:xfrm>
            <a:off x="8869680" y="5147532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8" name="Abgerundetes Rechteck 57">
            <a:extLst>
              <a:ext uri="{FF2B5EF4-FFF2-40B4-BE49-F238E27FC236}">
                <a16:creationId xmlns:a16="http://schemas.microsoft.com/office/drawing/2014/main" id="{B06E9C56-5E73-4CC6-298C-9C2C5D785978}"/>
              </a:ext>
            </a:extLst>
          </p:cNvPr>
          <p:cNvSpPr/>
          <p:nvPr/>
        </p:nvSpPr>
        <p:spPr>
          <a:xfrm>
            <a:off x="9954300" y="5147532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cxnSp>
        <p:nvCxnSpPr>
          <p:cNvPr id="64" name="Gewinkelte Verbindung 63">
            <a:extLst>
              <a:ext uri="{FF2B5EF4-FFF2-40B4-BE49-F238E27FC236}">
                <a16:creationId xmlns:a16="http://schemas.microsoft.com/office/drawing/2014/main" id="{133EA74E-C0E9-1DA5-47CC-AFDDE36DC58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084233" y="2072814"/>
            <a:ext cx="227596" cy="7363838"/>
          </a:xfrm>
          <a:prstGeom prst="bentConnector3">
            <a:avLst>
              <a:gd name="adj1" fmla="val -100441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feld 78">
            <a:extLst>
              <a:ext uri="{FF2B5EF4-FFF2-40B4-BE49-F238E27FC236}">
                <a16:creationId xmlns:a16="http://schemas.microsoft.com/office/drawing/2014/main" id="{3F276C17-A2C1-7A12-8CCE-B442B7CE1A4C}"/>
              </a:ext>
            </a:extLst>
          </p:cNvPr>
          <p:cNvSpPr txBox="1"/>
          <p:nvPr/>
        </p:nvSpPr>
        <p:spPr>
          <a:xfrm>
            <a:off x="5892433" y="6103026"/>
            <a:ext cx="148409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3. I/O Operation beendet </a:t>
            </a:r>
          </a:p>
        </p:txBody>
      </p: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F07495E8-6C53-9FD9-F68B-3348E66E58B3}"/>
              </a:ext>
            </a:extLst>
          </p:cNvPr>
          <p:cNvCxnSpPr>
            <a:cxnSpLocks/>
          </p:cNvCxnSpPr>
          <p:nvPr/>
        </p:nvCxnSpPr>
        <p:spPr>
          <a:xfrm flipH="1" flipV="1">
            <a:off x="7020559" y="4615833"/>
            <a:ext cx="1510175" cy="819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feld 82">
            <a:extLst>
              <a:ext uri="{FF2B5EF4-FFF2-40B4-BE49-F238E27FC236}">
                <a16:creationId xmlns:a16="http://schemas.microsoft.com/office/drawing/2014/main" id="{692E0D5A-A40D-651B-4BAC-1BCE2DBB9618}"/>
              </a:ext>
            </a:extLst>
          </p:cNvPr>
          <p:cNvSpPr txBox="1"/>
          <p:nvPr/>
        </p:nvSpPr>
        <p:spPr>
          <a:xfrm>
            <a:off x="7192122" y="4008595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4. Event Loop iteriert über Event Queue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D059C532-7388-158F-6831-077899769725}"/>
              </a:ext>
            </a:extLst>
          </p:cNvPr>
          <p:cNvCxnSpPr>
            <a:cxnSpLocks/>
          </p:cNvCxnSpPr>
          <p:nvPr/>
        </p:nvCxnSpPr>
        <p:spPr>
          <a:xfrm flipV="1">
            <a:off x="6300559" y="2741311"/>
            <a:ext cx="0" cy="1154522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feld 87">
            <a:extLst>
              <a:ext uri="{FF2B5EF4-FFF2-40B4-BE49-F238E27FC236}">
                <a16:creationId xmlns:a16="http://schemas.microsoft.com/office/drawing/2014/main" id="{AC9FAA35-623D-2FD5-73B3-CDDCE679F08D}"/>
              </a:ext>
            </a:extLst>
          </p:cNvPr>
          <p:cNvSpPr txBox="1"/>
          <p:nvPr/>
        </p:nvSpPr>
        <p:spPr>
          <a:xfrm>
            <a:off x="6395054" y="3123127"/>
            <a:ext cx="129561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5. Handler wird aufgerufen; Kontrolle zurück an Event Loop</a:t>
            </a:r>
          </a:p>
        </p:txBody>
      </p:sp>
      <p:cxnSp>
        <p:nvCxnSpPr>
          <p:cNvPr id="89" name="Gewinkelte Verbindung 88">
            <a:extLst>
              <a:ext uri="{FF2B5EF4-FFF2-40B4-BE49-F238E27FC236}">
                <a16:creationId xmlns:a16="http://schemas.microsoft.com/office/drawing/2014/main" id="{B2757D27-0CAA-CEC1-6889-E1F33AF4E5D9}"/>
              </a:ext>
            </a:extLst>
          </p:cNvPr>
          <p:cNvCxnSpPr>
            <a:cxnSpLocks/>
          </p:cNvCxnSpPr>
          <p:nvPr/>
        </p:nvCxnSpPr>
        <p:spPr>
          <a:xfrm rot="10800000" flipV="1">
            <a:off x="4408337" y="4615832"/>
            <a:ext cx="1172222" cy="727741"/>
          </a:xfrm>
          <a:prstGeom prst="bentConnector3">
            <a:avLst>
              <a:gd name="adj1" fmla="val 21592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feld 96">
            <a:extLst>
              <a:ext uri="{FF2B5EF4-FFF2-40B4-BE49-F238E27FC236}">
                <a16:creationId xmlns:a16="http://schemas.microsoft.com/office/drawing/2014/main" id="{26B61B65-5E7A-AA0B-5BA7-2E79B80F4DBD}"/>
              </a:ext>
            </a:extLst>
          </p:cNvPr>
          <p:cNvSpPr txBox="1"/>
          <p:nvPr/>
        </p:nvSpPr>
        <p:spPr>
          <a:xfrm>
            <a:off x="4674819" y="5387708"/>
            <a:ext cx="23457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6. Event </a:t>
            </a:r>
            <a:r>
              <a:rPr lang="de-DE" sz="1200" dirty="0" err="1"/>
              <a:t>Demultiplexer</a:t>
            </a:r>
            <a:r>
              <a:rPr lang="de-DE" sz="1200" dirty="0"/>
              <a:t> blockt synchron bis neue Events verfügbar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79EF163B-78E4-1E7D-3F0F-79491E01FD94}"/>
              </a:ext>
            </a:extLst>
          </p:cNvPr>
          <p:cNvCxnSpPr>
            <a:cxnSpLocks/>
          </p:cNvCxnSpPr>
          <p:nvPr/>
        </p:nvCxnSpPr>
        <p:spPr>
          <a:xfrm>
            <a:off x="6161316" y="2778282"/>
            <a:ext cx="0" cy="1157677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Abgerundetes Rechteck 53">
            <a:extLst>
              <a:ext uri="{FF2B5EF4-FFF2-40B4-BE49-F238E27FC236}">
                <a16:creationId xmlns:a16="http://schemas.microsoft.com/office/drawing/2014/main" id="{11F5B020-B004-D225-D13E-F4927E78B3F7}"/>
              </a:ext>
            </a:extLst>
          </p:cNvPr>
          <p:cNvSpPr/>
          <p:nvPr/>
        </p:nvSpPr>
        <p:spPr>
          <a:xfrm>
            <a:off x="860262" y="5403549"/>
            <a:ext cx="3376509" cy="40864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18DFC46D-F11C-91A7-2DD0-4E2512F1FFF6}"/>
              </a:ext>
            </a:extLst>
          </p:cNvPr>
          <p:cNvSpPr/>
          <p:nvPr/>
        </p:nvSpPr>
        <p:spPr>
          <a:xfrm>
            <a:off x="962834" y="5013125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1" name="Abgerundetes Rechteck 20">
            <a:extLst>
              <a:ext uri="{FF2B5EF4-FFF2-40B4-BE49-F238E27FC236}">
                <a16:creationId xmlns:a16="http://schemas.microsoft.com/office/drawing/2014/main" id="{6777B394-8701-74C3-A665-3CAEA3D99D15}"/>
              </a:ext>
            </a:extLst>
          </p:cNvPr>
          <p:cNvSpPr/>
          <p:nvPr/>
        </p:nvSpPr>
        <p:spPr>
          <a:xfrm>
            <a:off x="962834" y="5460806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2" name="Abgerundetes Rechteck 21">
            <a:extLst>
              <a:ext uri="{FF2B5EF4-FFF2-40B4-BE49-F238E27FC236}">
                <a16:creationId xmlns:a16="http://schemas.microsoft.com/office/drawing/2014/main" id="{F0493F17-3FEB-67A1-2FAA-6758310E0DFB}"/>
              </a:ext>
            </a:extLst>
          </p:cNvPr>
          <p:cNvSpPr/>
          <p:nvPr/>
        </p:nvSpPr>
        <p:spPr>
          <a:xfrm>
            <a:off x="2047454" y="5460806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3" name="Abgerundetes Rechteck 22">
            <a:extLst>
              <a:ext uri="{FF2B5EF4-FFF2-40B4-BE49-F238E27FC236}">
                <a16:creationId xmlns:a16="http://schemas.microsoft.com/office/drawing/2014/main" id="{7F6A8C19-1A44-14AD-2566-02C80252FEB0}"/>
              </a:ext>
            </a:extLst>
          </p:cNvPr>
          <p:cNvSpPr/>
          <p:nvPr/>
        </p:nvSpPr>
        <p:spPr>
          <a:xfrm>
            <a:off x="3132074" y="5460806"/>
            <a:ext cx="98205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9" name="Abgerundetes Rechteck 58">
            <a:extLst>
              <a:ext uri="{FF2B5EF4-FFF2-40B4-BE49-F238E27FC236}">
                <a16:creationId xmlns:a16="http://schemas.microsoft.com/office/drawing/2014/main" id="{72648ECE-3A2E-683D-C9A9-4DE4D68A7FD1}"/>
              </a:ext>
            </a:extLst>
          </p:cNvPr>
          <p:cNvSpPr/>
          <p:nvPr/>
        </p:nvSpPr>
        <p:spPr>
          <a:xfrm>
            <a:off x="6058012" y="2439161"/>
            <a:ext cx="1420570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xecute Handler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758BF49-8347-6C78-2E90-93A1CB62B3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7346" y="4698289"/>
            <a:ext cx="1733060" cy="649897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390D5545-E4E8-ADB2-F729-ACD8ACAC80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4300" y="5455080"/>
            <a:ext cx="1733060" cy="64989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F9DB691-8CCF-E7C3-2179-3C374F04F4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2122" y="1306896"/>
            <a:ext cx="1431521" cy="143152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C2CCF36-3177-5BBA-2EFE-7B021F6B23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94773" y="4200574"/>
            <a:ext cx="482983" cy="59383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71008EC-5793-CD04-7716-7713CF74FB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951" y="4285594"/>
            <a:ext cx="502319" cy="502319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89C05777-12F1-9F4C-AE50-515BD944A0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9450" y="4285594"/>
            <a:ext cx="406736" cy="481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519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51" grpId="0" animBg="1"/>
      <p:bldP spid="16" grpId="0"/>
      <p:bldP spid="19" grpId="0" animBg="1"/>
      <p:bldP spid="20" grpId="0" animBg="1"/>
      <p:bldP spid="27" grpId="0" animBg="1"/>
      <p:bldP spid="28" grpId="0" animBg="1"/>
      <p:bldP spid="46" grpId="0"/>
      <p:bldP spid="48" grpId="0" animBg="1"/>
      <p:bldP spid="49" grpId="0" animBg="1"/>
      <p:bldP spid="50" grpId="0" animBg="1"/>
      <p:bldP spid="52" grpId="0" animBg="1"/>
      <p:bldP spid="53" grpId="0" animBg="1"/>
      <p:bldP spid="55" grpId="0" animBg="1"/>
      <p:bldP spid="56" grpId="0" animBg="1"/>
      <p:bldP spid="57" grpId="0" animBg="1"/>
      <p:bldP spid="58" grpId="0" animBg="1"/>
      <p:bldP spid="79" grpId="0"/>
      <p:bldP spid="83" grpId="0"/>
      <p:bldP spid="88" grpId="0"/>
      <p:bldP spid="97" grpId="0"/>
      <p:bldP spid="54" grpId="0" animBg="1"/>
      <p:bldP spid="10" grpId="0" animBg="1"/>
      <p:bldP spid="21" grpId="0" animBg="1"/>
      <p:bldP spid="22" grpId="0" animBg="1"/>
      <p:bldP spid="23" grpId="0" animBg="1"/>
      <p:bldP spid="5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9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9942301" cy="1762021"/>
          </a:xfrm>
        </p:spPr>
        <p:txBody>
          <a:bodyPr/>
          <a:lstStyle/>
          <a:p>
            <a:r>
              <a:rPr lang="de-DE" sz="5600" dirty="0" err="1"/>
              <a:t>Node.js</a:t>
            </a:r>
            <a:r>
              <a:rPr lang="de-DE" sz="5600" dirty="0"/>
              <a:t> nutzt asynchrones </a:t>
            </a:r>
            <a:r>
              <a:rPr lang="de-DE" sz="5600" dirty="0" err="1"/>
              <a:t>io</a:t>
            </a:r>
            <a:endParaRPr lang="de-DE" sz="5600" dirty="0"/>
          </a:p>
          <a:p>
            <a:r>
              <a:rPr lang="de-DE" sz="5600" dirty="0"/>
              <a:t>Um </a:t>
            </a:r>
            <a:r>
              <a:rPr lang="de-DE" sz="5600" dirty="0" err="1"/>
              <a:t>thread</a:t>
            </a:r>
            <a:r>
              <a:rPr lang="de-DE" sz="5600" dirty="0"/>
              <a:t> nicht zu blockieren</a:t>
            </a:r>
          </a:p>
        </p:txBody>
      </p:sp>
    </p:spTree>
    <p:extLst>
      <p:ext uri="{BB962C8B-B14F-4D97-AF65-F5344CB8AC3E}">
        <p14:creationId xmlns:p14="http://schemas.microsoft.com/office/powerpoint/2010/main" val="305088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37BE96-A6DD-CA9C-5358-9CDD0526F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</a:t>
            </a:r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r>
              <a:rPr lang="de-DE" dirty="0"/>
              <a:t> ist im Code selbst kaum sichtbar, da diese Ebene wegabstrahiert is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18EB684-5D52-2DC5-B620-5070124E33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7B5718-DF58-3D36-24E8-145ECCF840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B40904-7283-A791-8F97-653C5F1B830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2B9B345-4402-1EAB-9868-B28CC8BE886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9ECB0D5-B523-170E-D526-0BCD8A6731A4}"/>
              </a:ext>
            </a:extLst>
          </p:cNvPr>
          <p:cNvSpPr/>
          <p:nvPr/>
        </p:nvSpPr>
        <p:spPr>
          <a:xfrm>
            <a:off x="623887" y="1735494"/>
            <a:ext cx="9509158" cy="456266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mpor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*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rom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1. neue IO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operation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für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anforder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  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ata.json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‘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 // Zum Event in Event Queue zugehöriger Handl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3. / 4. / 5. Handler aufruf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JSON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par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6. Hiernach übernimmt Event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wied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2. Kontrolle an Applikation zurückgeb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synchronou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operation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79937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000180F-1F49-478A-9291-AA7B54B8DE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84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000180F-1F49-478A-9291-AA7B54B8D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B9163DE-00C6-4B83-9A4C-9516BE19954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 err="1"/>
              <a:t>Callbacks</a:t>
            </a:r>
            <a:r>
              <a:rPr lang="de-DE" dirty="0"/>
              <a:t> bilden die Basis der Asynchronität 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52292B-D095-46AF-A1F3-67E378235E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Wird ausgeführt, nachdem asynchrone Operation beendet wurde (</a:t>
            </a:r>
            <a:r>
              <a:rPr lang="de-DE" dirty="0" err="1"/>
              <a:t>continuation-passing</a:t>
            </a:r>
            <a:r>
              <a:rPr lang="de-DE" dirty="0"/>
              <a:t> style);</a:t>
            </a:r>
          </a:p>
          <a:p>
            <a:pPr lvl="0"/>
            <a:r>
              <a:rPr lang="de-DE" dirty="0"/>
              <a:t>Ideal in </a:t>
            </a:r>
            <a:r>
              <a:rPr lang="de-DE" dirty="0" err="1"/>
              <a:t>Node</a:t>
            </a:r>
            <a:r>
              <a:rPr lang="de-DE" dirty="0"/>
              <a:t>, da Funktionen first-class-</a:t>
            </a:r>
            <a:r>
              <a:rPr lang="de-DE" dirty="0" err="1"/>
              <a:t>objects</a:t>
            </a:r>
            <a:r>
              <a:rPr lang="de-DE" dirty="0"/>
              <a:t> sind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8FE9CBC-E8AD-4F0F-A93D-06AB03EE7152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8585E7C-1084-4A09-898C-0E0EE4F4B9EB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DD5A592-C832-476F-B641-C6F7C5712B8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8882565-255C-4DA8-B177-97D94332F9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7004BA0C-6619-6F0C-C0C2-475FF340538C}"/>
              </a:ext>
            </a:extLst>
          </p:cNvPr>
          <p:cNvSpPr/>
          <p:nvPr/>
        </p:nvSpPr>
        <p:spPr>
          <a:xfrm>
            <a:off x="1651970" y="2365265"/>
            <a:ext cx="2035447" cy="695991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Promises</a:t>
            </a:r>
            <a:endParaRPr lang="de-DE" sz="1400" dirty="0"/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61C1484E-9A2D-7CFE-8113-987CE2561375}"/>
              </a:ext>
            </a:extLst>
          </p:cNvPr>
          <p:cNvSpPr/>
          <p:nvPr/>
        </p:nvSpPr>
        <p:spPr>
          <a:xfrm>
            <a:off x="3882267" y="2365265"/>
            <a:ext cx="2035447" cy="695991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async</a:t>
            </a:r>
            <a:r>
              <a:rPr lang="de-DE" sz="1400" dirty="0"/>
              <a:t>/</a:t>
            </a:r>
            <a:r>
              <a:rPr lang="de-DE" sz="1400" dirty="0" err="1"/>
              <a:t>await</a:t>
            </a:r>
            <a:endParaRPr lang="de-DE" sz="1400" dirty="0"/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76928E91-2476-08EE-7270-8B1BF297AEED}"/>
              </a:ext>
            </a:extLst>
          </p:cNvPr>
          <p:cNvSpPr/>
          <p:nvPr/>
        </p:nvSpPr>
        <p:spPr>
          <a:xfrm>
            <a:off x="6112564" y="2365265"/>
            <a:ext cx="2035447" cy="695991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s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8E2E8D5A-0905-6CDA-AB9B-E4D4B4DC6543}"/>
              </a:ext>
            </a:extLst>
          </p:cNvPr>
          <p:cNvSpPr/>
          <p:nvPr/>
        </p:nvSpPr>
        <p:spPr>
          <a:xfrm>
            <a:off x="8342861" y="2365265"/>
            <a:ext cx="2035447" cy="695991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treams</a:t>
            </a:r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195B7707-7DD6-D151-1C0D-7FFBB810DCAC}"/>
              </a:ext>
            </a:extLst>
          </p:cNvPr>
          <p:cNvSpPr/>
          <p:nvPr/>
        </p:nvSpPr>
        <p:spPr>
          <a:xfrm>
            <a:off x="1651969" y="3228734"/>
            <a:ext cx="8726339" cy="695991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 Handler (</a:t>
            </a:r>
            <a:r>
              <a:rPr lang="de-DE" sz="1400" dirty="0" err="1"/>
              <a:t>Callbacks</a:t>
            </a:r>
            <a:r>
              <a:rPr lang="de-DE" sz="1400" dirty="0"/>
              <a:t>)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740DB17-B3FE-1961-5772-BF3C6BF15882}"/>
              </a:ext>
            </a:extLst>
          </p:cNvPr>
          <p:cNvSpPr txBox="1"/>
          <p:nvPr/>
        </p:nvSpPr>
        <p:spPr>
          <a:xfrm>
            <a:off x="9979034" y="4073101"/>
            <a:ext cx="148112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400" dirty="0">
                <a:sym typeface="Wingdings" pitchFamily="2" charset="2"/>
              </a:rPr>
              <a:t>Aufruf über </a:t>
            </a:r>
          </a:p>
          <a:p>
            <a:pPr algn="ctr">
              <a:spcAft>
                <a:spcPts val="300"/>
              </a:spcAft>
            </a:pPr>
            <a:r>
              <a:rPr lang="de-DE" sz="1400" dirty="0">
                <a:sym typeface="Wingdings" pitchFamily="2" charset="2"/>
              </a:rPr>
              <a:t>Event Loop</a:t>
            </a:r>
            <a:endParaRPr lang="de-DE" sz="1400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D3F79FA1-A7B8-3A3D-7EA5-74820F077AF0}"/>
              </a:ext>
            </a:extLst>
          </p:cNvPr>
          <p:cNvSpPr/>
          <p:nvPr/>
        </p:nvSpPr>
        <p:spPr>
          <a:xfrm>
            <a:off x="9917723" y="123679"/>
            <a:ext cx="2180492" cy="1325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 err="1"/>
              <a:t>todo</a:t>
            </a:r>
            <a:endParaRPr lang="de-DE" sz="1400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A79A36D0-45B5-6986-E377-943306FF0034}"/>
              </a:ext>
            </a:extLst>
          </p:cNvPr>
          <p:cNvGrpSpPr>
            <a:grpSpLocks/>
          </p:cNvGrpSpPr>
          <p:nvPr/>
        </p:nvGrpSpPr>
        <p:grpSpPr bwMode="gray">
          <a:xfrm>
            <a:off x="10181885" y="3130953"/>
            <a:ext cx="900000" cy="900000"/>
            <a:chOff x="615809" y="1610662"/>
            <a:chExt cx="2333258" cy="2334309"/>
          </a:xfrm>
          <a:solidFill>
            <a:srgbClr val="E4E4E4"/>
          </a:solidFill>
        </p:grpSpPr>
        <p:sp>
          <p:nvSpPr>
            <p:cNvPr id="22" name="Freeform: Shape 34">
              <a:extLst>
                <a:ext uri="{FF2B5EF4-FFF2-40B4-BE49-F238E27FC236}">
                  <a16:creationId xmlns:a16="http://schemas.microsoft.com/office/drawing/2014/main" id="{E3421E46-5166-865A-5BB3-26F468AEDAEF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809" y="1610665"/>
              <a:ext cx="1337151" cy="2334306"/>
            </a:xfrm>
            <a:custGeom>
              <a:avLst/>
              <a:gdLst>
                <a:gd name="connsiteX0" fmla="*/ 1147197 w 1338888"/>
                <a:gd name="connsiteY0" fmla="*/ 0 h 2340917"/>
                <a:gd name="connsiteX1" fmla="*/ 1338888 w 1338888"/>
                <a:gd name="connsiteY1" fmla="*/ 325041 h 2340917"/>
                <a:gd name="connsiteX2" fmla="*/ 1147197 w 1338888"/>
                <a:gd name="connsiteY2" fmla="*/ 652165 h 2340917"/>
                <a:gd name="connsiteX3" fmla="*/ 1064895 w 1338888"/>
                <a:gd name="connsiteY3" fmla="*/ 662583 h 2340917"/>
                <a:gd name="connsiteX4" fmla="*/ 984677 w 1338888"/>
                <a:gd name="connsiteY4" fmla="*/ 686545 h 2340917"/>
                <a:gd name="connsiteX5" fmla="*/ 911751 w 1338888"/>
                <a:gd name="connsiteY5" fmla="*/ 719882 h 2340917"/>
                <a:gd name="connsiteX6" fmla="*/ 844035 w 1338888"/>
                <a:gd name="connsiteY6" fmla="*/ 766763 h 2340917"/>
                <a:gd name="connsiteX7" fmla="*/ 785694 w 1338888"/>
                <a:gd name="connsiteY7" fmla="*/ 821978 h 2340917"/>
                <a:gd name="connsiteX8" fmla="*/ 735688 w 1338888"/>
                <a:gd name="connsiteY8" fmla="*/ 885528 h 2340917"/>
                <a:gd name="connsiteX9" fmla="*/ 696099 w 1338888"/>
                <a:gd name="connsiteY9" fmla="*/ 955328 h 2340917"/>
                <a:gd name="connsiteX10" fmla="*/ 670054 w 1338888"/>
                <a:gd name="connsiteY10" fmla="*/ 1033463 h 2340917"/>
                <a:gd name="connsiteX11" fmla="*/ 653453 w 1338888"/>
                <a:gd name="connsiteY11" fmla="*/ 1110612 h 2340917"/>
                <a:gd name="connsiteX12" fmla="*/ 650081 w 1338888"/>
                <a:gd name="connsiteY12" fmla="*/ 1167087 h 2340917"/>
                <a:gd name="connsiteX13" fmla="*/ 651533 w 1338888"/>
                <a:gd name="connsiteY13" fmla="*/ 1192486 h 2340917"/>
                <a:gd name="connsiteX14" fmla="*/ 652166 w 1338888"/>
                <a:gd name="connsiteY14" fmla="*/ 1192857 h 2340917"/>
                <a:gd name="connsiteX15" fmla="*/ 664667 w 1338888"/>
                <a:gd name="connsiteY15" fmla="*/ 1278284 h 2340917"/>
                <a:gd name="connsiteX16" fmla="*/ 686545 w 1338888"/>
                <a:gd name="connsiteY16" fmla="*/ 1355377 h 2340917"/>
                <a:gd name="connsiteX17" fmla="*/ 720928 w 1338888"/>
                <a:gd name="connsiteY17" fmla="*/ 1427090 h 2340917"/>
                <a:gd name="connsiteX18" fmla="*/ 723759 w 1338888"/>
                <a:gd name="connsiteY18" fmla="*/ 1432486 h 2340917"/>
                <a:gd name="connsiteX19" fmla="*/ 749587 w 1338888"/>
                <a:gd name="connsiteY19" fmla="*/ 1468881 h 2340917"/>
                <a:gd name="connsiteX20" fmla="*/ 770930 w 1338888"/>
                <a:gd name="connsiteY20" fmla="*/ 1497337 h 2340917"/>
                <a:gd name="connsiteX21" fmla="*/ 819894 w 1338888"/>
                <a:gd name="connsiteY21" fmla="*/ 1548385 h 2340917"/>
                <a:gd name="connsiteX22" fmla="*/ 817495 w 1338888"/>
                <a:gd name="connsiteY22" fmla="*/ 1549437 h 2340917"/>
                <a:gd name="connsiteX23" fmla="*/ 821979 w 1338888"/>
                <a:gd name="connsiteY23" fmla="*/ 1554360 h 2340917"/>
                <a:gd name="connsiteX24" fmla="*/ 887612 w 1338888"/>
                <a:gd name="connsiteY24" fmla="*/ 1605409 h 2340917"/>
                <a:gd name="connsiteX25" fmla="*/ 957412 w 1338888"/>
                <a:gd name="connsiteY25" fmla="*/ 1643955 h 2340917"/>
                <a:gd name="connsiteX26" fmla="*/ 1035547 w 1338888"/>
                <a:gd name="connsiteY26" fmla="*/ 1671042 h 2340917"/>
                <a:gd name="connsiteX27" fmla="*/ 1117849 w 1338888"/>
                <a:gd name="connsiteY27" fmla="*/ 1687710 h 2340917"/>
                <a:gd name="connsiteX28" fmla="*/ 924075 w 1338888"/>
                <a:gd name="connsiteY28" fmla="*/ 2017960 h 2340917"/>
                <a:gd name="connsiteX29" fmla="*/ 1115765 w 1338888"/>
                <a:gd name="connsiteY29" fmla="*/ 2340917 h 2340917"/>
                <a:gd name="connsiteX30" fmla="*/ 984499 w 1338888"/>
                <a:gd name="connsiteY30" fmla="*/ 2328416 h 2340917"/>
                <a:gd name="connsiteX31" fmla="*/ 860525 w 1338888"/>
                <a:gd name="connsiteY31" fmla="*/ 2301329 h 2340917"/>
                <a:gd name="connsiteX32" fmla="*/ 741760 w 1338888"/>
                <a:gd name="connsiteY32" fmla="*/ 2260699 h 2340917"/>
                <a:gd name="connsiteX33" fmla="*/ 628205 w 1338888"/>
                <a:gd name="connsiteY33" fmla="*/ 2209651 h 2340917"/>
                <a:gd name="connsiteX34" fmla="*/ 520899 w 1338888"/>
                <a:gd name="connsiteY34" fmla="*/ 2144018 h 2340917"/>
                <a:gd name="connsiteX35" fmla="*/ 421929 w 1338888"/>
                <a:gd name="connsiteY35" fmla="*/ 2071092 h 2340917"/>
                <a:gd name="connsiteX36" fmla="*/ 332334 w 1338888"/>
                <a:gd name="connsiteY36" fmla="*/ 1986706 h 2340917"/>
                <a:gd name="connsiteX37" fmla="*/ 252116 w 1338888"/>
                <a:gd name="connsiteY37" fmla="*/ 1893986 h 2340917"/>
                <a:gd name="connsiteX38" fmla="*/ 179190 w 1338888"/>
                <a:gd name="connsiteY38" fmla="*/ 1791890 h 2340917"/>
                <a:gd name="connsiteX39" fmla="*/ 118766 w 1338888"/>
                <a:gd name="connsiteY39" fmla="*/ 1685627 h 2340917"/>
                <a:gd name="connsiteX40" fmla="*/ 70843 w 1338888"/>
                <a:gd name="connsiteY40" fmla="*/ 1568946 h 2340917"/>
                <a:gd name="connsiteX41" fmla="*/ 34380 w 1338888"/>
                <a:gd name="connsiteY41" fmla="*/ 1448097 h 2340917"/>
                <a:gd name="connsiteX42" fmla="*/ 25444 w 1338888"/>
                <a:gd name="connsiteY42" fmla="*/ 1403045 h 2340917"/>
                <a:gd name="connsiteX43" fmla="*/ 23961 w 1338888"/>
                <a:gd name="connsiteY43" fmla="*/ 1397325 h 2340917"/>
                <a:gd name="connsiteX44" fmla="*/ 22969 w 1338888"/>
                <a:gd name="connsiteY44" fmla="*/ 1390567 h 2340917"/>
                <a:gd name="connsiteX45" fmla="*/ 9377 w 1338888"/>
                <a:gd name="connsiteY45" fmla="*/ 1322040 h 2340917"/>
                <a:gd name="connsiteX46" fmla="*/ 1 w 1338888"/>
                <a:gd name="connsiteY46" fmla="*/ 1192857 h 2340917"/>
                <a:gd name="connsiteX47" fmla="*/ 1553 w 1338888"/>
                <a:gd name="connsiteY47" fmla="*/ 1191941 h 2340917"/>
                <a:gd name="connsiteX48" fmla="*/ 0 w 1338888"/>
                <a:gd name="connsiteY48" fmla="*/ 1167087 h 2340917"/>
                <a:gd name="connsiteX49" fmla="*/ 3559 w 1338888"/>
                <a:gd name="connsiteY49" fmla="*/ 1111676 h 2340917"/>
                <a:gd name="connsiteX50" fmla="*/ 179 w 1338888"/>
                <a:gd name="connsiteY50" fmla="*/ 1113682 h 2340917"/>
                <a:gd name="connsiteX51" fmla="*/ 12681 w 1338888"/>
                <a:gd name="connsiteY51" fmla="*/ 984499 h 2340917"/>
                <a:gd name="connsiteX52" fmla="*/ 41851 w 1338888"/>
                <a:gd name="connsiteY52" fmla="*/ 858441 h 2340917"/>
                <a:gd name="connsiteX53" fmla="*/ 48494 w 1338888"/>
                <a:gd name="connsiteY53" fmla="*/ 837975 h 2340917"/>
                <a:gd name="connsiteX54" fmla="*/ 51048 w 1338888"/>
                <a:gd name="connsiteY54" fmla="*/ 827462 h 2340917"/>
                <a:gd name="connsiteX55" fmla="*/ 51971 w 1338888"/>
                <a:gd name="connsiteY55" fmla="*/ 827259 h 2340917"/>
                <a:gd name="connsiteX56" fmla="*/ 80397 w 1338888"/>
                <a:gd name="connsiteY56" fmla="*/ 739676 h 2340917"/>
                <a:gd name="connsiteX57" fmla="*/ 133529 w 1338888"/>
                <a:gd name="connsiteY57" fmla="*/ 626120 h 2340917"/>
                <a:gd name="connsiteX58" fmla="*/ 197079 w 1338888"/>
                <a:gd name="connsiteY58" fmla="*/ 518815 h 2340917"/>
                <a:gd name="connsiteX59" fmla="*/ 270004 w 1338888"/>
                <a:gd name="connsiteY59" fmla="*/ 421928 h 2340917"/>
                <a:gd name="connsiteX60" fmla="*/ 354390 w 1338888"/>
                <a:gd name="connsiteY60" fmla="*/ 330250 h 2340917"/>
                <a:gd name="connsiteX61" fmla="*/ 447110 w 1338888"/>
                <a:gd name="connsiteY61" fmla="*/ 250032 h 2340917"/>
                <a:gd name="connsiteX62" fmla="*/ 548164 w 1338888"/>
                <a:gd name="connsiteY62" fmla="*/ 179189 h 2340917"/>
                <a:gd name="connsiteX63" fmla="*/ 655469 w 1338888"/>
                <a:gd name="connsiteY63" fmla="*/ 118765 h 2340917"/>
                <a:gd name="connsiteX64" fmla="*/ 772151 w 1338888"/>
                <a:gd name="connsiteY64" fmla="*/ 67717 h 2340917"/>
                <a:gd name="connsiteX65" fmla="*/ 892999 w 1338888"/>
                <a:gd name="connsiteY65" fmla="*/ 31254 h 2340917"/>
                <a:gd name="connsiteX66" fmla="*/ 1019056 w 1338888"/>
                <a:gd name="connsiteY66" fmla="*/ 9376 h 2340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338888" h="2340917">
                  <a:moveTo>
                    <a:pt x="1147197" y="0"/>
                  </a:moveTo>
                  <a:lnTo>
                    <a:pt x="1338888" y="325041"/>
                  </a:lnTo>
                  <a:lnTo>
                    <a:pt x="1147197" y="652165"/>
                  </a:lnTo>
                  <a:lnTo>
                    <a:pt x="1064895" y="662583"/>
                  </a:lnTo>
                  <a:lnTo>
                    <a:pt x="984677" y="686545"/>
                  </a:lnTo>
                  <a:lnTo>
                    <a:pt x="911751" y="719882"/>
                  </a:lnTo>
                  <a:lnTo>
                    <a:pt x="844035" y="766763"/>
                  </a:lnTo>
                  <a:lnTo>
                    <a:pt x="785694" y="821978"/>
                  </a:lnTo>
                  <a:lnTo>
                    <a:pt x="735688" y="885528"/>
                  </a:lnTo>
                  <a:lnTo>
                    <a:pt x="696099" y="955328"/>
                  </a:lnTo>
                  <a:lnTo>
                    <a:pt x="670054" y="1033463"/>
                  </a:lnTo>
                  <a:lnTo>
                    <a:pt x="653453" y="1110612"/>
                  </a:lnTo>
                  <a:lnTo>
                    <a:pt x="650081" y="1167087"/>
                  </a:lnTo>
                  <a:lnTo>
                    <a:pt x="651533" y="1192486"/>
                  </a:lnTo>
                  <a:lnTo>
                    <a:pt x="652166" y="1192857"/>
                  </a:lnTo>
                  <a:lnTo>
                    <a:pt x="664667" y="1278284"/>
                  </a:lnTo>
                  <a:lnTo>
                    <a:pt x="686545" y="1355377"/>
                  </a:lnTo>
                  <a:lnTo>
                    <a:pt x="720928" y="1427090"/>
                  </a:lnTo>
                  <a:lnTo>
                    <a:pt x="723759" y="1432486"/>
                  </a:lnTo>
                  <a:lnTo>
                    <a:pt x="749587" y="1468881"/>
                  </a:lnTo>
                  <a:lnTo>
                    <a:pt x="770930" y="1497337"/>
                  </a:lnTo>
                  <a:lnTo>
                    <a:pt x="819894" y="1548385"/>
                  </a:lnTo>
                  <a:lnTo>
                    <a:pt x="817495" y="1549437"/>
                  </a:lnTo>
                  <a:lnTo>
                    <a:pt x="821979" y="1554360"/>
                  </a:lnTo>
                  <a:lnTo>
                    <a:pt x="887612" y="1605409"/>
                  </a:lnTo>
                  <a:lnTo>
                    <a:pt x="957412" y="1643955"/>
                  </a:lnTo>
                  <a:lnTo>
                    <a:pt x="1035547" y="1671042"/>
                  </a:lnTo>
                  <a:lnTo>
                    <a:pt x="1117849" y="1687710"/>
                  </a:lnTo>
                  <a:lnTo>
                    <a:pt x="924075" y="2017960"/>
                  </a:lnTo>
                  <a:lnTo>
                    <a:pt x="1115765" y="2340917"/>
                  </a:lnTo>
                  <a:lnTo>
                    <a:pt x="984499" y="2328416"/>
                  </a:lnTo>
                  <a:lnTo>
                    <a:pt x="860525" y="2301329"/>
                  </a:lnTo>
                  <a:lnTo>
                    <a:pt x="741760" y="2260699"/>
                  </a:lnTo>
                  <a:lnTo>
                    <a:pt x="628205" y="2209651"/>
                  </a:lnTo>
                  <a:lnTo>
                    <a:pt x="520899" y="2144018"/>
                  </a:lnTo>
                  <a:lnTo>
                    <a:pt x="421929" y="2071092"/>
                  </a:lnTo>
                  <a:lnTo>
                    <a:pt x="332334" y="1986706"/>
                  </a:lnTo>
                  <a:lnTo>
                    <a:pt x="252116" y="1893986"/>
                  </a:lnTo>
                  <a:lnTo>
                    <a:pt x="179190" y="1791890"/>
                  </a:lnTo>
                  <a:lnTo>
                    <a:pt x="118766" y="1685627"/>
                  </a:lnTo>
                  <a:lnTo>
                    <a:pt x="70843" y="1568946"/>
                  </a:lnTo>
                  <a:lnTo>
                    <a:pt x="34380" y="1448097"/>
                  </a:lnTo>
                  <a:lnTo>
                    <a:pt x="25444" y="1403045"/>
                  </a:lnTo>
                  <a:lnTo>
                    <a:pt x="23961" y="1397325"/>
                  </a:lnTo>
                  <a:lnTo>
                    <a:pt x="22969" y="1390567"/>
                  </a:lnTo>
                  <a:lnTo>
                    <a:pt x="9377" y="1322040"/>
                  </a:lnTo>
                  <a:lnTo>
                    <a:pt x="1" y="1192857"/>
                  </a:lnTo>
                  <a:lnTo>
                    <a:pt x="1553" y="1191941"/>
                  </a:lnTo>
                  <a:lnTo>
                    <a:pt x="0" y="1167087"/>
                  </a:lnTo>
                  <a:lnTo>
                    <a:pt x="3559" y="1111676"/>
                  </a:lnTo>
                  <a:lnTo>
                    <a:pt x="179" y="1113682"/>
                  </a:lnTo>
                  <a:lnTo>
                    <a:pt x="12681" y="984499"/>
                  </a:lnTo>
                  <a:lnTo>
                    <a:pt x="41851" y="858441"/>
                  </a:lnTo>
                  <a:lnTo>
                    <a:pt x="48494" y="837975"/>
                  </a:lnTo>
                  <a:lnTo>
                    <a:pt x="51048" y="827462"/>
                  </a:lnTo>
                  <a:lnTo>
                    <a:pt x="51971" y="827259"/>
                  </a:lnTo>
                  <a:lnTo>
                    <a:pt x="80397" y="739676"/>
                  </a:lnTo>
                  <a:lnTo>
                    <a:pt x="133529" y="626120"/>
                  </a:lnTo>
                  <a:lnTo>
                    <a:pt x="197079" y="518815"/>
                  </a:lnTo>
                  <a:lnTo>
                    <a:pt x="270004" y="421928"/>
                  </a:lnTo>
                  <a:lnTo>
                    <a:pt x="354390" y="330250"/>
                  </a:lnTo>
                  <a:lnTo>
                    <a:pt x="447110" y="250032"/>
                  </a:lnTo>
                  <a:lnTo>
                    <a:pt x="548164" y="179189"/>
                  </a:lnTo>
                  <a:lnTo>
                    <a:pt x="655469" y="118765"/>
                  </a:lnTo>
                  <a:lnTo>
                    <a:pt x="772151" y="67717"/>
                  </a:lnTo>
                  <a:lnTo>
                    <a:pt x="892999" y="31254"/>
                  </a:lnTo>
                  <a:lnTo>
                    <a:pt x="1019056" y="9376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3" name="Freeform: Shape 35">
              <a:extLst>
                <a:ext uri="{FF2B5EF4-FFF2-40B4-BE49-F238E27FC236}">
                  <a16:creationId xmlns:a16="http://schemas.microsoft.com/office/drawing/2014/main" id="{3CFF2857-924A-B292-49C0-0567DFA00558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1611915" y="1610662"/>
              <a:ext cx="1337152" cy="2334306"/>
            </a:xfrm>
            <a:custGeom>
              <a:avLst/>
              <a:gdLst>
                <a:gd name="connsiteX0" fmla="*/ 1147197 w 1338888"/>
                <a:gd name="connsiteY0" fmla="*/ 0 h 2340917"/>
                <a:gd name="connsiteX1" fmla="*/ 1338888 w 1338888"/>
                <a:gd name="connsiteY1" fmla="*/ 325041 h 2340917"/>
                <a:gd name="connsiteX2" fmla="*/ 1147197 w 1338888"/>
                <a:gd name="connsiteY2" fmla="*/ 652165 h 2340917"/>
                <a:gd name="connsiteX3" fmla="*/ 1064895 w 1338888"/>
                <a:gd name="connsiteY3" fmla="*/ 662583 h 2340917"/>
                <a:gd name="connsiteX4" fmla="*/ 984677 w 1338888"/>
                <a:gd name="connsiteY4" fmla="*/ 686545 h 2340917"/>
                <a:gd name="connsiteX5" fmla="*/ 911751 w 1338888"/>
                <a:gd name="connsiteY5" fmla="*/ 719882 h 2340917"/>
                <a:gd name="connsiteX6" fmla="*/ 844035 w 1338888"/>
                <a:gd name="connsiteY6" fmla="*/ 766763 h 2340917"/>
                <a:gd name="connsiteX7" fmla="*/ 785694 w 1338888"/>
                <a:gd name="connsiteY7" fmla="*/ 821978 h 2340917"/>
                <a:gd name="connsiteX8" fmla="*/ 735688 w 1338888"/>
                <a:gd name="connsiteY8" fmla="*/ 885528 h 2340917"/>
                <a:gd name="connsiteX9" fmla="*/ 696099 w 1338888"/>
                <a:gd name="connsiteY9" fmla="*/ 955328 h 2340917"/>
                <a:gd name="connsiteX10" fmla="*/ 670054 w 1338888"/>
                <a:gd name="connsiteY10" fmla="*/ 1033463 h 2340917"/>
                <a:gd name="connsiteX11" fmla="*/ 653453 w 1338888"/>
                <a:gd name="connsiteY11" fmla="*/ 1110612 h 2340917"/>
                <a:gd name="connsiteX12" fmla="*/ 650081 w 1338888"/>
                <a:gd name="connsiteY12" fmla="*/ 1167087 h 2340917"/>
                <a:gd name="connsiteX13" fmla="*/ 651533 w 1338888"/>
                <a:gd name="connsiteY13" fmla="*/ 1192486 h 2340917"/>
                <a:gd name="connsiteX14" fmla="*/ 652166 w 1338888"/>
                <a:gd name="connsiteY14" fmla="*/ 1192857 h 2340917"/>
                <a:gd name="connsiteX15" fmla="*/ 664667 w 1338888"/>
                <a:gd name="connsiteY15" fmla="*/ 1278284 h 2340917"/>
                <a:gd name="connsiteX16" fmla="*/ 686545 w 1338888"/>
                <a:gd name="connsiteY16" fmla="*/ 1355377 h 2340917"/>
                <a:gd name="connsiteX17" fmla="*/ 720928 w 1338888"/>
                <a:gd name="connsiteY17" fmla="*/ 1427090 h 2340917"/>
                <a:gd name="connsiteX18" fmla="*/ 723759 w 1338888"/>
                <a:gd name="connsiteY18" fmla="*/ 1432486 h 2340917"/>
                <a:gd name="connsiteX19" fmla="*/ 749587 w 1338888"/>
                <a:gd name="connsiteY19" fmla="*/ 1468881 h 2340917"/>
                <a:gd name="connsiteX20" fmla="*/ 770930 w 1338888"/>
                <a:gd name="connsiteY20" fmla="*/ 1497337 h 2340917"/>
                <a:gd name="connsiteX21" fmla="*/ 819894 w 1338888"/>
                <a:gd name="connsiteY21" fmla="*/ 1548385 h 2340917"/>
                <a:gd name="connsiteX22" fmla="*/ 817495 w 1338888"/>
                <a:gd name="connsiteY22" fmla="*/ 1549437 h 2340917"/>
                <a:gd name="connsiteX23" fmla="*/ 821979 w 1338888"/>
                <a:gd name="connsiteY23" fmla="*/ 1554360 h 2340917"/>
                <a:gd name="connsiteX24" fmla="*/ 887612 w 1338888"/>
                <a:gd name="connsiteY24" fmla="*/ 1605409 h 2340917"/>
                <a:gd name="connsiteX25" fmla="*/ 957412 w 1338888"/>
                <a:gd name="connsiteY25" fmla="*/ 1643955 h 2340917"/>
                <a:gd name="connsiteX26" fmla="*/ 1035547 w 1338888"/>
                <a:gd name="connsiteY26" fmla="*/ 1671042 h 2340917"/>
                <a:gd name="connsiteX27" fmla="*/ 1117849 w 1338888"/>
                <a:gd name="connsiteY27" fmla="*/ 1687710 h 2340917"/>
                <a:gd name="connsiteX28" fmla="*/ 924075 w 1338888"/>
                <a:gd name="connsiteY28" fmla="*/ 2017960 h 2340917"/>
                <a:gd name="connsiteX29" fmla="*/ 1115765 w 1338888"/>
                <a:gd name="connsiteY29" fmla="*/ 2340917 h 2340917"/>
                <a:gd name="connsiteX30" fmla="*/ 984499 w 1338888"/>
                <a:gd name="connsiteY30" fmla="*/ 2328416 h 2340917"/>
                <a:gd name="connsiteX31" fmla="*/ 860525 w 1338888"/>
                <a:gd name="connsiteY31" fmla="*/ 2301329 h 2340917"/>
                <a:gd name="connsiteX32" fmla="*/ 741760 w 1338888"/>
                <a:gd name="connsiteY32" fmla="*/ 2260699 h 2340917"/>
                <a:gd name="connsiteX33" fmla="*/ 628205 w 1338888"/>
                <a:gd name="connsiteY33" fmla="*/ 2209651 h 2340917"/>
                <a:gd name="connsiteX34" fmla="*/ 520899 w 1338888"/>
                <a:gd name="connsiteY34" fmla="*/ 2144018 h 2340917"/>
                <a:gd name="connsiteX35" fmla="*/ 421929 w 1338888"/>
                <a:gd name="connsiteY35" fmla="*/ 2071092 h 2340917"/>
                <a:gd name="connsiteX36" fmla="*/ 332334 w 1338888"/>
                <a:gd name="connsiteY36" fmla="*/ 1986706 h 2340917"/>
                <a:gd name="connsiteX37" fmla="*/ 252116 w 1338888"/>
                <a:gd name="connsiteY37" fmla="*/ 1893986 h 2340917"/>
                <a:gd name="connsiteX38" fmla="*/ 179190 w 1338888"/>
                <a:gd name="connsiteY38" fmla="*/ 1791890 h 2340917"/>
                <a:gd name="connsiteX39" fmla="*/ 118766 w 1338888"/>
                <a:gd name="connsiteY39" fmla="*/ 1685627 h 2340917"/>
                <a:gd name="connsiteX40" fmla="*/ 70843 w 1338888"/>
                <a:gd name="connsiteY40" fmla="*/ 1568946 h 2340917"/>
                <a:gd name="connsiteX41" fmla="*/ 34380 w 1338888"/>
                <a:gd name="connsiteY41" fmla="*/ 1448097 h 2340917"/>
                <a:gd name="connsiteX42" fmla="*/ 25444 w 1338888"/>
                <a:gd name="connsiteY42" fmla="*/ 1403045 h 2340917"/>
                <a:gd name="connsiteX43" fmla="*/ 23961 w 1338888"/>
                <a:gd name="connsiteY43" fmla="*/ 1397325 h 2340917"/>
                <a:gd name="connsiteX44" fmla="*/ 22969 w 1338888"/>
                <a:gd name="connsiteY44" fmla="*/ 1390567 h 2340917"/>
                <a:gd name="connsiteX45" fmla="*/ 9377 w 1338888"/>
                <a:gd name="connsiteY45" fmla="*/ 1322040 h 2340917"/>
                <a:gd name="connsiteX46" fmla="*/ 1 w 1338888"/>
                <a:gd name="connsiteY46" fmla="*/ 1192857 h 2340917"/>
                <a:gd name="connsiteX47" fmla="*/ 1553 w 1338888"/>
                <a:gd name="connsiteY47" fmla="*/ 1191941 h 2340917"/>
                <a:gd name="connsiteX48" fmla="*/ 0 w 1338888"/>
                <a:gd name="connsiteY48" fmla="*/ 1167087 h 2340917"/>
                <a:gd name="connsiteX49" fmla="*/ 3559 w 1338888"/>
                <a:gd name="connsiteY49" fmla="*/ 1111676 h 2340917"/>
                <a:gd name="connsiteX50" fmla="*/ 179 w 1338888"/>
                <a:gd name="connsiteY50" fmla="*/ 1113682 h 2340917"/>
                <a:gd name="connsiteX51" fmla="*/ 12681 w 1338888"/>
                <a:gd name="connsiteY51" fmla="*/ 984499 h 2340917"/>
                <a:gd name="connsiteX52" fmla="*/ 41851 w 1338888"/>
                <a:gd name="connsiteY52" fmla="*/ 858441 h 2340917"/>
                <a:gd name="connsiteX53" fmla="*/ 48494 w 1338888"/>
                <a:gd name="connsiteY53" fmla="*/ 837975 h 2340917"/>
                <a:gd name="connsiteX54" fmla="*/ 51048 w 1338888"/>
                <a:gd name="connsiteY54" fmla="*/ 827462 h 2340917"/>
                <a:gd name="connsiteX55" fmla="*/ 51971 w 1338888"/>
                <a:gd name="connsiteY55" fmla="*/ 827259 h 2340917"/>
                <a:gd name="connsiteX56" fmla="*/ 80397 w 1338888"/>
                <a:gd name="connsiteY56" fmla="*/ 739676 h 2340917"/>
                <a:gd name="connsiteX57" fmla="*/ 133529 w 1338888"/>
                <a:gd name="connsiteY57" fmla="*/ 626120 h 2340917"/>
                <a:gd name="connsiteX58" fmla="*/ 197079 w 1338888"/>
                <a:gd name="connsiteY58" fmla="*/ 518815 h 2340917"/>
                <a:gd name="connsiteX59" fmla="*/ 270004 w 1338888"/>
                <a:gd name="connsiteY59" fmla="*/ 421928 h 2340917"/>
                <a:gd name="connsiteX60" fmla="*/ 354390 w 1338888"/>
                <a:gd name="connsiteY60" fmla="*/ 330250 h 2340917"/>
                <a:gd name="connsiteX61" fmla="*/ 447110 w 1338888"/>
                <a:gd name="connsiteY61" fmla="*/ 250032 h 2340917"/>
                <a:gd name="connsiteX62" fmla="*/ 548164 w 1338888"/>
                <a:gd name="connsiteY62" fmla="*/ 179189 h 2340917"/>
                <a:gd name="connsiteX63" fmla="*/ 655469 w 1338888"/>
                <a:gd name="connsiteY63" fmla="*/ 118765 h 2340917"/>
                <a:gd name="connsiteX64" fmla="*/ 772151 w 1338888"/>
                <a:gd name="connsiteY64" fmla="*/ 67717 h 2340917"/>
                <a:gd name="connsiteX65" fmla="*/ 892999 w 1338888"/>
                <a:gd name="connsiteY65" fmla="*/ 31254 h 2340917"/>
                <a:gd name="connsiteX66" fmla="*/ 1019056 w 1338888"/>
                <a:gd name="connsiteY66" fmla="*/ 9376 h 2340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338888" h="2340917">
                  <a:moveTo>
                    <a:pt x="1147197" y="0"/>
                  </a:moveTo>
                  <a:lnTo>
                    <a:pt x="1338888" y="325041"/>
                  </a:lnTo>
                  <a:lnTo>
                    <a:pt x="1147197" y="652165"/>
                  </a:lnTo>
                  <a:lnTo>
                    <a:pt x="1064895" y="662583"/>
                  </a:lnTo>
                  <a:lnTo>
                    <a:pt x="984677" y="686545"/>
                  </a:lnTo>
                  <a:lnTo>
                    <a:pt x="911751" y="719882"/>
                  </a:lnTo>
                  <a:lnTo>
                    <a:pt x="844035" y="766763"/>
                  </a:lnTo>
                  <a:lnTo>
                    <a:pt x="785694" y="821978"/>
                  </a:lnTo>
                  <a:lnTo>
                    <a:pt x="735688" y="885528"/>
                  </a:lnTo>
                  <a:lnTo>
                    <a:pt x="696099" y="955328"/>
                  </a:lnTo>
                  <a:lnTo>
                    <a:pt x="670054" y="1033463"/>
                  </a:lnTo>
                  <a:lnTo>
                    <a:pt x="653453" y="1110612"/>
                  </a:lnTo>
                  <a:lnTo>
                    <a:pt x="650081" y="1167087"/>
                  </a:lnTo>
                  <a:lnTo>
                    <a:pt x="651533" y="1192486"/>
                  </a:lnTo>
                  <a:lnTo>
                    <a:pt x="652166" y="1192857"/>
                  </a:lnTo>
                  <a:lnTo>
                    <a:pt x="664667" y="1278284"/>
                  </a:lnTo>
                  <a:lnTo>
                    <a:pt x="686545" y="1355377"/>
                  </a:lnTo>
                  <a:lnTo>
                    <a:pt x="720928" y="1427090"/>
                  </a:lnTo>
                  <a:lnTo>
                    <a:pt x="723759" y="1432486"/>
                  </a:lnTo>
                  <a:lnTo>
                    <a:pt x="749587" y="1468881"/>
                  </a:lnTo>
                  <a:lnTo>
                    <a:pt x="770930" y="1497337"/>
                  </a:lnTo>
                  <a:lnTo>
                    <a:pt x="819894" y="1548385"/>
                  </a:lnTo>
                  <a:lnTo>
                    <a:pt x="817495" y="1549437"/>
                  </a:lnTo>
                  <a:lnTo>
                    <a:pt x="821979" y="1554360"/>
                  </a:lnTo>
                  <a:lnTo>
                    <a:pt x="887612" y="1605409"/>
                  </a:lnTo>
                  <a:lnTo>
                    <a:pt x="957412" y="1643955"/>
                  </a:lnTo>
                  <a:lnTo>
                    <a:pt x="1035547" y="1671042"/>
                  </a:lnTo>
                  <a:lnTo>
                    <a:pt x="1117849" y="1687710"/>
                  </a:lnTo>
                  <a:lnTo>
                    <a:pt x="924075" y="2017960"/>
                  </a:lnTo>
                  <a:lnTo>
                    <a:pt x="1115765" y="2340917"/>
                  </a:lnTo>
                  <a:lnTo>
                    <a:pt x="984499" y="2328416"/>
                  </a:lnTo>
                  <a:lnTo>
                    <a:pt x="860525" y="2301329"/>
                  </a:lnTo>
                  <a:lnTo>
                    <a:pt x="741760" y="2260699"/>
                  </a:lnTo>
                  <a:lnTo>
                    <a:pt x="628205" y="2209651"/>
                  </a:lnTo>
                  <a:lnTo>
                    <a:pt x="520899" y="2144018"/>
                  </a:lnTo>
                  <a:lnTo>
                    <a:pt x="421929" y="2071092"/>
                  </a:lnTo>
                  <a:lnTo>
                    <a:pt x="332334" y="1986706"/>
                  </a:lnTo>
                  <a:lnTo>
                    <a:pt x="252116" y="1893986"/>
                  </a:lnTo>
                  <a:lnTo>
                    <a:pt x="179190" y="1791890"/>
                  </a:lnTo>
                  <a:lnTo>
                    <a:pt x="118766" y="1685627"/>
                  </a:lnTo>
                  <a:lnTo>
                    <a:pt x="70843" y="1568946"/>
                  </a:lnTo>
                  <a:lnTo>
                    <a:pt x="34380" y="1448097"/>
                  </a:lnTo>
                  <a:lnTo>
                    <a:pt x="25444" y="1403045"/>
                  </a:lnTo>
                  <a:lnTo>
                    <a:pt x="23961" y="1397325"/>
                  </a:lnTo>
                  <a:lnTo>
                    <a:pt x="22969" y="1390567"/>
                  </a:lnTo>
                  <a:lnTo>
                    <a:pt x="9377" y="1322040"/>
                  </a:lnTo>
                  <a:lnTo>
                    <a:pt x="1" y="1192857"/>
                  </a:lnTo>
                  <a:lnTo>
                    <a:pt x="1553" y="1191941"/>
                  </a:lnTo>
                  <a:lnTo>
                    <a:pt x="0" y="1167087"/>
                  </a:lnTo>
                  <a:lnTo>
                    <a:pt x="3559" y="1111676"/>
                  </a:lnTo>
                  <a:lnTo>
                    <a:pt x="179" y="1113682"/>
                  </a:lnTo>
                  <a:lnTo>
                    <a:pt x="12681" y="984499"/>
                  </a:lnTo>
                  <a:lnTo>
                    <a:pt x="41851" y="858441"/>
                  </a:lnTo>
                  <a:lnTo>
                    <a:pt x="48494" y="837975"/>
                  </a:lnTo>
                  <a:lnTo>
                    <a:pt x="51048" y="827462"/>
                  </a:lnTo>
                  <a:lnTo>
                    <a:pt x="51971" y="827259"/>
                  </a:lnTo>
                  <a:lnTo>
                    <a:pt x="80397" y="739676"/>
                  </a:lnTo>
                  <a:lnTo>
                    <a:pt x="133529" y="626120"/>
                  </a:lnTo>
                  <a:lnTo>
                    <a:pt x="197079" y="518815"/>
                  </a:lnTo>
                  <a:lnTo>
                    <a:pt x="270004" y="421928"/>
                  </a:lnTo>
                  <a:lnTo>
                    <a:pt x="354390" y="330250"/>
                  </a:lnTo>
                  <a:lnTo>
                    <a:pt x="447110" y="250032"/>
                  </a:lnTo>
                  <a:lnTo>
                    <a:pt x="548164" y="179189"/>
                  </a:lnTo>
                  <a:lnTo>
                    <a:pt x="655469" y="118765"/>
                  </a:lnTo>
                  <a:lnTo>
                    <a:pt x="772151" y="67717"/>
                  </a:lnTo>
                  <a:lnTo>
                    <a:pt x="892999" y="31254"/>
                  </a:lnTo>
                  <a:lnTo>
                    <a:pt x="1019056" y="937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00858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4BC12C-26A0-B637-DABD-F35CF084D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losur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EB5E4B-C63C-ECFF-BC9E-BD573BAD5C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0260D9-09E0-BC2E-B3DE-E13E3538F59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B9DEBA-639A-225F-6CBC-BFC807D7A70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23C03F-6D5C-17CA-4B6E-1E9FB6F66D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F5DBD54-6A35-DAF0-F708-748C536B2791}"/>
              </a:ext>
            </a:extLst>
          </p:cNvPr>
          <p:cNvSpPr/>
          <p:nvPr/>
        </p:nvSpPr>
        <p:spPr>
          <a:xfrm>
            <a:off x="623887" y="1832795"/>
            <a:ext cx="9700843" cy="304992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in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‚Hello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Node.j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kale Variable vo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ini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display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losure</a:t>
            </a:r>
            <a:endParaRPr lang="de-DE" sz="1400" dirty="0">
              <a:solidFill>
                <a:srgbClr val="6A9955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onsole.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;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Variable der äußeren Funktion ist hier verfügba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endParaRPr lang="de-DE" sz="1400" dirty="0">
              <a:solidFill>
                <a:srgbClr val="DCDCAA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display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in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;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A99DADC-2571-5A63-5425-B5E194B14B63}"/>
              </a:ext>
            </a:extLst>
          </p:cNvPr>
          <p:cNvSpPr/>
          <p:nvPr/>
        </p:nvSpPr>
        <p:spPr>
          <a:xfrm>
            <a:off x="9917723" y="123679"/>
            <a:ext cx="2180492" cy="1325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Weg?</a:t>
            </a:r>
          </a:p>
        </p:txBody>
      </p:sp>
    </p:spTree>
    <p:extLst>
      <p:ext uri="{BB962C8B-B14F-4D97-AF65-F5344CB8AC3E}">
        <p14:creationId xmlns:p14="http://schemas.microsoft.com/office/powerpoint/2010/main" val="32321452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151D00-AACB-A54E-933E-33C42987A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odo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D74C122-FDEB-FB42-9DE9-D6542E2FFC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11AF08-2A72-3649-956E-FB8544F2288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37745B4-29F0-F541-9DDC-C81BEB1AC1F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98FF9A-9724-7946-BC71-DD2C3CFF6E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A9E9C10-BB7E-E54A-B2E6-DA4500FA18DC}"/>
              </a:ext>
            </a:extLst>
          </p:cNvPr>
          <p:cNvSpPr txBox="1">
            <a:spLocks/>
          </p:cNvSpPr>
          <p:nvPr/>
        </p:nvSpPr>
        <p:spPr>
          <a:xfrm>
            <a:off x="623888" y="1564845"/>
            <a:ext cx="10074592" cy="4308328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sym typeface="Wingdings" pitchFamily="2" charset="2"/>
              </a:rPr>
              <a:t>Bei den aufgaben </a:t>
            </a:r>
            <a:r>
              <a:rPr lang="de-DE" sz="1200" dirty="0" err="1">
                <a:sym typeface="Wingdings" pitchFamily="2" charset="2"/>
              </a:rPr>
              <a:t>iwie</a:t>
            </a:r>
            <a:r>
              <a:rPr lang="de-DE" sz="1200" dirty="0">
                <a:sym typeface="Wingdings" pitchFamily="2" charset="2"/>
              </a:rPr>
              <a:t> den code von den </a:t>
            </a:r>
            <a:r>
              <a:rPr lang="de-DE" sz="1200" dirty="0" err="1">
                <a:sym typeface="Wingdings" pitchFamily="2" charset="2"/>
              </a:rPr>
              <a:t>beispielen</a:t>
            </a:r>
            <a:r>
              <a:rPr lang="de-DE" sz="1200" dirty="0">
                <a:sym typeface="Wingdings" pitchFamily="2" charset="2"/>
              </a:rPr>
              <a:t> vorher zur </a:t>
            </a:r>
            <a:r>
              <a:rPr lang="de-DE" sz="1200" dirty="0" err="1">
                <a:sym typeface="Wingdings" pitchFamily="2" charset="2"/>
              </a:rPr>
              <a:t>verfügung</a:t>
            </a:r>
            <a:r>
              <a:rPr lang="de-DE" sz="1200" dirty="0">
                <a:sym typeface="Wingdings" pitchFamily="2" charset="2"/>
              </a:rPr>
              <a:t> stellen, damit man sich dran orientieren kann</a:t>
            </a:r>
          </a:p>
          <a:p>
            <a:r>
              <a:rPr lang="de-DE" sz="1200" dirty="0">
                <a:sym typeface="Wingdings" pitchFamily="2" charset="2"/>
              </a:rPr>
              <a:t>Kapitel überall einblenden</a:t>
            </a:r>
          </a:p>
          <a:p>
            <a:pPr lvl="1"/>
            <a:r>
              <a:rPr lang="de-DE" sz="1200" dirty="0">
                <a:sym typeface="Wingdings" pitchFamily="2" charset="2"/>
              </a:rPr>
              <a:t>Aufteilung bleibt so?</a:t>
            </a:r>
          </a:p>
          <a:p>
            <a:endParaRPr lang="de-DE" sz="1200" dirty="0">
              <a:sym typeface="Wingdings" pitchFamily="2" charset="2"/>
            </a:endParaRPr>
          </a:p>
          <a:p>
            <a:endParaRPr lang="de-DE" sz="1200" dirty="0">
              <a:sym typeface="Wingdings" pitchFamily="2" charset="2"/>
            </a:endParaRPr>
          </a:p>
          <a:p>
            <a:r>
              <a:rPr lang="de-DE" sz="1200" dirty="0">
                <a:sym typeface="Wingdings" pitchFamily="2" charset="2"/>
              </a:rPr>
              <a:t>Prüfen ob alles korrekt:</a:t>
            </a:r>
          </a:p>
          <a:p>
            <a:pPr lvl="1"/>
            <a:r>
              <a:rPr lang="de-DE" sz="1200" dirty="0">
                <a:sym typeface="Wingdings" pitchFamily="2" charset="2"/>
              </a:rPr>
              <a:t>Videos einbetten</a:t>
            </a:r>
          </a:p>
          <a:p>
            <a:pPr lvl="1"/>
            <a:r>
              <a:rPr lang="de-DE" sz="1200" dirty="0" err="1">
                <a:sym typeface="Wingdings" pitchFamily="2" charset="2"/>
              </a:rPr>
              <a:t>Bullets</a:t>
            </a:r>
            <a:r>
              <a:rPr lang="de-DE" sz="1200" dirty="0">
                <a:sym typeface="Wingdings" pitchFamily="2" charset="2"/>
              </a:rPr>
              <a:t> nacheinander einblenden – eher nicht wenn </a:t>
            </a:r>
            <a:r>
              <a:rPr lang="de-DE" sz="1200" dirty="0" err="1">
                <a:sym typeface="Wingdings" pitchFamily="2" charset="2"/>
              </a:rPr>
              <a:t>grafiken</a:t>
            </a:r>
            <a:r>
              <a:rPr lang="de-DE" sz="1200" dirty="0">
                <a:sym typeface="Wingdings" pitchFamily="2" charset="2"/>
              </a:rPr>
              <a:t> und so am </a:t>
            </a:r>
            <a:r>
              <a:rPr lang="de-DE" sz="1200" dirty="0" err="1">
                <a:sym typeface="Wingdings" pitchFamily="2" charset="2"/>
              </a:rPr>
              <a:t>start</a:t>
            </a:r>
            <a:r>
              <a:rPr lang="de-DE" sz="1200" dirty="0">
                <a:sym typeface="Wingdings" pitchFamily="2" charset="2"/>
              </a:rPr>
              <a:t>?! Passt jetzt?</a:t>
            </a:r>
          </a:p>
          <a:p>
            <a:pPr lvl="1"/>
            <a:r>
              <a:rPr lang="de-DE" sz="1200" dirty="0">
                <a:sym typeface="Wingdings" pitchFamily="2" charset="2"/>
              </a:rPr>
              <a:t>Ab 07-flowing durchgehen und </a:t>
            </a:r>
            <a:r>
              <a:rPr lang="de-DE" sz="1200" dirty="0" err="1">
                <a:sym typeface="Wingdings" pitchFamily="2" charset="2"/>
              </a:rPr>
              <a:t>readmes</a:t>
            </a:r>
            <a:r>
              <a:rPr lang="de-DE" sz="1200" dirty="0">
                <a:sym typeface="Wingdings" pitchFamily="2" charset="2"/>
              </a:rPr>
              <a:t> so schreiben, dass alles drinsteht für live </a:t>
            </a:r>
            <a:r>
              <a:rPr lang="de-DE" sz="1200" dirty="0" err="1">
                <a:sym typeface="Wingdings" pitchFamily="2" charset="2"/>
              </a:rPr>
              <a:t>coding</a:t>
            </a:r>
            <a:endParaRPr lang="de-DE" sz="1200" dirty="0">
              <a:sym typeface="Wingdings" pitchFamily="2" charset="2"/>
            </a:endParaRPr>
          </a:p>
          <a:p>
            <a:pPr lvl="2"/>
            <a:r>
              <a:rPr lang="de-DE" sz="1200" dirty="0">
                <a:sym typeface="Wingdings" pitchFamily="2" charset="2"/>
              </a:rPr>
              <a:t>Alle Beispiele brauchen </a:t>
            </a:r>
            <a:r>
              <a:rPr lang="de-DE" sz="1200" dirty="0" err="1">
                <a:sym typeface="Wingdings" pitchFamily="2" charset="2"/>
              </a:rPr>
              <a:t>readmes</a:t>
            </a:r>
            <a:r>
              <a:rPr lang="de-DE" sz="1200" dirty="0">
                <a:sym typeface="Wingdings" pitchFamily="2" charset="2"/>
              </a:rPr>
              <a:t>! Zum </a:t>
            </a:r>
            <a:r>
              <a:rPr lang="de-DE" sz="1200" dirty="0" err="1">
                <a:sym typeface="Wingdings" pitchFamily="2" charset="2"/>
              </a:rPr>
              <a:t>nachcoden</a:t>
            </a:r>
            <a:endParaRPr lang="de-DE" sz="1200" dirty="0">
              <a:sym typeface="Wingdings" pitchFamily="2" charset="2"/>
            </a:endParaRPr>
          </a:p>
          <a:p>
            <a:pPr lvl="1"/>
            <a:r>
              <a:rPr lang="de-DE" sz="1200" dirty="0">
                <a:sym typeface="Wingdings" pitchFamily="2" charset="2"/>
              </a:rPr>
              <a:t>Was in den </a:t>
            </a:r>
            <a:r>
              <a:rPr lang="de-DE" sz="1200" dirty="0" err="1">
                <a:sym typeface="Wingdings" pitchFamily="2" charset="2"/>
              </a:rPr>
              <a:t>anhang</a:t>
            </a:r>
            <a:r>
              <a:rPr lang="de-DE" sz="1200" dirty="0">
                <a:sym typeface="Wingdings" pitchFamily="2" charset="2"/>
              </a:rPr>
              <a:t>? Diese Beispiele mit paar </a:t>
            </a:r>
            <a:r>
              <a:rPr lang="de-DE" sz="1200" dirty="0" err="1">
                <a:sym typeface="Wingdings" pitchFamily="2" charset="2"/>
              </a:rPr>
              <a:t>Bullets</a:t>
            </a:r>
            <a:r>
              <a:rPr lang="de-DE" sz="1200" dirty="0">
                <a:sym typeface="Wingdings" pitchFamily="2" charset="2"/>
              </a:rPr>
              <a:t> erläutern</a:t>
            </a:r>
          </a:p>
          <a:p>
            <a:pPr lvl="1"/>
            <a:r>
              <a:rPr lang="de-DE" sz="1200" dirty="0">
                <a:sym typeface="Wingdings" pitchFamily="2" charset="2"/>
              </a:rPr>
              <a:t>Aufgaben </a:t>
            </a:r>
            <a:r>
              <a:rPr lang="de-DE" sz="1200" dirty="0" err="1">
                <a:sym typeface="Wingdings" pitchFamily="2" charset="2"/>
              </a:rPr>
              <a:t>einleitung</a:t>
            </a:r>
            <a:r>
              <a:rPr lang="de-DE" sz="1200" dirty="0">
                <a:sym typeface="Wingdings" pitchFamily="2" charset="2"/>
              </a:rPr>
              <a:t> was </a:t>
            </a:r>
            <a:r>
              <a:rPr lang="de-DE" sz="1200" dirty="0" err="1">
                <a:sym typeface="Wingdings" pitchFamily="2" charset="2"/>
              </a:rPr>
              <a:t>gecoded</a:t>
            </a:r>
            <a:r>
              <a:rPr lang="de-DE" sz="1200" dirty="0">
                <a:sym typeface="Wingdings" pitchFamily="2" charset="2"/>
              </a:rPr>
              <a:t> wird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BCF0747-1BDC-3BE4-7FC4-8B19B4494325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FCD9793-185A-102E-6953-4CBB32B58F41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330781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können auch synchron sei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8157127-8349-B4A3-57A5-A76A276A9FCC}"/>
              </a:ext>
            </a:extLst>
          </p:cNvPr>
          <p:cNvSpPr/>
          <p:nvPr/>
        </p:nvSpPr>
        <p:spPr>
          <a:xfrm>
            <a:off x="2406570" y="4115578"/>
            <a:ext cx="5963524" cy="69470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7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p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-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[0, 4, 6]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3A6C481-A68B-7928-9637-F2C5A555C3B5}"/>
              </a:ext>
            </a:extLst>
          </p:cNvPr>
          <p:cNvSpPr/>
          <p:nvPr/>
        </p:nvSpPr>
        <p:spPr>
          <a:xfrm>
            <a:off x="2406570" y="2385220"/>
            <a:ext cx="5963524" cy="105339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7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p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-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[0, 4, 6]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322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– Beispiel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eispiel 01-callbacks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synchroner API Aufruf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fruf Datenbank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ückgabe Daten</a:t>
            </a:r>
          </a:p>
        </p:txBody>
      </p:sp>
    </p:spTree>
    <p:extLst>
      <p:ext uri="{BB962C8B-B14F-4D97-AF65-F5344CB8AC3E}">
        <p14:creationId xmlns:p14="http://schemas.microsoft.com/office/powerpoint/2010/main" val="38216139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6465D1-BD3C-78CB-1C24-6C5FA68FE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0A644A0-2B6C-F51F-72A1-2CE192FD27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3CDDFD-E2E8-F945-49EA-601695BFB45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114069-6FD0-9ED8-8B82-BBFCA577624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746E288-1826-0F7F-8458-57796DA5763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2</a:t>
            </a:fld>
            <a:endParaRPr lang="de-DE" dirty="0"/>
          </a:p>
        </p:txBody>
      </p:sp>
      <p:pic>
        <p:nvPicPr>
          <p:cNvPr id="11" name="01-callbacks.mov" descr="01-callbacks.mov">
            <a:hlinkClick r:id="" action="ppaction://media"/>
            <a:extLst>
              <a:ext uri="{FF2B5EF4-FFF2-40B4-BE49-F238E27FC236}">
                <a16:creationId xmlns:a16="http://schemas.microsoft.com/office/drawing/2014/main" id="{A7CB55BE-5052-250A-F31D-199AA89D749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41300" y="0"/>
            <a:ext cx="117094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677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8435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ema für </a:t>
            </a:r>
            <a:r>
              <a:rPr lang="de-DE" dirty="0" err="1"/>
              <a:t>Callbacks</a:t>
            </a:r>
            <a:r>
              <a:rPr lang="de-DE" dirty="0"/>
              <a:t> für asynchrone Operation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2070473" y="2668555"/>
            <a:ext cx="8051053" cy="152089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Error zuers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b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syn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aram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aram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ist immer letzter Paramet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0308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mieren mit </a:t>
            </a:r>
            <a:r>
              <a:rPr lang="de-DE" dirty="0" err="1"/>
              <a:t>Callbacks</a:t>
            </a:r>
            <a:r>
              <a:rPr lang="de-DE" dirty="0"/>
              <a:t> kann schnell zu Callback Hell wer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4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24E7D77-BAA9-53C1-1FDF-EF01E2B6A7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8" y="1694147"/>
            <a:ext cx="10852459" cy="4194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0916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9CDCFE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en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9586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8F9A711-35F0-2DB0-69D4-85A409A5E58E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9CDCFE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en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Funktion hier verlassen</a:t>
            </a:r>
            <a:endParaRPr lang="de-DE" sz="1400" dirty="0">
              <a:solidFill>
                <a:srgbClr val="DCDCAA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3694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98CB20-E575-F575-729F-D8B19DB88B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AF5480B-BA4D-7E49-BB0D-5A18846FB0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FC35D2-0781-D48E-46D4-18583E8B7B6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B88891F-D878-E728-0F43-275D6059DFC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11EEB3C-F88B-B9DA-C163-B89CDD2B951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5A9564-1AF4-AC46-D154-7BF328C9A839}"/>
              </a:ext>
            </a:extLst>
          </p:cNvPr>
          <p:cNvSpPr/>
          <p:nvPr/>
        </p:nvSpPr>
        <p:spPr>
          <a:xfrm>
            <a:off x="824948" y="1520687"/>
            <a:ext cx="8306352" cy="3906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r>
              <a:rPr lang="de-DE" sz="1400" dirty="0"/>
              <a:t>Hier </a:t>
            </a:r>
            <a:r>
              <a:rPr lang="de-DE" sz="1400" dirty="0" err="1"/>
              <a:t>kapiteltrenner</a:t>
            </a:r>
            <a:r>
              <a:rPr lang="de-DE" sz="1400" dirty="0"/>
              <a:t> oder so?</a:t>
            </a:r>
          </a:p>
        </p:txBody>
      </p:sp>
    </p:spTree>
    <p:extLst>
      <p:ext uri="{BB962C8B-B14F-4D97-AF65-F5344CB8AC3E}">
        <p14:creationId xmlns:p14="http://schemas.microsoft.com/office/powerpoint/2010/main" val="161041415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</a:t>
            </a:r>
            <a:r>
              <a:rPr lang="de-DE" dirty="0"/>
              <a:t> Objekt repräsentiert die letztendliche Vollendung oder Fehlschlag einer asynchronen Operation und dem resultierenden Wer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8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EC256C7-04A1-60AD-3D68-0952399679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714" y="1805317"/>
            <a:ext cx="9218719" cy="3418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9962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r>
              <a:rPr lang="de-DE" dirty="0"/>
              <a:t> – Beispiel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eispiel 02-promises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Refactoring</a:t>
            </a:r>
            <a:r>
              <a:rPr lang="de-DE" sz="1400" dirty="0"/>
              <a:t> von Beispiel 01 hin zur teilweisen Nutzung von </a:t>
            </a:r>
            <a:r>
              <a:rPr lang="de-DE" sz="1400" dirty="0" err="1"/>
              <a:t>Promises</a:t>
            </a:r>
            <a:endParaRPr lang="de-DE" sz="1400" dirty="0"/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Refactoring</a:t>
            </a:r>
            <a:r>
              <a:rPr lang="de-DE" sz="1400" dirty="0"/>
              <a:t> zur vollständigen Nutzung von </a:t>
            </a:r>
            <a:r>
              <a:rPr lang="de-DE" sz="1400" dirty="0" err="1"/>
              <a:t>Promises</a:t>
            </a:r>
            <a:endParaRPr lang="de-DE" sz="1400" dirty="0"/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Errorhandling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6344961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78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Bildplatzhalter 55" descr="Ein Bild, das Text, Tisch, Esstisch enthält.&#10;&#10;Automatisch generierte Beschreibung">
            <a:extLst>
              <a:ext uri="{FF2B5EF4-FFF2-40B4-BE49-F238E27FC236}">
                <a16:creationId xmlns:a16="http://schemas.microsoft.com/office/drawing/2014/main" id="{0B986298-D0F7-4E72-9AA9-13989BC25ED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4123" r="4123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Vorstellungsrund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7CE6A335-36FC-4D26-A4FE-73246A3246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Wer bin ich?</a:t>
            </a:r>
          </a:p>
          <a:p>
            <a:r>
              <a:rPr lang="de-DE" dirty="0"/>
              <a:t>(z.B. Name, Alter, wo komme ich her, …)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F950E59D-69F1-4E3E-883D-CAFA8AC5EFC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Fachlicher Schwerpunk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F7399C5A-099E-4759-AF90-0C1639CD0CA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Bisherige Erfahrungen mit </a:t>
            </a:r>
            <a:r>
              <a:rPr lang="de-DE" dirty="0" err="1"/>
              <a:t>Javascript</a:t>
            </a:r>
            <a:r>
              <a:rPr lang="de-DE" dirty="0"/>
              <a:t> bzw.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016B79B2-53D3-4CC8-BDFD-0A50FE110B22}" type="datetime1">
              <a:rPr lang="de-DE" smtClean="0">
                <a:solidFill>
                  <a:schemeClr val="bg1"/>
                </a:solidFill>
              </a:rPr>
              <a:pPr/>
              <a:t>09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3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FDDB087-270F-494D-8C85-A645C7A0742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6AC0E6A5-0816-51B7-94E5-420AA29AD294}"/>
              </a:ext>
            </a:extLst>
          </p:cNvPr>
          <p:cNvSpPr/>
          <p:nvPr/>
        </p:nvSpPr>
        <p:spPr>
          <a:xfrm>
            <a:off x="6568893" y="143065"/>
            <a:ext cx="2180492" cy="1325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 err="1"/>
              <a:t>todo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5459312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FC8A02-0AF0-352D-CAA4-C175012FD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7C33F68-206B-28E2-849C-149FE58FDD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C01B9A-B08B-E687-5A92-90F7A422174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1E4F4CF-C42A-A4E2-E7AF-3308350A280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5FA900-8EFE-4E75-3563-26FD79A2CBF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0</a:t>
            </a:fld>
            <a:endParaRPr lang="de-DE" dirty="0"/>
          </a:p>
        </p:txBody>
      </p:sp>
      <p:pic>
        <p:nvPicPr>
          <p:cNvPr id="8" name="02-promises-01.mov" descr="02-promises-01.mov">
            <a:hlinkClick r:id="" action="ppaction://media"/>
            <a:extLst>
              <a:ext uri="{FF2B5EF4-FFF2-40B4-BE49-F238E27FC236}">
                <a16:creationId xmlns:a16="http://schemas.microsoft.com/office/drawing/2014/main" id="{0DD9E1A2-F59B-9B69-561E-605D939D6A9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4088" y="0"/>
            <a:ext cx="102822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005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9366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0120D5-ABCC-2C66-B351-09FDD7168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E184DBD-221E-1A06-E122-5A4A0A3291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AF6F44D-4427-47D8-CBDF-278B6C51D81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32CD94-EDE3-A730-3C08-753A810F620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E0686C-6A89-9300-A099-E94BE3E3502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1</a:t>
            </a:fld>
            <a:endParaRPr lang="de-DE" dirty="0"/>
          </a:p>
        </p:txBody>
      </p:sp>
      <p:pic>
        <p:nvPicPr>
          <p:cNvPr id="8" name="02-promises-02.mov" descr="02-promises-02.mov">
            <a:hlinkClick r:id="" action="ppaction://media"/>
            <a:extLst>
              <a:ext uri="{FF2B5EF4-FFF2-40B4-BE49-F238E27FC236}">
                <a16:creationId xmlns:a16="http://schemas.microsoft.com/office/drawing/2014/main" id="{D9D494E0-7660-267A-06A7-610C3F7CB04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4088" y="0"/>
            <a:ext cx="102822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777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72516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770CA1-029B-B4CF-A234-AE5A8074F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591295-0B88-1D58-28FE-B769608368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6CBAEBA-A631-FCE8-56C6-5A97B66B658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45EE10-7C52-F501-2BEC-569D982F44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1BB716-AF6D-9BDD-2E92-87E43CD7D0D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2</a:t>
            </a:fld>
            <a:endParaRPr lang="de-DE" dirty="0"/>
          </a:p>
        </p:txBody>
      </p:sp>
      <p:pic>
        <p:nvPicPr>
          <p:cNvPr id="9" name="02-promises-03.mov" descr="02-promises-03.mov">
            <a:hlinkClick r:id="" action="ppaction://media"/>
            <a:extLst>
              <a:ext uri="{FF2B5EF4-FFF2-40B4-BE49-F238E27FC236}">
                <a16:creationId xmlns:a16="http://schemas.microsoft.com/office/drawing/2014/main" id="{2D8FC775-0807-EF86-35DB-C990940EE34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4088" y="0"/>
            <a:ext cx="102822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948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8216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56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Vergleich </a:t>
            </a:r>
            <a:r>
              <a:rPr lang="de-DE" dirty="0" err="1"/>
              <a:t>Callbacks</a:t>
            </a:r>
            <a:r>
              <a:rPr lang="de-DE" dirty="0"/>
              <a:t> und </a:t>
            </a:r>
            <a:r>
              <a:rPr lang="de-DE" dirty="0" err="1"/>
              <a:t>Promise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/>
              <a:t>Standard API, keine Konvention wie bei </a:t>
            </a:r>
            <a:r>
              <a:rPr lang="de-DE" dirty="0" err="1"/>
              <a:t>Callbacks</a:t>
            </a:r>
            <a:r>
              <a:rPr lang="de-DE" dirty="0"/>
              <a:t> notwendig (</a:t>
            </a:r>
            <a:r>
              <a:rPr lang="de-DE" dirty="0" err="1"/>
              <a:t>setTimeout</a:t>
            </a:r>
            <a:r>
              <a:rPr lang="de-DE" dirty="0"/>
              <a:t>)</a:t>
            </a:r>
          </a:p>
          <a:p>
            <a:pPr lvl="0"/>
            <a:r>
              <a:rPr lang="de-DE" dirty="0"/>
              <a:t>Durch Chainen kürzere Syntax, nur einmal catch notwendig</a:t>
            </a:r>
          </a:p>
          <a:p>
            <a:pPr lvl="0"/>
            <a:r>
              <a:rPr lang="de-DE" dirty="0"/>
              <a:t>Übersichtlicher, da man keine CBs aufruft, die an anderer Stelle definiert wurd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90C07506-CDCE-4FCE-A4A5-F49D5CABE248}"/>
              </a:ext>
            </a:extLst>
          </p:cNvPr>
          <p:cNvSpPr txBox="1">
            <a:spLocks/>
          </p:cNvSpPr>
          <p:nvPr/>
        </p:nvSpPr>
        <p:spPr bwMode="gray">
          <a:xfrm>
            <a:off x="623887" y="2152705"/>
            <a:ext cx="712097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 err="1">
                <a:latin typeface="+mj-lt"/>
              </a:rPr>
              <a:t>Callbacks</a:t>
            </a:r>
            <a:endParaRPr lang="de-DE" sz="1800" dirty="0">
              <a:latin typeface="+mj-lt"/>
            </a:endParaRP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1363C7AB-6907-492B-B8F7-A7AB640025D8}"/>
              </a:ext>
            </a:extLst>
          </p:cNvPr>
          <p:cNvSpPr txBox="1">
            <a:spLocks/>
          </p:cNvSpPr>
          <p:nvPr/>
        </p:nvSpPr>
        <p:spPr bwMode="gray">
          <a:xfrm>
            <a:off x="623887" y="4946468"/>
            <a:ext cx="712097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 err="1">
                <a:latin typeface="+mj-lt"/>
              </a:rPr>
              <a:t>Promises</a:t>
            </a:r>
            <a:endParaRPr lang="de-DE" sz="1800" dirty="0">
              <a:latin typeface="+mj-lt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A875970-DEBB-440A-8F6D-DD77A7E526F5}"/>
              </a:ext>
            </a:extLst>
          </p:cNvPr>
          <p:cNvCxnSpPr>
            <a:cxnSpLocks/>
          </p:cNvCxnSpPr>
          <p:nvPr/>
        </p:nvCxnSpPr>
        <p:spPr bwMode="gray">
          <a:xfrm>
            <a:off x="623888" y="3582685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F10260D-8793-4F05-C3F3-ED196AF2A719}"/>
              </a:ext>
            </a:extLst>
          </p:cNvPr>
          <p:cNvSpPr/>
          <p:nvPr/>
        </p:nvSpPr>
        <p:spPr>
          <a:xfrm>
            <a:off x="2551010" y="1491205"/>
            <a:ext cx="4260273" cy="167469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el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 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1A819F4-1C5D-1BA6-61D5-16F95D1B398D}"/>
              </a:ext>
            </a:extLst>
          </p:cNvPr>
          <p:cNvSpPr/>
          <p:nvPr/>
        </p:nvSpPr>
        <p:spPr>
          <a:xfrm>
            <a:off x="2551010" y="3961622"/>
            <a:ext cx="4260273" cy="23471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functionReturningPromi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ar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c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rrorhandl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49630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9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9998535" cy="1762021"/>
          </a:xfrm>
        </p:spPr>
        <p:txBody>
          <a:bodyPr/>
          <a:lstStyle/>
          <a:p>
            <a:r>
              <a:rPr lang="de-DE" sz="5600" dirty="0" err="1"/>
              <a:t>Promises</a:t>
            </a:r>
            <a:r>
              <a:rPr lang="de-DE" sz="5600" dirty="0"/>
              <a:t> vereinfachen das</a:t>
            </a:r>
          </a:p>
          <a:p>
            <a:r>
              <a:rPr lang="de-DE" sz="5600" dirty="0"/>
              <a:t>Arbeiten mit asynchronen </a:t>
            </a:r>
            <a:r>
              <a:rPr lang="de-DE" sz="5600" dirty="0" err="1"/>
              <a:t>apis</a:t>
            </a:r>
            <a:endParaRPr lang="de-DE" sz="5600" dirty="0"/>
          </a:p>
        </p:txBody>
      </p:sp>
    </p:spTree>
    <p:extLst>
      <p:ext uri="{BB962C8B-B14F-4D97-AF65-F5344CB8AC3E}">
        <p14:creationId xmlns:p14="http://schemas.microsoft.com/office/powerpoint/2010/main" val="372760552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l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…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235715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l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nächste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weiterreichen für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hain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)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…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960352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</a:t>
            </a:r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eispiel 03-async-await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Refactoring</a:t>
            </a:r>
            <a:r>
              <a:rPr lang="de-DE" sz="1400" dirty="0"/>
              <a:t> von Beispiel 02 hin zur Nutzung von </a:t>
            </a:r>
            <a:r>
              <a:rPr lang="de-DE" sz="1400" dirty="0" err="1"/>
              <a:t>async</a:t>
            </a:r>
            <a:r>
              <a:rPr lang="de-DE" sz="1400" dirty="0"/>
              <a:t>/</a:t>
            </a:r>
            <a:r>
              <a:rPr lang="de-DE" sz="1400" dirty="0" err="1"/>
              <a:t>await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47638184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2E147E-2345-29B3-3CDD-FB00578B3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4DB8E49-9E48-CC61-3DD5-9192B4086B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1B7DC5-0FB3-BB3F-E859-74380240224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3DB61F6-E1E0-2A31-5E67-720BF3F4BB3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39356-05EE-78A8-8BB8-4EB74EF4973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8</a:t>
            </a:fld>
            <a:endParaRPr lang="de-DE" dirty="0"/>
          </a:p>
        </p:txBody>
      </p:sp>
      <p:pic>
        <p:nvPicPr>
          <p:cNvPr id="8" name="03-async-await.mov" descr="03-async-await.mov">
            <a:hlinkClick r:id="" action="ppaction://media"/>
            <a:extLst>
              <a:ext uri="{FF2B5EF4-FFF2-40B4-BE49-F238E27FC236}">
                <a16:creationId xmlns:a16="http://schemas.microsoft.com/office/drawing/2014/main" id="{397BCE9C-C7F3-9662-D50C-DA4245F00D2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4088" y="0"/>
            <a:ext cx="102822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540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095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58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Vergleich </a:t>
            </a:r>
            <a:r>
              <a:rPr lang="de-DE" dirty="0" err="1"/>
              <a:t>Promises</a:t>
            </a:r>
            <a:r>
              <a:rPr lang="de-DE" dirty="0"/>
              <a:t> und </a:t>
            </a:r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/>
              <a:t>Code sieht synchron aus, trotzdem wird bei </a:t>
            </a:r>
            <a:r>
              <a:rPr lang="de-DE" dirty="0" err="1"/>
              <a:t>await</a:t>
            </a:r>
            <a:r>
              <a:rPr lang="de-DE" dirty="0"/>
              <a:t> nicht der Event Loop geblockt</a:t>
            </a:r>
          </a:p>
          <a:p>
            <a:r>
              <a:rPr lang="de-DE" dirty="0"/>
              <a:t>Daher möglichst immer asynchrone APIs für z.B. Filesystem vorziehen</a:t>
            </a:r>
          </a:p>
          <a:p>
            <a:pPr lvl="0"/>
            <a:r>
              <a:rPr lang="de-DE" dirty="0"/>
              <a:t>Bei einem Webserver können also trotzdem noch </a:t>
            </a:r>
            <a:r>
              <a:rPr lang="de-DE" dirty="0" err="1"/>
              <a:t>Requests</a:t>
            </a:r>
            <a:r>
              <a:rPr lang="de-DE" dirty="0"/>
              <a:t> empfangen werden</a:t>
            </a:r>
          </a:p>
          <a:p>
            <a:pPr lvl="0"/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90C07506-CDCE-4FCE-A4A5-F49D5CABE248}"/>
              </a:ext>
            </a:extLst>
          </p:cNvPr>
          <p:cNvSpPr txBox="1">
            <a:spLocks/>
          </p:cNvSpPr>
          <p:nvPr/>
        </p:nvSpPr>
        <p:spPr bwMode="gray">
          <a:xfrm>
            <a:off x="623887" y="2310019"/>
            <a:ext cx="712097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800" dirty="0" err="1">
                <a:latin typeface="+mj-lt"/>
              </a:rPr>
              <a:t>Promises</a:t>
            </a:r>
            <a:endParaRPr lang="de-DE" sz="1800" dirty="0">
              <a:latin typeface="+mj-lt"/>
            </a:endParaRP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1363C7AB-6907-492B-B8F7-A7AB640025D8}"/>
              </a:ext>
            </a:extLst>
          </p:cNvPr>
          <p:cNvSpPr txBox="1">
            <a:spLocks/>
          </p:cNvSpPr>
          <p:nvPr/>
        </p:nvSpPr>
        <p:spPr bwMode="gray">
          <a:xfrm>
            <a:off x="623887" y="5103782"/>
            <a:ext cx="7120970" cy="59247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 err="1">
                <a:latin typeface="+mj-lt"/>
              </a:rPr>
              <a:t>Async</a:t>
            </a:r>
            <a:endParaRPr lang="de-DE" sz="1800" dirty="0">
              <a:latin typeface="+mj-lt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 err="1">
                <a:latin typeface="+mj-lt"/>
              </a:rPr>
              <a:t>await</a:t>
            </a:r>
            <a:endParaRPr lang="de-DE" sz="1800" dirty="0">
              <a:latin typeface="+mj-lt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A875970-DEBB-440A-8F6D-DD77A7E526F5}"/>
              </a:ext>
            </a:extLst>
          </p:cNvPr>
          <p:cNvCxnSpPr>
            <a:cxnSpLocks/>
          </p:cNvCxnSpPr>
          <p:nvPr/>
        </p:nvCxnSpPr>
        <p:spPr bwMode="gray">
          <a:xfrm>
            <a:off x="623888" y="3857986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1A819F4-1C5D-1BA6-61D5-16F95D1B398D}"/>
              </a:ext>
            </a:extLst>
          </p:cNvPr>
          <p:cNvSpPr/>
          <p:nvPr/>
        </p:nvSpPr>
        <p:spPr>
          <a:xfrm>
            <a:off x="1966453" y="4092731"/>
            <a:ext cx="5722375" cy="23471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lvl="0"/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uter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t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functionReturningPromi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ar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res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s.next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ar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 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c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pPr lvl="0"/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rrorhandl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3A5BAD5-ED15-376E-3714-FC2E6107DC51}"/>
              </a:ext>
            </a:extLst>
          </p:cNvPr>
          <p:cNvSpPr/>
          <p:nvPr/>
        </p:nvSpPr>
        <p:spPr>
          <a:xfrm>
            <a:off x="1966453" y="1303571"/>
            <a:ext cx="5722375" cy="23471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functionReturningPromi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ar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c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rrorhandl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86827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E04CB-AB77-2745-871E-D1FDC7EB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iterführende Link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BFF6D-CC81-6C4D-B5D0-9864A15720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134A7B-A2E1-EA45-8CF1-AF0675C54F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305AA7-96D7-9E44-9E74-F35F001AD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DC5A3-4235-1947-95F9-07B0AE40AF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B170DC0-8474-F686-F94A-A87856848D9B}"/>
              </a:ext>
            </a:extLst>
          </p:cNvPr>
          <p:cNvSpPr txBox="1"/>
          <p:nvPr/>
        </p:nvSpPr>
        <p:spPr>
          <a:xfrm>
            <a:off x="623888" y="1673157"/>
            <a:ext cx="10738018" cy="27546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Github</a:t>
            </a:r>
            <a:r>
              <a:rPr lang="de-DE" sz="1400" dirty="0"/>
              <a:t>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epo mit allen Beispielen: </a:t>
            </a:r>
            <a:r>
              <a:rPr lang="de-DE" sz="1400" dirty="0">
                <a:hlinkClick r:id="rId2"/>
              </a:rPr>
              <a:t>https://github.com/Maximilian5189/asynchrone-patterns-training</a:t>
            </a: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eispiele asynchron initialisierte Komponenten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3"/>
              </a:rPr>
              <a:t>Mongoose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4"/>
              </a:rPr>
              <a:t>pg</a:t>
            </a:r>
            <a:r>
              <a:rPr lang="de-DE" sz="1400" dirty="0"/>
              <a:t>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Node.js</a:t>
            </a:r>
            <a:r>
              <a:rPr lang="de-DE" sz="1400" dirty="0"/>
              <a:t> Design Patterns: </a:t>
            </a:r>
            <a:r>
              <a:rPr lang="de-DE" sz="1400" dirty="0">
                <a:hlinkClick r:id="rId5"/>
              </a:rPr>
              <a:t>https://www.nodejsdesignpatterns.com/</a:t>
            </a:r>
            <a:r>
              <a:rPr lang="de-DE" sz="1400" dirty="0"/>
              <a:t>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Youtube</a:t>
            </a:r>
            <a:r>
              <a:rPr lang="de-DE" sz="1400" dirty="0"/>
              <a:t>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6"/>
              </a:rPr>
              <a:t>Ryan Dahl Präsentation von Node.js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7"/>
              </a:rPr>
              <a:t>Rob Pike – Concurrency is not parallelism    </a:t>
            </a:r>
            <a:r>
              <a:rPr lang="de-DE" sz="1400" dirty="0"/>
              <a:t>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327EC6A-85A7-F1F2-874D-C8D57D47AE81}"/>
              </a:ext>
            </a:extLst>
          </p:cNvPr>
          <p:cNvSpPr/>
          <p:nvPr/>
        </p:nvSpPr>
        <p:spPr>
          <a:xfrm>
            <a:off x="9917723" y="123679"/>
            <a:ext cx="2180492" cy="1325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 err="1"/>
              <a:t>todo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00767258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9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9942301" cy="1762021"/>
          </a:xfrm>
        </p:spPr>
        <p:txBody>
          <a:bodyPr/>
          <a:lstStyle/>
          <a:p>
            <a:r>
              <a:rPr lang="de-DE" sz="5600" dirty="0" err="1"/>
              <a:t>Async</a:t>
            </a:r>
            <a:r>
              <a:rPr lang="de-DE" sz="5600" dirty="0"/>
              <a:t>/</a:t>
            </a:r>
            <a:r>
              <a:rPr lang="de-DE" sz="5600" dirty="0" err="1"/>
              <a:t>await</a:t>
            </a:r>
            <a:r>
              <a:rPr lang="de-DE" sz="5600" dirty="0"/>
              <a:t> ist nur </a:t>
            </a:r>
            <a:r>
              <a:rPr lang="de-DE" sz="5600" dirty="0" err="1"/>
              <a:t>syntactic</a:t>
            </a:r>
            <a:endParaRPr lang="de-DE" sz="5600" dirty="0"/>
          </a:p>
          <a:p>
            <a:r>
              <a:rPr lang="de-DE" sz="5600" dirty="0"/>
              <a:t>Sugar für </a:t>
            </a:r>
            <a:r>
              <a:rPr lang="de-DE" sz="5600" dirty="0" err="1"/>
              <a:t>promises</a:t>
            </a:r>
            <a:endParaRPr lang="de-DE" sz="5600" dirty="0"/>
          </a:p>
        </p:txBody>
      </p:sp>
    </p:spTree>
    <p:extLst>
      <p:ext uri="{BB962C8B-B14F-4D97-AF65-F5344CB8AC3E}">
        <p14:creationId xmlns:p14="http://schemas.microsoft.com/office/powerpoint/2010/main" val="355648123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232830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-</a:t>
            </a: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..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297671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r>
              <a:rPr lang="de-DE" dirty="0"/>
              <a:t>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232830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-</a:t>
            </a: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...(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) }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762152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: CB API in </a:t>
            </a:r>
            <a:r>
              <a:rPr lang="de-DE" dirty="0" err="1"/>
              <a:t>Promise</a:t>
            </a:r>
            <a:r>
              <a:rPr lang="de-DE" dirty="0"/>
              <a:t> umbau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8686718-8F65-CF4A-1B14-84EEFDB9F3B4}"/>
              </a:ext>
            </a:extLst>
          </p:cNvPr>
          <p:cNvSpPr/>
          <p:nvPr/>
        </p:nvSpPr>
        <p:spPr>
          <a:xfrm>
            <a:off x="9787812" y="270588"/>
            <a:ext cx="2192694" cy="21647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r>
              <a:rPr lang="de-DE" sz="1400" dirty="0" err="1"/>
              <a:t>Todo</a:t>
            </a:r>
            <a:endParaRPr lang="de-DE" sz="14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73D68B6-22DC-37A4-555D-8236849926D3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Über die Funktion </a:t>
            </a:r>
            <a:r>
              <a:rPr lang="de-DE" sz="1400" dirty="0" err="1"/>
              <a:t>makeMeAsync</a:t>
            </a:r>
            <a:r>
              <a:rPr lang="de-DE" sz="1400" dirty="0"/>
              <a:t> wird ein File ausgelesen und das Ergebnis über ein Callback weitergegeben und geloggt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ie Funktion soll nun so umgebaut werden, dass sie mit </a:t>
            </a:r>
            <a:r>
              <a:rPr lang="de-DE" sz="1400" dirty="0" err="1"/>
              <a:t>await</a:t>
            </a:r>
            <a:r>
              <a:rPr lang="de-DE" sz="1400" dirty="0"/>
              <a:t> aufgerufen wird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2"/>
              </a:rPr>
              <a:t>https://stackblitz.com/edit/node-xdwedr</a:t>
            </a: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25891574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: CB API in </a:t>
            </a:r>
            <a:r>
              <a:rPr lang="de-DE" dirty="0" err="1"/>
              <a:t>Promise</a:t>
            </a:r>
            <a:r>
              <a:rPr lang="de-DE" dirty="0"/>
              <a:t> umbauen – Lösung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4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8686718-8F65-CF4A-1B14-84EEFDB9F3B4}"/>
              </a:ext>
            </a:extLst>
          </p:cNvPr>
          <p:cNvSpPr/>
          <p:nvPr/>
        </p:nvSpPr>
        <p:spPr>
          <a:xfrm>
            <a:off x="9787812" y="270588"/>
            <a:ext cx="2192694" cy="21647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r>
              <a:rPr lang="de-DE" sz="1400" dirty="0" err="1"/>
              <a:t>Todo</a:t>
            </a:r>
            <a:endParaRPr lang="de-DE" sz="14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73D68B6-22DC-37A4-555D-8236849926D3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2"/>
              </a:rPr>
              <a:t>https://stackblitz.com/edit/node-akp7u8</a:t>
            </a:r>
            <a:r>
              <a:rPr lang="de-DE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8834439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für NPM Package, das CB-</a:t>
            </a:r>
            <a:r>
              <a:rPr lang="de-DE" dirty="0" err="1"/>
              <a:t>based</a:t>
            </a:r>
            <a:r>
              <a:rPr lang="de-DE" dirty="0"/>
              <a:t> APIs in </a:t>
            </a:r>
            <a:r>
              <a:rPr lang="de-DE" dirty="0" err="1"/>
              <a:t>Promises</a:t>
            </a:r>
            <a:r>
              <a:rPr lang="de-DE" dirty="0"/>
              <a:t> umwandel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5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8686718-8F65-CF4A-1B14-84EEFDB9F3B4}"/>
              </a:ext>
            </a:extLst>
          </p:cNvPr>
          <p:cNvSpPr/>
          <p:nvPr/>
        </p:nvSpPr>
        <p:spPr>
          <a:xfrm>
            <a:off x="9787812" y="270588"/>
            <a:ext cx="2192694" cy="21647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r>
              <a:rPr lang="de-DE" sz="1400" dirty="0" err="1"/>
              <a:t>Todo</a:t>
            </a:r>
            <a:endParaRPr lang="de-DE" sz="14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73D68B6-22DC-37A4-555D-8236849926D3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>
                <a:hlinkClick r:id="rId2"/>
              </a:rPr>
              <a:t>pify</a:t>
            </a:r>
            <a:r>
              <a:rPr lang="de-DE" sz="1400" dirty="0"/>
              <a:t> 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BBE0360-D68A-20C2-BE32-BE868D74A4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888" y="2435290"/>
            <a:ext cx="8409305" cy="1268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80663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0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s können auch mehrere asynchrone Aktionen gleichzeitig durchgeführt werd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/>
              <a:t>Bei Nutzung von </a:t>
            </a:r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r>
              <a:rPr lang="de-DE" dirty="0"/>
              <a:t> mit </a:t>
            </a:r>
            <a:r>
              <a:rPr lang="de-DE" dirty="0" err="1"/>
              <a:t>Array.forEach</a:t>
            </a:r>
            <a:r>
              <a:rPr lang="de-DE" dirty="0"/>
              <a:t> wird </a:t>
            </a:r>
            <a:r>
              <a:rPr lang="de-DE" dirty="0" err="1"/>
              <a:t>Promise</a:t>
            </a:r>
            <a:r>
              <a:rPr lang="de-DE" dirty="0"/>
              <a:t> nicht </a:t>
            </a:r>
            <a:r>
              <a:rPr lang="de-DE" dirty="0" err="1"/>
              <a:t>awaitet</a:t>
            </a:r>
            <a:endParaRPr lang="de-DE" dirty="0"/>
          </a:p>
          <a:p>
            <a:pPr lvl="0"/>
            <a:r>
              <a:rPr lang="de-DE" dirty="0"/>
              <a:t>Stattdessen </a:t>
            </a:r>
            <a:r>
              <a:rPr lang="de-DE" dirty="0" err="1"/>
              <a:t>Promise.all</a:t>
            </a:r>
            <a:r>
              <a:rPr lang="de-DE" dirty="0"/>
              <a:t>(</a:t>
            </a:r>
            <a:r>
              <a:rPr lang="de-DE" dirty="0" err="1"/>
              <a:t>iterable</a:t>
            </a:r>
            <a:r>
              <a:rPr lang="de-DE" dirty="0"/>
              <a:t>) nutz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6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B961972-22F6-00D1-673F-7D91C133946C}"/>
              </a:ext>
            </a:extLst>
          </p:cNvPr>
          <p:cNvSpPr/>
          <p:nvPr/>
        </p:nvSpPr>
        <p:spPr>
          <a:xfrm>
            <a:off x="444819" y="2243541"/>
            <a:ext cx="7300039" cy="310088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mis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: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 =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quir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solv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42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di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.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l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[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])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xpecte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outpu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: Array [3, 42, [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S_Stor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, 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gi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, 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gitignor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…]] 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81991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9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Observ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44132258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65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Vergleich </a:t>
            </a:r>
            <a:r>
              <a:rPr lang="de-DE" dirty="0" err="1"/>
              <a:t>Callbacks</a:t>
            </a:r>
            <a:r>
              <a:rPr lang="de-DE" dirty="0"/>
              <a:t> und Observer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/>
              <a:t>publish-</a:t>
            </a:r>
            <a:r>
              <a:rPr lang="de-DE" dirty="0" err="1"/>
              <a:t>subscribe</a:t>
            </a:r>
            <a:r>
              <a:rPr lang="de-DE" dirty="0"/>
              <a:t> </a:t>
            </a:r>
            <a:r>
              <a:rPr lang="de-DE" dirty="0" err="1"/>
              <a:t>pattern</a:t>
            </a:r>
            <a:endParaRPr lang="de-DE" dirty="0"/>
          </a:p>
          <a:p>
            <a:pPr lvl="0"/>
            <a:r>
              <a:rPr lang="de-DE" dirty="0"/>
              <a:t>In </a:t>
            </a:r>
            <a:r>
              <a:rPr lang="de-DE" dirty="0" err="1"/>
              <a:t>Node.js</a:t>
            </a:r>
            <a:r>
              <a:rPr lang="de-DE" dirty="0"/>
              <a:t> über die </a:t>
            </a:r>
            <a:r>
              <a:rPr lang="de-DE" dirty="0" err="1"/>
              <a:t>EventEmitter</a:t>
            </a:r>
            <a:r>
              <a:rPr lang="de-DE" dirty="0"/>
              <a:t> Klasse implementiert</a:t>
            </a:r>
          </a:p>
          <a:p>
            <a:pPr lvl="0"/>
            <a:r>
              <a:rPr lang="de-DE" dirty="0" err="1"/>
              <a:t>EventEmitter</a:t>
            </a:r>
            <a:r>
              <a:rPr lang="de-DE" dirty="0"/>
              <a:t> sendet Nachricht, wenn eine bestimmte Aktion beendet wurde</a:t>
            </a:r>
          </a:p>
          <a:p>
            <a:pPr lvl="0"/>
            <a:r>
              <a:rPr lang="de-DE" dirty="0"/>
              <a:t>Loser gekoppelt, ermöglicht Kommunikation applikationsweit</a:t>
            </a:r>
          </a:p>
          <a:p>
            <a:pPr lvl="0"/>
            <a:r>
              <a:rPr lang="de-DE" dirty="0"/>
              <a:t>Event ist wie Broadcast (Rundfunk), Callback (</a:t>
            </a:r>
            <a:r>
              <a:rPr lang="de-DE" dirty="0" err="1"/>
              <a:t>continuation-passing</a:t>
            </a:r>
            <a:r>
              <a:rPr lang="de-DE" dirty="0"/>
              <a:t> style) ist wie Handshake</a:t>
            </a:r>
          </a:p>
          <a:p>
            <a:pPr lvl="0"/>
            <a:r>
              <a:rPr lang="de-DE" dirty="0"/>
              <a:t>Event Emitter sind die Basis für Streams</a:t>
            </a:r>
          </a:p>
          <a:p>
            <a:pPr lvl="0"/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8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CFD8916-E153-853A-4448-F6E69FC89EC4}"/>
              </a:ext>
            </a:extLst>
          </p:cNvPr>
          <p:cNvSpPr/>
          <p:nvPr/>
        </p:nvSpPr>
        <p:spPr>
          <a:xfrm>
            <a:off x="3330161" y="2251864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C552D0E-6401-4D36-8257-95876A3E353E}"/>
              </a:ext>
            </a:extLst>
          </p:cNvPr>
          <p:cNvSpPr/>
          <p:nvPr/>
        </p:nvSpPr>
        <p:spPr>
          <a:xfrm>
            <a:off x="4965730" y="2251864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F6E3E5FE-AEEB-7EB1-A993-BC87F2A18AC3}"/>
              </a:ext>
            </a:extLst>
          </p:cNvPr>
          <p:cNvCxnSpPr>
            <a:stCxn id="9" idx="6"/>
            <a:endCxn id="10" idx="2"/>
          </p:cNvCxnSpPr>
          <p:nvPr/>
        </p:nvCxnSpPr>
        <p:spPr>
          <a:xfrm>
            <a:off x="3870161" y="2521864"/>
            <a:ext cx="1095569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C075A203-A9EE-E691-CE31-54781B53A2EE}"/>
              </a:ext>
            </a:extLst>
          </p:cNvPr>
          <p:cNvSpPr/>
          <p:nvPr/>
        </p:nvSpPr>
        <p:spPr>
          <a:xfrm>
            <a:off x="2442819" y="4888260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23AB1CE-A3C7-D024-A80A-15928EF43D46}"/>
              </a:ext>
            </a:extLst>
          </p:cNvPr>
          <p:cNvSpPr/>
          <p:nvPr/>
        </p:nvSpPr>
        <p:spPr>
          <a:xfrm>
            <a:off x="5108801" y="5268321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79B54BB-879C-EAE9-D8F3-7DCEB2B05119}"/>
              </a:ext>
            </a:extLst>
          </p:cNvPr>
          <p:cNvCxnSpPr>
            <a:stCxn id="13" idx="6"/>
            <a:endCxn id="14" idx="2"/>
          </p:cNvCxnSpPr>
          <p:nvPr/>
        </p:nvCxnSpPr>
        <p:spPr>
          <a:xfrm>
            <a:off x="2982819" y="5158260"/>
            <a:ext cx="2125982" cy="38006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639F5109-15D3-FDF8-1B60-DF2C140772F4}"/>
              </a:ext>
            </a:extLst>
          </p:cNvPr>
          <p:cNvSpPr/>
          <p:nvPr/>
        </p:nvSpPr>
        <p:spPr>
          <a:xfrm>
            <a:off x="4165129" y="4003643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C4BAB7D-C313-10A6-9F48-0588D9792801}"/>
              </a:ext>
            </a:extLst>
          </p:cNvPr>
          <p:cNvSpPr/>
          <p:nvPr/>
        </p:nvSpPr>
        <p:spPr>
          <a:xfrm>
            <a:off x="5029720" y="4399260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860FD15-10EF-06E8-2BAD-8EB45E4E7D2B}"/>
              </a:ext>
            </a:extLst>
          </p:cNvPr>
          <p:cNvSpPr/>
          <p:nvPr/>
        </p:nvSpPr>
        <p:spPr>
          <a:xfrm>
            <a:off x="4435129" y="5917397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3E42F46-F720-78D6-4B53-351E0B4F8AA2}"/>
              </a:ext>
            </a:extLst>
          </p:cNvPr>
          <p:cNvCxnSpPr>
            <a:cxnSpLocks/>
            <a:stCxn id="13" idx="6"/>
            <a:endCxn id="19" idx="1"/>
          </p:cNvCxnSpPr>
          <p:nvPr/>
        </p:nvCxnSpPr>
        <p:spPr>
          <a:xfrm>
            <a:off x="2982819" y="5158260"/>
            <a:ext cx="1531391" cy="83821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A9FEF0DF-73BC-1449-D0E3-243B78F79A47}"/>
              </a:ext>
            </a:extLst>
          </p:cNvPr>
          <p:cNvCxnSpPr>
            <a:cxnSpLocks/>
            <a:stCxn id="13" idx="6"/>
            <a:endCxn id="18" idx="3"/>
          </p:cNvCxnSpPr>
          <p:nvPr/>
        </p:nvCxnSpPr>
        <p:spPr>
          <a:xfrm flipV="1">
            <a:off x="2982819" y="4860179"/>
            <a:ext cx="2125982" cy="29808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6700F37-DA37-57FD-B992-23C8D01F9DC4}"/>
              </a:ext>
            </a:extLst>
          </p:cNvPr>
          <p:cNvCxnSpPr>
            <a:cxnSpLocks/>
            <a:stCxn id="13" idx="6"/>
            <a:endCxn id="17" idx="3"/>
          </p:cNvCxnSpPr>
          <p:nvPr/>
        </p:nvCxnSpPr>
        <p:spPr>
          <a:xfrm flipV="1">
            <a:off x="2982819" y="4464562"/>
            <a:ext cx="1261391" cy="69369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B5483557-C03B-278B-B46E-E06C8EA0256E}"/>
              </a:ext>
            </a:extLst>
          </p:cNvPr>
          <p:cNvSpPr txBox="1">
            <a:spLocks/>
          </p:cNvSpPr>
          <p:nvPr/>
        </p:nvSpPr>
        <p:spPr bwMode="gray">
          <a:xfrm>
            <a:off x="623887" y="2329684"/>
            <a:ext cx="216627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 err="1">
                <a:latin typeface="+mj-lt"/>
              </a:rPr>
              <a:t>Callbacks</a:t>
            </a:r>
            <a:endParaRPr lang="de-DE" sz="1800" dirty="0">
              <a:latin typeface="+mj-lt"/>
            </a:endParaRP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17A94309-7557-A429-0C39-3BFEE8767913}"/>
              </a:ext>
            </a:extLst>
          </p:cNvPr>
          <p:cNvSpPr txBox="1">
            <a:spLocks/>
          </p:cNvSpPr>
          <p:nvPr/>
        </p:nvSpPr>
        <p:spPr bwMode="gray">
          <a:xfrm>
            <a:off x="623887" y="5034957"/>
            <a:ext cx="113749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Observer</a:t>
            </a:r>
          </a:p>
        </p:txBody>
      </p:sp>
      <p:cxnSp>
        <p:nvCxnSpPr>
          <p:cNvPr id="25" name="Gerader Verbinder 21">
            <a:extLst>
              <a:ext uri="{FF2B5EF4-FFF2-40B4-BE49-F238E27FC236}">
                <a16:creationId xmlns:a16="http://schemas.microsoft.com/office/drawing/2014/main" id="{D0472450-5F0B-B7FF-D566-9C4AB79E1E99}"/>
              </a:ext>
            </a:extLst>
          </p:cNvPr>
          <p:cNvCxnSpPr>
            <a:cxnSpLocks/>
          </p:cNvCxnSpPr>
          <p:nvPr/>
        </p:nvCxnSpPr>
        <p:spPr bwMode="gray">
          <a:xfrm>
            <a:off x="623888" y="3887487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169928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Beispiel 04-event-emitter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WebShop</a:t>
            </a:r>
            <a:r>
              <a:rPr lang="de-DE" sz="1400" dirty="0"/>
              <a:t> </a:t>
            </a:r>
            <a:r>
              <a:rPr lang="de-DE" sz="1400" dirty="0" err="1"/>
              <a:t>emittet</a:t>
            </a:r>
            <a:r>
              <a:rPr lang="de-DE" sz="1400" dirty="0"/>
              <a:t> Event, wenn Artikel gekauft wird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EventListener</a:t>
            </a:r>
            <a:r>
              <a:rPr lang="de-DE" sz="1400" dirty="0"/>
              <a:t> anhängen und anschließend Artikel kaufe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5857330-FD49-98CE-8E06-8B6BF84EFFC6}"/>
              </a:ext>
            </a:extLst>
          </p:cNvPr>
          <p:cNvSpPr/>
          <p:nvPr/>
        </p:nvSpPr>
        <p:spPr>
          <a:xfrm>
            <a:off x="623888" y="2778266"/>
            <a:ext cx="3518904" cy="8799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myEmitt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;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EF881A6-2906-DF54-D3A3-EE50BD4B742C}"/>
              </a:ext>
            </a:extLst>
          </p:cNvPr>
          <p:cNvSpPr txBox="1"/>
          <p:nvPr/>
        </p:nvSpPr>
        <p:spPr>
          <a:xfrm>
            <a:off x="11287089" y="482759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Event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D3766F0-8C7A-B95D-1289-DD3085341D9A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9198176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E04CB-AB77-2745-871E-D1FDC7EB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BFF6D-CC81-6C4D-B5D0-9864A15720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134A7B-A2E1-EA45-8CF1-AF0675C54F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305AA7-96D7-9E44-9E74-F35F001AD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DC5A3-4235-1947-95F9-07B0AE40AF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4D7B557E-AC28-5B44-AF1F-2CBC2F29FF34}"/>
              </a:ext>
            </a:extLst>
          </p:cNvPr>
          <p:cNvSpPr txBox="1">
            <a:spLocks/>
          </p:cNvSpPr>
          <p:nvPr/>
        </p:nvSpPr>
        <p:spPr>
          <a:xfrm>
            <a:off x="623888" y="1833826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D5D6823-A13E-C449-8764-0FAA84AF3FE6}"/>
              </a:ext>
            </a:extLst>
          </p:cNvPr>
          <p:cNvSpPr txBox="1">
            <a:spLocks/>
          </p:cNvSpPr>
          <p:nvPr/>
        </p:nvSpPr>
        <p:spPr>
          <a:xfrm>
            <a:off x="623888" y="2110824"/>
            <a:ext cx="6251337" cy="689501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Zunächst Erläuterung des Reactor Patterns bzw. der Implementierung in Javascript in Form des Event Loops. Anschließend Darstellung der Wandlung der Sprache von Callbacks hin zu async/await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273BA1B-CAB8-9F4C-B7FB-F493BDC41BAB}"/>
              </a:ext>
            </a:extLst>
          </p:cNvPr>
          <p:cNvSpPr txBox="1">
            <a:spLocks/>
          </p:cNvSpPr>
          <p:nvPr/>
        </p:nvSpPr>
        <p:spPr>
          <a:xfrm>
            <a:off x="623888" y="3202951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Streams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AB6370C-0486-FC42-9B20-09EA6D0B1D8F}"/>
              </a:ext>
            </a:extLst>
          </p:cNvPr>
          <p:cNvSpPr txBox="1">
            <a:spLocks/>
          </p:cNvSpPr>
          <p:nvPr/>
        </p:nvSpPr>
        <p:spPr>
          <a:xfrm>
            <a:off x="623888" y="3479950"/>
            <a:ext cx="6251337" cy="623134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Als Grundlage Beschreibung des Observer Patterns (in NodeJS in Form der EventEmitter Klasse), anschließend Vertiefung von Readable und Writable Streams</a:t>
            </a:r>
          </a:p>
          <a:p>
            <a:endParaRPr lang="de-DE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7515987E-B4E8-8541-AD2F-7D94C2E1CD2B}"/>
              </a:ext>
            </a:extLst>
          </p:cNvPr>
          <p:cNvSpPr txBox="1">
            <a:spLocks/>
          </p:cNvSpPr>
          <p:nvPr/>
        </p:nvSpPr>
        <p:spPr>
          <a:xfrm>
            <a:off x="623888" y="4592239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eiterführende Patterns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2EA49FD3-2114-9B43-BECB-35F6732EAA58}"/>
              </a:ext>
            </a:extLst>
          </p:cNvPr>
          <p:cNvSpPr txBox="1">
            <a:spLocks/>
          </p:cNvSpPr>
          <p:nvPr/>
        </p:nvSpPr>
        <p:spPr>
          <a:xfrm>
            <a:off x="623888" y="4869238"/>
            <a:ext cx="6251337" cy="215444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Besprechung von asynchron initialisierten Komponenten und/oder asynchronem Request Caching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F2AADFF-D7E2-CA27-2D39-437382ABE702}"/>
              </a:ext>
            </a:extLst>
          </p:cNvPr>
          <p:cNvSpPr/>
          <p:nvPr/>
        </p:nvSpPr>
        <p:spPr>
          <a:xfrm>
            <a:off x="9917723" y="123679"/>
            <a:ext cx="2180492" cy="1325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Weg?</a:t>
            </a:r>
          </a:p>
        </p:txBody>
      </p:sp>
    </p:spTree>
    <p:extLst>
      <p:ext uri="{BB962C8B-B14F-4D97-AF65-F5344CB8AC3E}">
        <p14:creationId xmlns:p14="http://schemas.microsoft.com/office/powerpoint/2010/main" val="258798748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B4C947-196F-32D0-83AB-A8B24C4236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19C91E8-0169-507C-0CCE-F968BEE32D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5CC7E4E-EC35-422A-675A-01F5C6BCEF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3B2FF25-0889-7EBD-422A-5A0A68AEBD8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AEB9446-2F59-2F7D-94EB-4890DE9B364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0</a:t>
            </a:fld>
            <a:endParaRPr lang="de-DE" dirty="0"/>
          </a:p>
        </p:txBody>
      </p:sp>
      <p:pic>
        <p:nvPicPr>
          <p:cNvPr id="9" name="04-event-emitter.mov" descr="04-event-emitter.mov">
            <a:hlinkClick r:id="" action="ppaction://media"/>
            <a:extLst>
              <a:ext uri="{FF2B5EF4-FFF2-40B4-BE49-F238E27FC236}">
                <a16:creationId xmlns:a16="http://schemas.microsoft.com/office/drawing/2014/main" id="{8209F621-62F9-A79C-9100-5FA5185172F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84175" y="0"/>
            <a:ext cx="114220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370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72483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gleich Event Emitter und Callback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1</a:t>
            </a:fld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BC2232A-F34E-2188-9E8A-95D2E04F088A}"/>
              </a:ext>
            </a:extLst>
          </p:cNvPr>
          <p:cNvSpPr/>
          <p:nvPr/>
        </p:nvSpPr>
        <p:spPr>
          <a:xfrm>
            <a:off x="623888" y="1698386"/>
            <a:ext cx="7864130" cy="2291824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mpor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Emitte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rom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hello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eventEmitte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new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EventEmitte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setTimeou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eventEmitt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em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complete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hell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worl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0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eventEmitt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hello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complete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messag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messag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)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A5EF54B-803F-2013-170E-9E2430D31F61}"/>
              </a:ext>
            </a:extLst>
          </p:cNvPr>
          <p:cNvSpPr/>
          <p:nvPr/>
        </p:nvSpPr>
        <p:spPr>
          <a:xfrm>
            <a:off x="623888" y="4392712"/>
            <a:ext cx="7864130" cy="15338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hello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setTimeou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nul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hell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worl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0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CDCAA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hello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messag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messag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)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A579EFB-F9A2-D2FF-18FB-6E518C00B1A1}"/>
              </a:ext>
            </a:extLst>
          </p:cNvPr>
          <p:cNvSpPr/>
          <p:nvPr/>
        </p:nvSpPr>
        <p:spPr>
          <a:xfrm>
            <a:off x="9787812" y="270588"/>
            <a:ext cx="2192694" cy="21647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Passt das in die Story? </a:t>
            </a:r>
            <a:r>
              <a:rPr lang="de-DE" sz="1400" dirty="0" err="1"/>
              <a:t>Vlt</a:t>
            </a:r>
            <a:r>
              <a:rPr lang="de-DE" sz="1400" dirty="0"/>
              <a:t> sowas sagen wie „und jetzt der </a:t>
            </a:r>
            <a:r>
              <a:rPr lang="de-DE" sz="1400" dirty="0" err="1"/>
              <a:t>konrete</a:t>
            </a:r>
            <a:r>
              <a:rPr lang="de-DE" sz="1400" dirty="0"/>
              <a:t> vergleich im code</a:t>
            </a:r>
          </a:p>
        </p:txBody>
      </p:sp>
    </p:spTree>
    <p:extLst>
      <p:ext uri="{BB962C8B-B14F-4D97-AF65-F5344CB8AC3E}">
        <p14:creationId xmlns:p14="http://schemas.microsoft.com/office/powerpoint/2010/main" val="183890148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3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tream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16508727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Vergleich Buffering – Streami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eispiel 05-gzip-buffer-vs-stream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atei aus Verzeichnis lesen, zippen und wieder abspeichern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uffering Variante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treaming Variante</a:t>
            </a:r>
          </a:p>
          <a:p>
            <a:pPr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0AB3D21-53E6-1727-4DB5-624C3FF45F7A}"/>
              </a:ext>
            </a:extLst>
          </p:cNvPr>
          <p:cNvSpPr txBox="1"/>
          <p:nvPr/>
        </p:nvSpPr>
        <p:spPr>
          <a:xfrm>
            <a:off x="11287089" y="482759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75F74EB-C838-F9E6-3C65-995FF607E9DE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72341199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352227-F8BA-F5F2-98D6-327480169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9337BD-81C6-52B5-0C67-E5B01B9ABD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826A58D-E005-1E6F-053D-6E82A796FF2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69B6D5-D32C-D1FC-058B-E0161B3EC1C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A61D175-AA82-B65A-1DA8-CBFD10399D8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4</a:t>
            </a:fld>
            <a:endParaRPr lang="de-DE" dirty="0"/>
          </a:p>
        </p:txBody>
      </p:sp>
      <p:pic>
        <p:nvPicPr>
          <p:cNvPr id="7" name="05-buffer.mov" descr="05-buffer.mov">
            <a:hlinkClick r:id="" action="ppaction://media"/>
            <a:extLst>
              <a:ext uri="{FF2B5EF4-FFF2-40B4-BE49-F238E27FC236}">
                <a16:creationId xmlns:a16="http://schemas.microsoft.com/office/drawing/2014/main" id="{A977433C-CD4E-83E6-54CF-FC7FA8BB7FD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217488"/>
            <a:ext cx="12192000" cy="6421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44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63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7161D8-898B-D37B-10C0-E6A8524322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422D51-7BED-4E13-CDFB-6D451A37FF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AB719B9-8ECE-5594-33A0-3120537F1F4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D7EA475-6954-1729-5AA4-5C1CB9CA4F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315DF4-A65C-F6B5-EFFF-C226708A0E2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5</a:t>
            </a:fld>
            <a:endParaRPr lang="de-DE" dirty="0"/>
          </a:p>
        </p:txBody>
      </p:sp>
      <p:pic>
        <p:nvPicPr>
          <p:cNvPr id="8" name="05-stream.mov" descr="05-stream.mov">
            <a:hlinkClick r:id="" action="ppaction://media"/>
            <a:extLst>
              <a:ext uri="{FF2B5EF4-FFF2-40B4-BE49-F238E27FC236}">
                <a16:creationId xmlns:a16="http://schemas.microsoft.com/office/drawing/2014/main" id="{A03BA985-36B2-1C4F-BFA0-03F62BE35AC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217488"/>
            <a:ext cx="12192000" cy="6421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283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486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bgerundetes 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241261"/>
            <a:ext cx="3784448" cy="90070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</a:t>
            </a:r>
            <a:r>
              <a:rPr lang="de-DE" dirty="0" err="1"/>
              <a:t>Buffering</a:t>
            </a:r>
            <a:r>
              <a:rPr lang="de-DE" dirty="0"/>
              <a:t> werden alle Daten vor dem Verarbeiten in den Arbeitsspeicher gela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6</a:t>
            </a:fld>
            <a:endParaRPr lang="de-DE" dirty="0"/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330932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330932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330932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330932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330932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Abgerundetes 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Abgerundetes 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765183"/>
            <a:ext cx="3784448" cy="90070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Abgerundetes 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28" name="Abgerundetes Rechteck 27">
            <a:extLst>
              <a:ext uri="{FF2B5EF4-FFF2-40B4-BE49-F238E27FC236}">
                <a16:creationId xmlns:a16="http://schemas.microsoft.com/office/drawing/2014/main" id="{C7C33712-988C-0C47-AF53-7624FF5788E9}"/>
              </a:ext>
            </a:extLst>
          </p:cNvPr>
          <p:cNvSpPr/>
          <p:nvPr/>
        </p:nvSpPr>
        <p:spPr>
          <a:xfrm>
            <a:off x="4280000" y="3854854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225F8480-726C-AD42-93A6-350791B7C8FA}"/>
              </a:ext>
            </a:extLst>
          </p:cNvPr>
          <p:cNvSpPr/>
          <p:nvPr/>
        </p:nvSpPr>
        <p:spPr>
          <a:xfrm>
            <a:off x="4726598" y="3854854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0" name="Abgerundetes Rechteck 29">
            <a:extLst>
              <a:ext uri="{FF2B5EF4-FFF2-40B4-BE49-F238E27FC236}">
                <a16:creationId xmlns:a16="http://schemas.microsoft.com/office/drawing/2014/main" id="{F0CED2F9-303F-6D4C-A907-A7C771AB79F2}"/>
              </a:ext>
            </a:extLst>
          </p:cNvPr>
          <p:cNvSpPr/>
          <p:nvPr/>
        </p:nvSpPr>
        <p:spPr>
          <a:xfrm>
            <a:off x="5200882" y="3854854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1" name="Abgerundetes Rechteck 30">
            <a:extLst>
              <a:ext uri="{FF2B5EF4-FFF2-40B4-BE49-F238E27FC236}">
                <a16:creationId xmlns:a16="http://schemas.microsoft.com/office/drawing/2014/main" id="{E49EBD9C-18D2-044E-8C6D-D971F39B1C26}"/>
              </a:ext>
            </a:extLst>
          </p:cNvPr>
          <p:cNvSpPr/>
          <p:nvPr/>
        </p:nvSpPr>
        <p:spPr>
          <a:xfrm>
            <a:off x="5675166" y="3854854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2" name="Abgerundetes Rechteck 31">
            <a:extLst>
              <a:ext uri="{FF2B5EF4-FFF2-40B4-BE49-F238E27FC236}">
                <a16:creationId xmlns:a16="http://schemas.microsoft.com/office/drawing/2014/main" id="{CFFF23D8-EE29-7849-9D7A-7FB7B06FB697}"/>
              </a:ext>
            </a:extLst>
          </p:cNvPr>
          <p:cNvSpPr/>
          <p:nvPr/>
        </p:nvSpPr>
        <p:spPr>
          <a:xfrm>
            <a:off x="6149450" y="3854854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3" name="Abgerundetes 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Abgerundetes 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Abgerundetes 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Abgerundetes 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Abgerundetes 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Abgerundetes 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Abgerundetes 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272297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Abgerundetes 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41" name="Abgerundetes Rechteck 40">
            <a:extLst>
              <a:ext uri="{FF2B5EF4-FFF2-40B4-BE49-F238E27FC236}">
                <a16:creationId xmlns:a16="http://schemas.microsoft.com/office/drawing/2014/main" id="{7D811118-B52C-6E48-B353-E18A3946F731}"/>
              </a:ext>
            </a:extLst>
          </p:cNvPr>
          <p:cNvSpPr/>
          <p:nvPr/>
        </p:nvSpPr>
        <p:spPr>
          <a:xfrm>
            <a:off x="3925503" y="5191115"/>
            <a:ext cx="3784448" cy="90070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42" name="Abgerundetes Rechteck 41">
            <a:extLst>
              <a:ext uri="{FF2B5EF4-FFF2-40B4-BE49-F238E27FC236}">
                <a16:creationId xmlns:a16="http://schemas.microsoft.com/office/drawing/2014/main" id="{C3B7B9F9-EB49-7A48-AA81-BF1AA07C7C51}"/>
              </a:ext>
            </a:extLst>
          </p:cNvPr>
          <p:cNvSpPr/>
          <p:nvPr/>
        </p:nvSpPr>
        <p:spPr>
          <a:xfrm>
            <a:off x="1960435" y="5375099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43" name="Abgerundetes Rechteck 42">
            <a:extLst>
              <a:ext uri="{FF2B5EF4-FFF2-40B4-BE49-F238E27FC236}">
                <a16:creationId xmlns:a16="http://schemas.microsoft.com/office/drawing/2014/main" id="{B2607A2F-CB22-D64E-B952-42CECDB7622E}"/>
              </a:ext>
            </a:extLst>
          </p:cNvPr>
          <p:cNvSpPr/>
          <p:nvPr/>
        </p:nvSpPr>
        <p:spPr>
          <a:xfrm>
            <a:off x="4280000" y="5280786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44" name="Abgerundetes Rechteck 43">
            <a:extLst>
              <a:ext uri="{FF2B5EF4-FFF2-40B4-BE49-F238E27FC236}">
                <a16:creationId xmlns:a16="http://schemas.microsoft.com/office/drawing/2014/main" id="{306544B3-F74B-E74F-BBDA-F3648FDAD143}"/>
              </a:ext>
            </a:extLst>
          </p:cNvPr>
          <p:cNvSpPr/>
          <p:nvPr/>
        </p:nvSpPr>
        <p:spPr>
          <a:xfrm>
            <a:off x="4726598" y="5280786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45" name="Abgerundetes Rechteck 44">
            <a:extLst>
              <a:ext uri="{FF2B5EF4-FFF2-40B4-BE49-F238E27FC236}">
                <a16:creationId xmlns:a16="http://schemas.microsoft.com/office/drawing/2014/main" id="{35BC9050-3806-4644-9982-71D5F38BEA7C}"/>
              </a:ext>
            </a:extLst>
          </p:cNvPr>
          <p:cNvSpPr/>
          <p:nvPr/>
        </p:nvSpPr>
        <p:spPr>
          <a:xfrm>
            <a:off x="5200882" y="5280786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6" name="Abgerundetes Rechteck 45">
            <a:extLst>
              <a:ext uri="{FF2B5EF4-FFF2-40B4-BE49-F238E27FC236}">
                <a16:creationId xmlns:a16="http://schemas.microsoft.com/office/drawing/2014/main" id="{6819E6FD-EB0F-5D47-856D-BA40762A5C87}"/>
              </a:ext>
            </a:extLst>
          </p:cNvPr>
          <p:cNvSpPr/>
          <p:nvPr/>
        </p:nvSpPr>
        <p:spPr>
          <a:xfrm>
            <a:off x="5675166" y="5280786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7" name="Abgerundetes Rechteck 46">
            <a:extLst>
              <a:ext uri="{FF2B5EF4-FFF2-40B4-BE49-F238E27FC236}">
                <a16:creationId xmlns:a16="http://schemas.microsoft.com/office/drawing/2014/main" id="{F8B4528D-FC13-9B49-9BB9-A9F557F75172}"/>
              </a:ext>
            </a:extLst>
          </p:cNvPr>
          <p:cNvSpPr/>
          <p:nvPr/>
        </p:nvSpPr>
        <p:spPr>
          <a:xfrm>
            <a:off x="6149450" y="5280786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48" name="Abgerundetes Rechteck 47">
            <a:extLst>
              <a:ext uri="{FF2B5EF4-FFF2-40B4-BE49-F238E27FC236}">
                <a16:creationId xmlns:a16="http://schemas.microsoft.com/office/drawing/2014/main" id="{DD455910-41D3-A249-8667-1BE9967DBB55}"/>
              </a:ext>
            </a:extLst>
          </p:cNvPr>
          <p:cNvSpPr/>
          <p:nvPr/>
        </p:nvSpPr>
        <p:spPr>
          <a:xfrm>
            <a:off x="4280000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49" name="Abgerundetes Rechteck 48">
            <a:extLst>
              <a:ext uri="{FF2B5EF4-FFF2-40B4-BE49-F238E27FC236}">
                <a16:creationId xmlns:a16="http://schemas.microsoft.com/office/drawing/2014/main" id="{3A7678C2-3AF5-BD46-A482-EAC697F29774}"/>
              </a:ext>
            </a:extLst>
          </p:cNvPr>
          <p:cNvSpPr/>
          <p:nvPr/>
        </p:nvSpPr>
        <p:spPr>
          <a:xfrm>
            <a:off x="4754284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50" name="Abgerundetes Rechteck 49">
            <a:extLst>
              <a:ext uri="{FF2B5EF4-FFF2-40B4-BE49-F238E27FC236}">
                <a16:creationId xmlns:a16="http://schemas.microsoft.com/office/drawing/2014/main" id="{1270A093-0880-B743-9B5E-3A363783D826}"/>
              </a:ext>
            </a:extLst>
          </p:cNvPr>
          <p:cNvSpPr/>
          <p:nvPr/>
        </p:nvSpPr>
        <p:spPr>
          <a:xfrm>
            <a:off x="5228568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51" name="Abgerundetes Rechteck 50">
            <a:extLst>
              <a:ext uri="{FF2B5EF4-FFF2-40B4-BE49-F238E27FC236}">
                <a16:creationId xmlns:a16="http://schemas.microsoft.com/office/drawing/2014/main" id="{6E2DDB9C-BBF0-5F47-B317-61558C5C331B}"/>
              </a:ext>
            </a:extLst>
          </p:cNvPr>
          <p:cNvSpPr/>
          <p:nvPr/>
        </p:nvSpPr>
        <p:spPr>
          <a:xfrm>
            <a:off x="5702852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52" name="Abgerundetes Rechteck 51">
            <a:extLst>
              <a:ext uri="{FF2B5EF4-FFF2-40B4-BE49-F238E27FC236}">
                <a16:creationId xmlns:a16="http://schemas.microsoft.com/office/drawing/2014/main" id="{F328ADFE-48B0-D246-9496-E32475414279}"/>
              </a:ext>
            </a:extLst>
          </p:cNvPr>
          <p:cNvSpPr/>
          <p:nvPr/>
        </p:nvSpPr>
        <p:spPr>
          <a:xfrm>
            <a:off x="6177136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53" name="Abgerundetes Rechteck 52">
            <a:extLst>
              <a:ext uri="{FF2B5EF4-FFF2-40B4-BE49-F238E27FC236}">
                <a16:creationId xmlns:a16="http://schemas.microsoft.com/office/drawing/2014/main" id="{51D51493-6D8B-2945-A3E8-F474EBD01253}"/>
              </a:ext>
            </a:extLst>
          </p:cNvPr>
          <p:cNvSpPr/>
          <p:nvPr/>
        </p:nvSpPr>
        <p:spPr>
          <a:xfrm>
            <a:off x="6651420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54" name="Abgerundetes Rechteck 53">
            <a:extLst>
              <a:ext uri="{FF2B5EF4-FFF2-40B4-BE49-F238E27FC236}">
                <a16:creationId xmlns:a16="http://schemas.microsoft.com/office/drawing/2014/main" id="{631564AC-93BC-F543-91BB-224609824148}"/>
              </a:ext>
            </a:extLst>
          </p:cNvPr>
          <p:cNvSpPr/>
          <p:nvPr/>
        </p:nvSpPr>
        <p:spPr>
          <a:xfrm>
            <a:off x="7125704" y="569822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55" name="Abgerundetes Rechteck 54">
            <a:extLst>
              <a:ext uri="{FF2B5EF4-FFF2-40B4-BE49-F238E27FC236}">
                <a16:creationId xmlns:a16="http://schemas.microsoft.com/office/drawing/2014/main" id="{93446ACA-FB9E-8846-B4D6-818276CD6C45}"/>
              </a:ext>
            </a:extLst>
          </p:cNvPr>
          <p:cNvSpPr/>
          <p:nvPr/>
        </p:nvSpPr>
        <p:spPr>
          <a:xfrm>
            <a:off x="8597329" y="5375099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/>
          <p:nvPr/>
        </p:nvCxnSpPr>
        <p:spPr>
          <a:xfrm flipV="1">
            <a:off x="3038126" y="2691613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</p:cNvCxnSpPr>
          <p:nvPr/>
        </p:nvCxnSpPr>
        <p:spPr>
          <a:xfrm flipV="1">
            <a:off x="3038126" y="4215535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D534BA19-69BF-7246-B371-9C1C6566DA1C}"/>
              </a:ext>
            </a:extLst>
          </p:cNvPr>
          <p:cNvCxnSpPr>
            <a:cxnSpLocks/>
          </p:cNvCxnSpPr>
          <p:nvPr/>
        </p:nvCxnSpPr>
        <p:spPr>
          <a:xfrm>
            <a:off x="7709951" y="5641467"/>
            <a:ext cx="887378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75E69549-BC6E-4942-9149-EC1978BA075D}"/>
              </a:ext>
            </a:extLst>
          </p:cNvPr>
          <p:cNvSpPr txBox="1"/>
          <p:nvPr/>
        </p:nvSpPr>
        <p:spPr>
          <a:xfrm>
            <a:off x="7745515" y="541516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66C78C0C-9BF7-1A44-8F48-CD70B2F43FCD}"/>
              </a:ext>
            </a:extLst>
          </p:cNvPr>
          <p:cNvSpPr txBox="1"/>
          <p:nvPr/>
        </p:nvSpPr>
        <p:spPr>
          <a:xfrm>
            <a:off x="1073991" y="5533745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168660008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bgerundetes 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408232"/>
            <a:ext cx="3784448" cy="54671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Streaming werden Daten bereits vor dem vollständigen Laden verarbeite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7</a:t>
            </a:fld>
            <a:endParaRPr lang="de-DE" dirty="0"/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497903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497903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497903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497903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497903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Abgerundetes 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Abgerundetes 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926909"/>
            <a:ext cx="3784448" cy="59586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Abgerundetes 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33" name="Abgerundetes 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Abgerundetes 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Abgerundetes 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Abgerundetes 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Abgerundetes 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Abgerundetes 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Abgerundetes 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129179"/>
            <a:ext cx="368698" cy="30215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Abgerundetes 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>
            <a:cxnSpLocks/>
          </p:cNvCxnSpPr>
          <p:nvPr/>
        </p:nvCxnSpPr>
        <p:spPr>
          <a:xfrm flipV="1">
            <a:off x="3038126" y="2681589"/>
            <a:ext cx="887377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</p:cNvCxnSpPr>
          <p:nvPr/>
        </p:nvCxnSpPr>
        <p:spPr>
          <a:xfrm>
            <a:off x="3038126" y="4215536"/>
            <a:ext cx="887377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E1B866C7-49DA-0B43-8EF4-5C29544215D6}"/>
              </a:ext>
            </a:extLst>
          </p:cNvPr>
          <p:cNvCxnSpPr>
            <a:cxnSpLocks/>
          </p:cNvCxnSpPr>
          <p:nvPr/>
        </p:nvCxnSpPr>
        <p:spPr>
          <a:xfrm>
            <a:off x="7709951" y="2681589"/>
            <a:ext cx="887378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0ADC48E1-DF96-664B-AC5C-6AA4A70E5F89}"/>
              </a:ext>
            </a:extLst>
          </p:cNvPr>
          <p:cNvCxnSpPr>
            <a:cxnSpLocks/>
          </p:cNvCxnSpPr>
          <p:nvPr/>
        </p:nvCxnSpPr>
        <p:spPr>
          <a:xfrm flipV="1">
            <a:off x="7709951" y="4215536"/>
            <a:ext cx="887378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A01DDB82-220D-4842-A83D-29EE468E30B1}"/>
              </a:ext>
            </a:extLst>
          </p:cNvPr>
          <p:cNvSpPr txBox="1"/>
          <p:nvPr/>
        </p:nvSpPr>
        <p:spPr>
          <a:xfrm>
            <a:off x="7745515" y="244805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947B64A9-9159-D54B-BD57-5CA5EC74E130}"/>
              </a:ext>
            </a:extLst>
          </p:cNvPr>
          <p:cNvSpPr txBox="1"/>
          <p:nvPr/>
        </p:nvSpPr>
        <p:spPr>
          <a:xfrm>
            <a:off x="7769940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</p:spTree>
    <p:extLst>
      <p:ext uri="{BB962C8B-B14F-4D97-AF65-F5344CB8AC3E}">
        <p14:creationId xmlns:p14="http://schemas.microsoft.com/office/powerpoint/2010/main" val="248518822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21F49B-1D22-497A-B276-532B1C443F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70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21F49B-1D22-497A-B276-532B1C443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Bildplatzhalter 25" descr="Ein Bild, das Text enthält.&#10;&#10;Automatisch generierte Beschreibung">
            <a:extLst>
              <a:ext uri="{FF2B5EF4-FFF2-40B4-BE49-F238E27FC236}">
                <a16:creationId xmlns:a16="http://schemas.microsoft.com/office/drawing/2014/main" id="{2428EEFE-4981-4E5E-81A5-8F12C88A7FC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796" r="32796"/>
          <a:stretch/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3CEB0761-053F-433F-BF4B-344B0096CCD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reams bieten eine Reihe von Vorteilen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D3934F3B-7867-4720-B153-98C51463BE80}"/>
              </a:ext>
            </a:extLst>
          </p:cNvPr>
          <p:cNvGrpSpPr/>
          <p:nvPr/>
        </p:nvGrpSpPr>
        <p:grpSpPr bwMode="gray">
          <a:xfrm>
            <a:off x="623887" y="1592263"/>
            <a:ext cx="7120970" cy="1142594"/>
            <a:chOff x="623887" y="1592263"/>
            <a:chExt cx="7120970" cy="1142594"/>
          </a:xfrm>
        </p:grpSpPr>
        <p:sp>
          <p:nvSpPr>
            <p:cNvPr id="14" name="Textplatzhalter 6">
              <a:extLst>
                <a:ext uri="{FF2B5EF4-FFF2-40B4-BE49-F238E27FC236}">
                  <a16:creationId xmlns:a16="http://schemas.microsoft.com/office/drawing/2014/main" id="{5E258079-47BE-442F-B931-3FAC7851D45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7" y="15922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15" name="Textplatzhalter 7">
              <a:extLst>
                <a:ext uri="{FF2B5EF4-FFF2-40B4-BE49-F238E27FC236}">
                  <a16:creationId xmlns:a16="http://schemas.microsoft.com/office/drawing/2014/main" id="{34927F27-26FA-40E5-B583-23709DD2C0A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1734583"/>
              <a:ext cx="6251337" cy="1000274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Effizient</a:t>
              </a:r>
            </a:p>
            <a:p>
              <a:r>
                <a:rPr lang="de-DE" sz="1800" dirty="0"/>
                <a:t>Memory Verbrauch</a:t>
              </a:r>
            </a:p>
            <a:p>
              <a:r>
                <a:rPr lang="de-DE" sz="1800" dirty="0"/>
                <a:t>Verarbeitungszeit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CF825ABD-497C-4560-ACAD-0F4A6AEF9A83}"/>
              </a:ext>
            </a:extLst>
          </p:cNvPr>
          <p:cNvGrpSpPr/>
          <p:nvPr/>
        </p:nvGrpSpPr>
        <p:grpSpPr bwMode="gray">
          <a:xfrm>
            <a:off x="623888" y="3129548"/>
            <a:ext cx="7120969" cy="1773537"/>
            <a:chOff x="623888" y="3129548"/>
            <a:chExt cx="7120969" cy="1773537"/>
          </a:xfrm>
        </p:grpSpPr>
        <p:sp>
          <p:nvSpPr>
            <p:cNvPr id="16" name="Textplatzhalter 8">
              <a:extLst>
                <a:ext uri="{FF2B5EF4-FFF2-40B4-BE49-F238E27FC236}">
                  <a16:creationId xmlns:a16="http://schemas.microsoft.com/office/drawing/2014/main" id="{5D4A5D29-4175-4D55-80D4-56005CF7AA2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3129548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17" name="Textplatzhalter 9">
              <a:extLst>
                <a:ext uri="{FF2B5EF4-FFF2-40B4-BE49-F238E27FC236}">
                  <a16:creationId xmlns:a16="http://schemas.microsoft.com/office/drawing/2014/main" id="{4DB3CCF7-21A4-4D15-9699-63ED2EC19CA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3271869"/>
              <a:ext cx="6251337" cy="1631216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Ermöglicht das Verarbeiten großer Datenmengen</a:t>
              </a:r>
            </a:p>
            <a:p>
              <a:r>
                <a:rPr lang="de-DE" sz="1800" dirty="0"/>
                <a:t>V8 Buffer sind </a:t>
              </a:r>
              <a:r>
                <a:rPr lang="de-DE" sz="1800" dirty="0" err="1"/>
                <a:t>grds</a:t>
              </a:r>
              <a:r>
                <a:rPr lang="de-DE" sz="1800" dirty="0"/>
                <a:t>. in Größe beschränkt</a:t>
              </a:r>
            </a:p>
            <a:p>
              <a:pPr lvl="1"/>
              <a:r>
                <a:rPr lang="de-DE" sz="1800" dirty="0"/>
                <a:t>Je nach </a:t>
              </a:r>
              <a:r>
                <a:rPr lang="de-DE" sz="1800" dirty="0" err="1"/>
                <a:t>Node</a:t>
              </a:r>
              <a:r>
                <a:rPr lang="de-DE" sz="1800" dirty="0"/>
                <a:t>-Version unterschiedlich, maximal wenige GBs</a:t>
              </a:r>
            </a:p>
            <a:p>
              <a:pPr marL="0" indent="0">
                <a:buNone/>
              </a:pPr>
              <a:endParaRPr lang="de-DE" sz="1800" dirty="0"/>
            </a:p>
            <a:p>
              <a:pPr marL="0" indent="0">
                <a:buNone/>
              </a:pPr>
              <a:endParaRPr lang="de-DE" sz="1800" dirty="0"/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ABA66B4C-7C54-491C-9F70-E4D15400C80C}"/>
              </a:ext>
            </a:extLst>
          </p:cNvPr>
          <p:cNvGrpSpPr/>
          <p:nvPr/>
        </p:nvGrpSpPr>
        <p:grpSpPr bwMode="gray">
          <a:xfrm>
            <a:off x="623888" y="4628363"/>
            <a:ext cx="7120969" cy="1773536"/>
            <a:chOff x="623888" y="4628363"/>
            <a:chExt cx="7120969" cy="1773536"/>
          </a:xfrm>
        </p:grpSpPr>
        <p:sp>
          <p:nvSpPr>
            <p:cNvPr id="18" name="Textplatzhalter 10">
              <a:extLst>
                <a:ext uri="{FF2B5EF4-FFF2-40B4-BE49-F238E27FC236}">
                  <a16:creationId xmlns:a16="http://schemas.microsoft.com/office/drawing/2014/main" id="{1C9B5112-96A9-4416-9FE5-62DD416F181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46283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19" name="Textplatzhalter 11">
              <a:extLst>
                <a:ext uri="{FF2B5EF4-FFF2-40B4-BE49-F238E27FC236}">
                  <a16:creationId xmlns:a16="http://schemas.microsoft.com/office/drawing/2014/main" id="{BE2EE3C0-FA5E-4BC2-8C69-AF1739FC73A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4770683"/>
              <a:ext cx="6251337" cy="1631216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 err="1">
                  <a:latin typeface="+mj-lt"/>
                </a:rPr>
                <a:t>Composability</a:t>
              </a:r>
              <a:endParaRPr lang="de-DE" sz="2400" dirty="0">
                <a:latin typeface="+mj-lt"/>
              </a:endParaRPr>
            </a:p>
            <a:p>
              <a:r>
                <a:rPr lang="de-DE" sz="1800" dirty="0"/>
                <a:t>Streams können miteinander kombiniert werden</a:t>
              </a:r>
            </a:p>
            <a:p>
              <a:r>
                <a:rPr lang="de-DE" sz="1800" dirty="0"/>
                <a:t>Einfache Syntax</a:t>
              </a:r>
            </a:p>
            <a:p>
              <a:pPr marL="0" indent="0">
                <a:buNone/>
              </a:pPr>
              <a:endParaRPr lang="de-DE" sz="1800" dirty="0"/>
            </a:p>
            <a:p>
              <a:pPr marL="0" indent="0">
                <a:buNone/>
              </a:pPr>
              <a:endParaRPr lang="de-DE" sz="1800" dirty="0"/>
            </a:p>
          </p:txBody>
        </p:sp>
      </p:grpSp>
      <p:sp>
        <p:nvSpPr>
          <p:cNvPr id="32" name="Datumsplatzhalter 3">
            <a:extLst>
              <a:ext uri="{FF2B5EF4-FFF2-40B4-BE49-F238E27FC236}">
                <a16:creationId xmlns:a16="http://schemas.microsoft.com/office/drawing/2014/main" id="{8924F5E4-614F-4BBA-A2C6-C6E021EF123B}"/>
              </a:ext>
            </a:extLst>
          </p:cNvPr>
          <p:cNvSpPr txBox="1">
            <a:spLocks/>
          </p:cNvSpPr>
          <p:nvPr/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FF9B52-3DD9-4FD6-A712-32A7F5006566}" type="datetime1">
              <a:rPr lang="de-DE"/>
              <a:pPr/>
              <a:t>09.05.22</a:t>
            </a:fld>
            <a:endParaRPr lang="de-DE" dirty="0"/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7D240353-AF21-4E2C-B4E4-F82094864EAA}"/>
              </a:ext>
            </a:extLst>
          </p:cNvPr>
          <p:cNvSpPr txBox="1">
            <a:spLocks/>
          </p:cNvSpPr>
          <p:nvPr/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eite </a:t>
            </a:r>
            <a:fld id="{487D266B-E72C-4639-8FD6-1CF954A8FA0B}" type="slidenum">
              <a:rPr lang="de-DE"/>
              <a:pPr/>
              <a:t>58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46F648-B58D-40FC-8FB2-3E4A9B161F8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31933404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 früheres Beginnen der späteren Verarbeitungsschritte ist Streaming zeit-effizient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9</a:t>
            </a:fld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CDD1B43-083C-F544-8D89-8F65E5C38D91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2361366"/>
            <a:ext cx="4985468" cy="373705"/>
            <a:chOff x="623888" y="2370834"/>
            <a:chExt cx="10836270" cy="662651"/>
          </a:xfrm>
        </p:grpSpPr>
        <p:sp>
          <p:nvSpPr>
            <p:cNvPr id="9" name="Pfeil: Fünfeck 17">
              <a:extLst>
                <a:ext uri="{FF2B5EF4-FFF2-40B4-BE49-F238E27FC236}">
                  <a16:creationId xmlns:a16="http://schemas.microsoft.com/office/drawing/2014/main" id="{9139EE4F-055F-B342-91FA-54730F80A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Pfeil: Chevron 18">
              <a:extLst>
                <a:ext uri="{FF2B5EF4-FFF2-40B4-BE49-F238E27FC236}">
                  <a16:creationId xmlns:a16="http://schemas.microsoft.com/office/drawing/2014/main" id="{2F8F4298-78E5-864D-8182-3AEB92E5FD7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" name="Pfeil: Chevron 19">
              <a:extLst>
                <a:ext uri="{FF2B5EF4-FFF2-40B4-BE49-F238E27FC236}">
                  <a16:creationId xmlns:a16="http://schemas.microsoft.com/office/drawing/2014/main" id="{BFB37500-9BA7-1145-AF48-6995E5204B6C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EE5E185-B6B5-E04F-9FD5-0DC1F0992287}"/>
              </a:ext>
            </a:extLst>
          </p:cNvPr>
          <p:cNvGrpSpPr>
            <a:grpSpLocks/>
          </p:cNvGrpSpPr>
          <p:nvPr/>
        </p:nvGrpSpPr>
        <p:grpSpPr bwMode="gray">
          <a:xfrm>
            <a:off x="6464411" y="2779865"/>
            <a:ext cx="4995745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13" name="Pfeil: Fünfeck 17">
              <a:extLst>
                <a:ext uri="{FF2B5EF4-FFF2-40B4-BE49-F238E27FC236}">
                  <a16:creationId xmlns:a16="http://schemas.microsoft.com/office/drawing/2014/main" id="{C73AF608-FAAF-984D-9688-AC12ACEFC9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eiv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Pfeil: Chevron 18">
              <a:extLst>
                <a:ext uri="{FF2B5EF4-FFF2-40B4-BE49-F238E27FC236}">
                  <a16:creationId xmlns:a16="http://schemas.microsoft.com/office/drawing/2014/main" id="{344F6598-0725-A543-8F7E-FB8A4FDD5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Pfeil: Chevron 19">
              <a:extLst>
                <a:ext uri="{FF2B5EF4-FFF2-40B4-BE49-F238E27FC236}">
                  <a16:creationId xmlns:a16="http://schemas.microsoft.com/office/drawing/2014/main" id="{96EBF4FE-7C7B-384C-BE25-75234ED92F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4ECE67C-BB82-5245-A74B-09CDE6BD8318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3520025"/>
            <a:ext cx="1694948" cy="373705"/>
            <a:chOff x="623888" y="2370834"/>
            <a:chExt cx="10836270" cy="662651"/>
          </a:xfrm>
        </p:grpSpPr>
        <p:sp>
          <p:nvSpPr>
            <p:cNvPr id="17" name="Pfeil: Fünfeck 17">
              <a:extLst>
                <a:ext uri="{FF2B5EF4-FFF2-40B4-BE49-F238E27FC236}">
                  <a16:creationId xmlns:a16="http://schemas.microsoft.com/office/drawing/2014/main" id="{2FC9E0CA-5EBF-5344-8FBB-A2D84D57822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Pfeil: Chevron 18">
              <a:extLst>
                <a:ext uri="{FF2B5EF4-FFF2-40B4-BE49-F238E27FC236}">
                  <a16:creationId xmlns:a16="http://schemas.microsoft.com/office/drawing/2014/main" id="{C1BD3A31-33A8-A24F-A29A-E3697E2F88C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19" name="Pfeil: Chevron 19">
              <a:extLst>
                <a:ext uri="{FF2B5EF4-FFF2-40B4-BE49-F238E27FC236}">
                  <a16:creationId xmlns:a16="http://schemas.microsoft.com/office/drawing/2014/main" id="{243DDD97-D3D2-3C42-89A7-0BAEAFB57A62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9C6570D5-C1E8-6A4C-8EA2-E82D8E596F5E}"/>
              </a:ext>
            </a:extLst>
          </p:cNvPr>
          <p:cNvGrpSpPr>
            <a:grpSpLocks/>
          </p:cNvGrpSpPr>
          <p:nvPr/>
        </p:nvGrpSpPr>
        <p:grpSpPr bwMode="gray">
          <a:xfrm>
            <a:off x="2614539" y="3997629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1" name="Pfeil: Fünfeck 17">
              <a:extLst>
                <a:ext uri="{FF2B5EF4-FFF2-40B4-BE49-F238E27FC236}">
                  <a16:creationId xmlns:a16="http://schemas.microsoft.com/office/drawing/2014/main" id="{F06A363A-5DDF-BD4E-81C4-55E444639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2" name="Pfeil: Chevron 18">
              <a:extLst>
                <a:ext uri="{FF2B5EF4-FFF2-40B4-BE49-F238E27FC236}">
                  <a16:creationId xmlns:a16="http://schemas.microsoft.com/office/drawing/2014/main" id="{175C102E-D3CB-C64C-9F7C-17B409C23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3" name="Pfeil: Chevron 19">
              <a:extLst>
                <a:ext uri="{FF2B5EF4-FFF2-40B4-BE49-F238E27FC236}">
                  <a16:creationId xmlns:a16="http://schemas.microsoft.com/office/drawing/2014/main" id="{8B9CA019-EF09-9A46-B0B2-EA2E5CE2631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001F4EEA-CE77-D048-89D2-C4962FC5972A}"/>
              </a:ext>
            </a:extLst>
          </p:cNvPr>
          <p:cNvGrpSpPr>
            <a:grpSpLocks/>
          </p:cNvGrpSpPr>
          <p:nvPr/>
        </p:nvGrpSpPr>
        <p:grpSpPr bwMode="gray">
          <a:xfrm>
            <a:off x="2055187" y="4491831"/>
            <a:ext cx="1694948" cy="373705"/>
            <a:chOff x="623888" y="2370834"/>
            <a:chExt cx="10836270" cy="662651"/>
          </a:xfrm>
        </p:grpSpPr>
        <p:sp>
          <p:nvSpPr>
            <p:cNvPr id="45" name="Pfeil: Fünfeck 17">
              <a:extLst>
                <a:ext uri="{FF2B5EF4-FFF2-40B4-BE49-F238E27FC236}">
                  <a16:creationId xmlns:a16="http://schemas.microsoft.com/office/drawing/2014/main" id="{007DBE8A-C9FD-1B4B-9D07-F95C51D00FF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6" name="Pfeil: Chevron 18">
              <a:extLst>
                <a:ext uri="{FF2B5EF4-FFF2-40B4-BE49-F238E27FC236}">
                  <a16:creationId xmlns:a16="http://schemas.microsoft.com/office/drawing/2014/main" id="{F128402C-E294-3D4B-99CB-DAC38D1AD7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7" name="Pfeil: Chevron 19">
              <a:extLst>
                <a:ext uri="{FF2B5EF4-FFF2-40B4-BE49-F238E27FC236}">
                  <a16:creationId xmlns:a16="http://schemas.microsoft.com/office/drawing/2014/main" id="{B366DB77-9C86-2849-97C0-AE8C68B36D79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8C82AD20-4942-C442-BB26-53153CF60921}"/>
              </a:ext>
            </a:extLst>
          </p:cNvPr>
          <p:cNvGrpSpPr>
            <a:grpSpLocks/>
          </p:cNvGrpSpPr>
          <p:nvPr/>
        </p:nvGrpSpPr>
        <p:grpSpPr bwMode="gray">
          <a:xfrm>
            <a:off x="3190783" y="4969435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9" name="Pfeil: Fünfeck 17">
              <a:extLst>
                <a:ext uri="{FF2B5EF4-FFF2-40B4-BE49-F238E27FC236}">
                  <a16:creationId xmlns:a16="http://schemas.microsoft.com/office/drawing/2014/main" id="{413A8BFF-1643-A149-A82A-32DE435E8C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0" name="Pfeil: Chevron 18">
              <a:extLst>
                <a:ext uri="{FF2B5EF4-FFF2-40B4-BE49-F238E27FC236}">
                  <a16:creationId xmlns:a16="http://schemas.microsoft.com/office/drawing/2014/main" id="{6713C158-B0A2-7240-909C-6508AAD2FB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1" name="Pfeil: Chevron 19">
              <a:extLst>
                <a:ext uri="{FF2B5EF4-FFF2-40B4-BE49-F238E27FC236}">
                  <a16:creationId xmlns:a16="http://schemas.microsoft.com/office/drawing/2014/main" id="{BA75CC08-2FB1-3B47-BE08-C3DA0A83D7A3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DFC794B1-49F1-DB40-8010-B240657FFECA}"/>
              </a:ext>
            </a:extLst>
          </p:cNvPr>
          <p:cNvGrpSpPr>
            <a:grpSpLocks/>
          </p:cNvGrpSpPr>
          <p:nvPr/>
        </p:nvGrpSpPr>
        <p:grpSpPr bwMode="gray">
          <a:xfrm>
            <a:off x="2631431" y="5467060"/>
            <a:ext cx="1694948" cy="373705"/>
            <a:chOff x="623888" y="2370834"/>
            <a:chExt cx="10836270" cy="662651"/>
          </a:xfrm>
        </p:grpSpPr>
        <p:sp>
          <p:nvSpPr>
            <p:cNvPr id="53" name="Pfeil: Fünfeck 17">
              <a:extLst>
                <a:ext uri="{FF2B5EF4-FFF2-40B4-BE49-F238E27FC236}">
                  <a16:creationId xmlns:a16="http://schemas.microsoft.com/office/drawing/2014/main" id="{C60485E8-9C4E-714F-A186-C20D2A21469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4" name="Pfeil: Chevron 18">
              <a:extLst>
                <a:ext uri="{FF2B5EF4-FFF2-40B4-BE49-F238E27FC236}">
                  <a16:creationId xmlns:a16="http://schemas.microsoft.com/office/drawing/2014/main" id="{2D177F86-E629-5F49-A22B-25F4C8091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5" name="Pfeil: Chevron 19">
              <a:extLst>
                <a:ext uri="{FF2B5EF4-FFF2-40B4-BE49-F238E27FC236}">
                  <a16:creationId xmlns:a16="http://schemas.microsoft.com/office/drawing/2014/main" id="{AB9773CE-F22E-BC4E-A09B-05B5BF19503D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286CEB33-6962-A849-B92E-52636B7809A4}"/>
              </a:ext>
            </a:extLst>
          </p:cNvPr>
          <p:cNvGrpSpPr>
            <a:grpSpLocks/>
          </p:cNvGrpSpPr>
          <p:nvPr/>
        </p:nvGrpSpPr>
        <p:grpSpPr bwMode="gray">
          <a:xfrm>
            <a:off x="3767027" y="5944664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57" name="Pfeil: Fünfeck 17">
              <a:extLst>
                <a:ext uri="{FF2B5EF4-FFF2-40B4-BE49-F238E27FC236}">
                  <a16:creationId xmlns:a16="http://schemas.microsoft.com/office/drawing/2014/main" id="{06098D7D-DFBB-854B-B5A3-DEDC8943405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8" name="Pfeil: Chevron 18">
              <a:extLst>
                <a:ext uri="{FF2B5EF4-FFF2-40B4-BE49-F238E27FC236}">
                  <a16:creationId xmlns:a16="http://schemas.microsoft.com/office/drawing/2014/main" id="{68583816-8F67-804D-A334-469DC2EEDC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9" name="Pfeil: Chevron 19">
              <a:extLst>
                <a:ext uri="{FF2B5EF4-FFF2-40B4-BE49-F238E27FC236}">
                  <a16:creationId xmlns:a16="http://schemas.microsoft.com/office/drawing/2014/main" id="{7104585D-8CBA-A943-B7A6-A433E5E781A7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0" name="Textfeld 59">
            <a:extLst>
              <a:ext uri="{FF2B5EF4-FFF2-40B4-BE49-F238E27FC236}">
                <a16:creationId xmlns:a16="http://schemas.microsoft.com/office/drawing/2014/main" id="{3D2A1B21-307B-C64F-BFAC-1A6759DC2615}"/>
              </a:ext>
            </a:extLst>
          </p:cNvPr>
          <p:cNvSpPr txBox="1"/>
          <p:nvPr/>
        </p:nvSpPr>
        <p:spPr>
          <a:xfrm>
            <a:off x="623888" y="2440496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Buffering</a:t>
            </a:r>
            <a:endParaRPr lang="de-DE" sz="1400" dirty="0"/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8F2C8A00-F831-4449-B7AD-2DAE7DFA714B}"/>
              </a:ext>
            </a:extLst>
          </p:cNvPr>
          <p:cNvSpPr txBox="1"/>
          <p:nvPr/>
        </p:nvSpPr>
        <p:spPr>
          <a:xfrm>
            <a:off x="623887" y="3599155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treaming</a:t>
            </a:r>
          </a:p>
        </p:txBody>
      </p:sp>
      <p:cxnSp>
        <p:nvCxnSpPr>
          <p:cNvPr id="63" name="Gerade Verbindung 62">
            <a:extLst>
              <a:ext uri="{FF2B5EF4-FFF2-40B4-BE49-F238E27FC236}">
                <a16:creationId xmlns:a16="http://schemas.microsoft.com/office/drawing/2014/main" id="{D9018473-194A-4149-BE3A-027830655C2E}"/>
              </a:ext>
            </a:extLst>
          </p:cNvPr>
          <p:cNvCxnSpPr/>
          <p:nvPr/>
        </p:nvCxnSpPr>
        <p:spPr>
          <a:xfrm>
            <a:off x="623887" y="3349908"/>
            <a:ext cx="10926883" cy="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Pfeil: Fünfeck 17">
            <a:extLst>
              <a:ext uri="{FF2B5EF4-FFF2-40B4-BE49-F238E27FC236}">
                <a16:creationId xmlns:a16="http://schemas.microsoft.com/office/drawing/2014/main" id="{ADBDD568-EE5C-EC8E-59BC-262890245C01}"/>
              </a:ext>
            </a:extLst>
          </p:cNvPr>
          <p:cNvSpPr>
            <a:spLocks/>
          </p:cNvSpPr>
          <p:nvPr/>
        </p:nvSpPr>
        <p:spPr bwMode="gray">
          <a:xfrm>
            <a:off x="7980072" y="1505012"/>
            <a:ext cx="1694948" cy="373705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erver</a:t>
            </a:r>
          </a:p>
        </p:txBody>
      </p:sp>
      <p:sp>
        <p:nvSpPr>
          <p:cNvPr id="67" name="Pfeil: Fünfeck 17">
            <a:extLst>
              <a:ext uri="{FF2B5EF4-FFF2-40B4-BE49-F238E27FC236}">
                <a16:creationId xmlns:a16="http://schemas.microsoft.com/office/drawing/2014/main" id="{ADCCC5F7-4CCE-1453-DDCD-DDB9EEFFEE05}"/>
              </a:ext>
            </a:extLst>
          </p:cNvPr>
          <p:cNvSpPr>
            <a:spLocks/>
          </p:cNvSpPr>
          <p:nvPr/>
        </p:nvSpPr>
        <p:spPr bwMode="gray">
          <a:xfrm>
            <a:off x="9784373" y="1498826"/>
            <a:ext cx="1698442" cy="373705"/>
          </a:xfrm>
          <a:prstGeom prst="homePlate">
            <a:avLst>
              <a:gd name="adj" fmla="val 290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Client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55FD533C-1772-D893-1CA1-C601D8AAC343}"/>
              </a:ext>
            </a:extLst>
          </p:cNvPr>
          <p:cNvSpPr txBox="1"/>
          <p:nvPr/>
        </p:nvSpPr>
        <p:spPr>
          <a:xfrm>
            <a:off x="7313632" y="1543529"/>
            <a:ext cx="9926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Legende</a:t>
            </a:r>
            <a:endParaRPr lang="de-DE" sz="14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8826015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86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Bildplatzhalter 70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C2350552-3342-4B1C-AD57-06E9019C37F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594" r="29594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349665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535165"/>
            <a:ext cx="6251337" cy="276999"/>
          </a:xfrm>
        </p:spPr>
        <p:txBody>
          <a:bodyPr/>
          <a:lstStyle/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399166"/>
            <a:ext cx="6251337" cy="276999"/>
          </a:xfrm>
        </p:spPr>
        <p:txBody>
          <a:bodyPr/>
          <a:lstStyle/>
          <a:p>
            <a:r>
              <a:rPr lang="de-DE" dirty="0"/>
              <a:t>Pause (15 Minuten)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3888" y="3077665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0EF88AF-C71B-4242-BA40-F946844D9C7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93520" y="3263165"/>
            <a:ext cx="6251337" cy="276999"/>
          </a:xfrm>
        </p:spPr>
        <p:txBody>
          <a:bodyPr/>
          <a:lstStyle/>
          <a:p>
            <a:r>
              <a:rPr lang="de-DE" dirty="0"/>
              <a:t>Events (Observer)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ABD76493-895B-40C0-A8E2-6D679168C263}" type="datetime1">
              <a:rPr lang="de-DE" smtClean="0">
                <a:solidFill>
                  <a:schemeClr val="bg1"/>
                </a:solidFill>
              </a:rPr>
              <a:pPr/>
              <a:t>09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3A024F-EE15-450A-8F5C-1677CC453FD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3B417E46-0ECB-1AA3-F4B4-4E888689B2BF}"/>
              </a:ext>
            </a:extLst>
          </p:cNvPr>
          <p:cNvSpPr txBox="1">
            <a:spLocks/>
          </p:cNvSpPr>
          <p:nvPr/>
        </p:nvSpPr>
        <p:spPr bwMode="gray">
          <a:xfrm>
            <a:off x="623888" y="3912434"/>
            <a:ext cx="648000" cy="648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4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3B910614-EFE0-5FE9-FB44-CFCA3416ED03}"/>
              </a:ext>
            </a:extLst>
          </p:cNvPr>
          <p:cNvSpPr txBox="1">
            <a:spLocks/>
          </p:cNvSpPr>
          <p:nvPr/>
        </p:nvSpPr>
        <p:spPr bwMode="gray">
          <a:xfrm>
            <a:off x="1493519" y="4093927"/>
            <a:ext cx="6251337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treams</a:t>
            </a:r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A2552E78-DA58-73DD-CA42-7E4A76A11EA0}"/>
              </a:ext>
            </a:extLst>
          </p:cNvPr>
          <p:cNvSpPr txBox="1">
            <a:spLocks/>
          </p:cNvSpPr>
          <p:nvPr/>
        </p:nvSpPr>
        <p:spPr bwMode="gray">
          <a:xfrm>
            <a:off x="623888" y="4745935"/>
            <a:ext cx="648000" cy="648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4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8" name="Textplatzhalter 11">
            <a:extLst>
              <a:ext uri="{FF2B5EF4-FFF2-40B4-BE49-F238E27FC236}">
                <a16:creationId xmlns:a16="http://schemas.microsoft.com/office/drawing/2014/main" id="{2DED81BF-3192-94F8-E479-A97ACE887A50}"/>
              </a:ext>
            </a:extLst>
          </p:cNvPr>
          <p:cNvSpPr txBox="1">
            <a:spLocks/>
          </p:cNvSpPr>
          <p:nvPr/>
        </p:nvSpPr>
        <p:spPr bwMode="gray">
          <a:xfrm>
            <a:off x="623888" y="5579436"/>
            <a:ext cx="648000" cy="648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4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4</a:t>
            </a:r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F7F37111-0BEE-A305-2157-1014099709AA}"/>
              </a:ext>
            </a:extLst>
          </p:cNvPr>
          <p:cNvSpPr txBox="1">
            <a:spLocks/>
          </p:cNvSpPr>
          <p:nvPr/>
        </p:nvSpPr>
        <p:spPr bwMode="gray">
          <a:xfrm>
            <a:off x="1493519" y="4926788"/>
            <a:ext cx="6251337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ause (10-15 Minuten)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060D202F-5831-D647-FADC-610A176F9A37}"/>
              </a:ext>
            </a:extLst>
          </p:cNvPr>
          <p:cNvSpPr txBox="1">
            <a:spLocks/>
          </p:cNvSpPr>
          <p:nvPr/>
        </p:nvSpPr>
        <p:spPr bwMode="gray">
          <a:xfrm>
            <a:off x="1493519" y="5759649"/>
            <a:ext cx="6251337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eiterführende Patterns</a:t>
            </a:r>
          </a:p>
        </p:txBody>
      </p:sp>
      <p:sp>
        <p:nvSpPr>
          <p:cNvPr id="22" name="Textplatzhalter 11">
            <a:extLst>
              <a:ext uri="{FF2B5EF4-FFF2-40B4-BE49-F238E27FC236}">
                <a16:creationId xmlns:a16="http://schemas.microsoft.com/office/drawing/2014/main" id="{B87F8E45-3806-BD1C-8CCA-3AB99C09093A}"/>
              </a:ext>
            </a:extLst>
          </p:cNvPr>
          <p:cNvSpPr txBox="1">
            <a:spLocks/>
          </p:cNvSpPr>
          <p:nvPr/>
        </p:nvSpPr>
        <p:spPr bwMode="gray">
          <a:xfrm>
            <a:off x="622473" y="2216522"/>
            <a:ext cx="648000" cy="648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4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764167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945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10846523" cy="1762021"/>
          </a:xfrm>
        </p:spPr>
        <p:txBody>
          <a:bodyPr/>
          <a:lstStyle/>
          <a:p>
            <a:r>
              <a:rPr lang="de-DE" sz="5600" dirty="0"/>
              <a:t>Über Stream </a:t>
            </a:r>
            <a:r>
              <a:rPr lang="de-DE" sz="5600" dirty="0" err="1"/>
              <a:t>fliessen</a:t>
            </a:r>
            <a:r>
              <a:rPr lang="de-DE" sz="5600" dirty="0"/>
              <a:t> daten nach</a:t>
            </a:r>
          </a:p>
          <a:p>
            <a:r>
              <a:rPr lang="de-DE" sz="5600" dirty="0"/>
              <a:t>Und nach in </a:t>
            </a:r>
            <a:r>
              <a:rPr lang="de-DE" sz="5600" dirty="0" err="1"/>
              <a:t>zielobjekt</a:t>
            </a:r>
            <a:endParaRPr lang="de-DE" sz="5600" dirty="0"/>
          </a:p>
        </p:txBody>
      </p:sp>
    </p:spTree>
    <p:extLst>
      <p:ext uri="{BB962C8B-B14F-4D97-AF65-F5344CB8AC3E}">
        <p14:creationId xmlns:p14="http://schemas.microsoft.com/office/powerpoint/2010/main" val="405017433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 </a:t>
            </a:r>
            <a:r>
              <a:rPr lang="de-DE" dirty="0" err="1"/>
              <a:t>Node.js</a:t>
            </a:r>
            <a:r>
              <a:rPr lang="de-DE" dirty="0"/>
              <a:t> werden vier verschiedene Typen von Streams genutz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Readable</a:t>
            </a:r>
            <a:r>
              <a:rPr lang="de-DE" sz="1400" dirty="0"/>
              <a:t>, z.B. </a:t>
            </a:r>
            <a:r>
              <a:rPr lang="de-DE" sz="1400" dirty="0" err="1"/>
              <a:t>stdin</a:t>
            </a:r>
            <a:endParaRPr lang="de-DE" sz="1400" dirty="0"/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Writable</a:t>
            </a:r>
            <a:r>
              <a:rPr lang="de-DE" sz="1400" dirty="0"/>
              <a:t>, z.B. </a:t>
            </a:r>
            <a:r>
              <a:rPr lang="de-DE" sz="1400" dirty="0" err="1"/>
              <a:t>stdout</a:t>
            </a:r>
            <a:endParaRPr lang="de-DE" sz="1400" dirty="0"/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uplex: </a:t>
            </a:r>
            <a:r>
              <a:rPr lang="de-DE" sz="1400" dirty="0" err="1"/>
              <a:t>readable+writable</a:t>
            </a:r>
            <a:r>
              <a:rPr lang="de-DE" sz="1400" dirty="0"/>
              <a:t>, z.B. TCP Socket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Transform: Daten transformieren, z.B. </a:t>
            </a:r>
            <a:r>
              <a:rPr lang="de-DE" sz="1400" dirty="0" err="1"/>
              <a:t>zlib.createGzip</a:t>
            </a:r>
            <a:r>
              <a:rPr lang="de-DE" sz="1400" dirty="0"/>
              <a:t>()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6FF1025-EEED-5951-C468-5AA55C4E9283}"/>
              </a:ext>
            </a:extLst>
          </p:cNvPr>
          <p:cNvSpPr/>
          <p:nvPr/>
        </p:nvSpPr>
        <p:spPr>
          <a:xfrm>
            <a:off x="9787812" y="270588"/>
            <a:ext cx="2192694" cy="21647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r>
              <a:rPr lang="de-DE" sz="1400" dirty="0" err="1"/>
              <a:t>Todo</a:t>
            </a:r>
            <a:endParaRPr lang="de-DE" sz="1400" dirty="0"/>
          </a:p>
          <a:p>
            <a:pPr marL="266700" indent="-266700" algn="l">
              <a:buAutoNum type="arabicPeriod"/>
            </a:pPr>
            <a:r>
              <a:rPr lang="de-DE" sz="1400" dirty="0"/>
              <a:t>Layout noch </a:t>
            </a:r>
            <a:r>
              <a:rPr lang="de-DE" sz="1400" dirty="0" err="1"/>
              <a:t>bisxchen</a:t>
            </a:r>
            <a:r>
              <a:rPr lang="de-DE" sz="1400" dirty="0"/>
              <a:t> verbessern?</a:t>
            </a:r>
          </a:p>
        </p:txBody>
      </p:sp>
      <p:sp>
        <p:nvSpPr>
          <p:cNvPr id="11" name="Zylinder 10">
            <a:extLst>
              <a:ext uri="{FF2B5EF4-FFF2-40B4-BE49-F238E27FC236}">
                <a16:creationId xmlns:a16="http://schemas.microsoft.com/office/drawing/2014/main" id="{E304D4E5-D4F5-5EBE-5B10-6A354EF66362}"/>
              </a:ext>
            </a:extLst>
          </p:cNvPr>
          <p:cNvSpPr/>
          <p:nvPr/>
        </p:nvSpPr>
        <p:spPr>
          <a:xfrm rot="16200000">
            <a:off x="3990561" y="2204071"/>
            <a:ext cx="1769166" cy="5337313"/>
          </a:xfrm>
          <a:prstGeom prst="ca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43A2491-5C62-0A18-BD57-096986FC303F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1361661" y="4872727"/>
            <a:ext cx="1287119" cy="1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61DD0378-0FD2-3A85-0083-E2374997FADE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7543801" y="4872727"/>
            <a:ext cx="1287119" cy="9686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C9AAF212-484E-BB10-9D2E-6B347F6D2D0B}"/>
              </a:ext>
            </a:extLst>
          </p:cNvPr>
          <p:cNvSpPr txBox="1"/>
          <p:nvPr/>
        </p:nvSpPr>
        <p:spPr>
          <a:xfrm>
            <a:off x="1510748" y="4590939"/>
            <a:ext cx="84482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write</a:t>
            </a:r>
            <a:endParaRPr lang="de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629F8BF-1765-ED25-CA26-F5070FEEB627}"/>
              </a:ext>
            </a:extLst>
          </p:cNvPr>
          <p:cNvSpPr txBox="1"/>
          <p:nvPr/>
        </p:nvSpPr>
        <p:spPr>
          <a:xfrm>
            <a:off x="8146775" y="4590939"/>
            <a:ext cx="84482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read</a:t>
            </a:r>
            <a:endParaRPr lang="de-DE" sz="1400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3813C7DF-D7DE-A6F3-C2ED-4C5665021B89}"/>
              </a:ext>
            </a:extLst>
          </p:cNvPr>
          <p:cNvSpPr txBox="1"/>
          <p:nvPr/>
        </p:nvSpPr>
        <p:spPr>
          <a:xfrm>
            <a:off x="4529760" y="5378714"/>
            <a:ext cx="84482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_</a:t>
            </a:r>
            <a:r>
              <a:rPr lang="de-DE" sz="1400" dirty="0" err="1"/>
              <a:t>transform</a:t>
            </a:r>
            <a:endParaRPr lang="de-DE" sz="1400" dirty="0"/>
          </a:p>
        </p:txBody>
      </p:sp>
      <p:sp>
        <p:nvSpPr>
          <p:cNvPr id="16" name="Shape 2591">
            <a:extLst>
              <a:ext uri="{FF2B5EF4-FFF2-40B4-BE49-F238E27FC236}">
                <a16:creationId xmlns:a16="http://schemas.microsoft.com/office/drawing/2014/main" id="{0B26C422-1260-989E-2FB8-621AFBF9CF99}"/>
              </a:ext>
            </a:extLst>
          </p:cNvPr>
          <p:cNvSpPr/>
          <p:nvPr/>
        </p:nvSpPr>
        <p:spPr bwMode="gray">
          <a:xfrm>
            <a:off x="4877396" y="4425805"/>
            <a:ext cx="571962" cy="5876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591">
            <a:extLst>
              <a:ext uri="{FF2B5EF4-FFF2-40B4-BE49-F238E27FC236}">
                <a16:creationId xmlns:a16="http://schemas.microsoft.com/office/drawing/2014/main" id="{8384BE5F-EB14-6C52-8111-CFA294406238}"/>
              </a:ext>
            </a:extLst>
          </p:cNvPr>
          <p:cNvSpPr/>
          <p:nvPr/>
        </p:nvSpPr>
        <p:spPr bwMode="gray">
          <a:xfrm>
            <a:off x="4342938" y="4719616"/>
            <a:ext cx="571962" cy="5876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695087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34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7640068" cy="1762021"/>
          </a:xfrm>
        </p:spPr>
        <p:txBody>
          <a:bodyPr/>
          <a:lstStyle/>
          <a:p>
            <a:r>
              <a:rPr lang="de-DE" sz="5600" dirty="0"/>
              <a:t>Stream ist </a:t>
            </a:r>
            <a:r>
              <a:rPr lang="de-DE" sz="5600" dirty="0" err="1"/>
              <a:t>instanz</a:t>
            </a:r>
            <a:r>
              <a:rPr lang="de-DE" sz="5600" dirty="0"/>
              <a:t> von </a:t>
            </a:r>
          </a:p>
          <a:p>
            <a:r>
              <a:rPr lang="de-DE" sz="5600" dirty="0" err="1"/>
              <a:t>eventemitter</a:t>
            </a:r>
            <a:endParaRPr lang="de-DE" sz="5600" dirty="0"/>
          </a:p>
        </p:txBody>
      </p:sp>
    </p:spTree>
    <p:extLst>
      <p:ext uri="{BB962C8B-B14F-4D97-AF65-F5344CB8AC3E}">
        <p14:creationId xmlns:p14="http://schemas.microsoft.com/office/powerpoint/2010/main" val="111173158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ist asynchroner Iterato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3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E7ECE9E-4C9F-F54A-9B23-80B692120F80}"/>
              </a:ext>
            </a:extLst>
          </p:cNvPr>
          <p:cNvSpPr/>
          <p:nvPr/>
        </p:nvSpPr>
        <p:spPr>
          <a:xfrm>
            <a:off x="3161814" y="3922135"/>
            <a:ext cx="5472112" cy="98576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o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ces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tdi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lengt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oStrin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DB8551C-DD44-B821-48D9-1DE82D78544B}"/>
              </a:ext>
            </a:extLst>
          </p:cNvPr>
          <p:cNvSpPr/>
          <p:nvPr/>
        </p:nvSpPr>
        <p:spPr>
          <a:xfrm>
            <a:off x="3161814" y="2178170"/>
            <a:ext cx="5472112" cy="125083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cess.stdi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lengt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oStrin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)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28070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: einen neuen Custom </a:t>
            </a:r>
            <a:r>
              <a:rPr lang="de-DE" dirty="0" err="1"/>
              <a:t>Readable</a:t>
            </a:r>
            <a:r>
              <a:rPr lang="de-DE" dirty="0"/>
              <a:t> Stream implementier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eispiel 08-custom-readable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Zufallsbasiert Bytes erstellen, in Stream pushen und über </a:t>
            </a:r>
            <a:r>
              <a:rPr lang="de-DE" sz="1400" dirty="0" err="1"/>
              <a:t>EventListener</a:t>
            </a:r>
            <a:r>
              <a:rPr lang="de-DE" sz="1400" dirty="0"/>
              <a:t> auslesen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08-custom-readable-async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wandlung des Beispiels hin zu asynchronem Stream</a:t>
            </a:r>
          </a:p>
        </p:txBody>
      </p:sp>
    </p:spTree>
    <p:extLst>
      <p:ext uri="{BB962C8B-B14F-4D97-AF65-F5344CB8AC3E}">
        <p14:creationId xmlns:p14="http://schemas.microsoft.com/office/powerpoint/2010/main" val="395687235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0F8CE8-D81D-253E-EE37-75B06DD385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BC08E9-C348-2607-C978-BA75F544EA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C0BFD78-2454-AF6F-01A6-34A8B479C36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5959C40-AF09-2DFD-FB4E-561628DE6F6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909B12-875A-29E9-703F-846E75A5638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5</a:t>
            </a:fld>
            <a:endParaRPr lang="de-DE" dirty="0"/>
          </a:p>
        </p:txBody>
      </p:sp>
      <p:pic>
        <p:nvPicPr>
          <p:cNvPr id="7" name="08-custom-readable.mov" descr="08-custom-readable.mov">
            <a:hlinkClick r:id="" action="ppaction://media"/>
            <a:extLst>
              <a:ext uri="{FF2B5EF4-FFF2-40B4-BE49-F238E27FC236}">
                <a16:creationId xmlns:a16="http://schemas.microsoft.com/office/drawing/2014/main" id="{08DFB7FE-C397-E284-707C-757E65B2AAC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217488"/>
            <a:ext cx="12192000" cy="6421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472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89133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107132-5B8D-062C-72EE-45D2D54A4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3959563-9127-5516-B5FA-0BD73E5CE3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1EC13C9-6836-B42C-7B79-00A87EB4694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E21500-418F-6C5D-0166-F1C4E7CC307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F7A9E7-53E4-D18E-4B1D-CCD29255A33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6</a:t>
            </a:fld>
            <a:endParaRPr lang="de-DE" dirty="0"/>
          </a:p>
        </p:txBody>
      </p:sp>
      <p:pic>
        <p:nvPicPr>
          <p:cNvPr id="7" name="08-custom-readable-async.mov" descr="08-custom-readable-async.mov">
            <a:hlinkClick r:id="" action="ppaction://media"/>
            <a:extLst>
              <a:ext uri="{FF2B5EF4-FFF2-40B4-BE49-F238E27FC236}">
                <a16:creationId xmlns:a16="http://schemas.microsoft.com/office/drawing/2014/main" id="{4DF2495D-E742-1C91-1BFE-40281BC613B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217488"/>
            <a:ext cx="12192000" cy="6421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841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7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</a:t>
            </a:r>
            <a:r>
              <a:rPr lang="de-DE" dirty="0" err="1"/>
              <a:t>Writable</a:t>
            </a:r>
            <a:r>
              <a:rPr lang="de-DE" dirty="0"/>
              <a:t> erstell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9928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eispiel 11-custom-writable/</a:t>
            </a:r>
            <a:r>
              <a:rPr lang="de-DE" sz="1400" dirty="0" err="1"/>
              <a:t>simplified-construction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Über Write Stream Directory und File erstellen, dann Content in File schreibe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eispiel 11-custom-writable-async/</a:t>
            </a:r>
            <a:r>
              <a:rPr lang="de-DE" sz="1400" dirty="0" err="1"/>
              <a:t>simplified-construction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wandlung des Beispiels hin zu asynchronem Stream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 err="1">
                <a:solidFill>
                  <a:srgbClr val="FF0000"/>
                </a:solidFill>
              </a:rPr>
              <a:t>import</a:t>
            </a:r>
            <a:r>
              <a:rPr lang="de-DE" sz="1400" dirty="0">
                <a:solidFill>
                  <a:srgbClr val="FF0000"/>
                </a:solidFill>
              </a:rPr>
              <a:t> { </a:t>
            </a:r>
            <a:r>
              <a:rPr lang="de-DE" sz="1400" dirty="0" err="1">
                <a:solidFill>
                  <a:srgbClr val="FF0000"/>
                </a:solidFill>
              </a:rPr>
              <a:t>dirname</a:t>
            </a:r>
            <a:r>
              <a:rPr lang="de-DE" sz="1400" dirty="0">
                <a:solidFill>
                  <a:srgbClr val="FF0000"/>
                </a:solidFill>
              </a:rPr>
              <a:t>, </a:t>
            </a:r>
            <a:r>
              <a:rPr lang="de-DE" sz="1400" dirty="0" err="1">
                <a:solidFill>
                  <a:srgbClr val="FF0000"/>
                </a:solidFill>
              </a:rPr>
              <a:t>join</a:t>
            </a:r>
            <a:r>
              <a:rPr lang="de-DE" sz="1400" dirty="0">
                <a:solidFill>
                  <a:srgbClr val="FF0000"/>
                </a:solidFill>
              </a:rPr>
              <a:t> } </a:t>
            </a:r>
            <a:r>
              <a:rPr lang="de-DE" sz="1400" dirty="0" err="1">
                <a:solidFill>
                  <a:srgbClr val="FF0000"/>
                </a:solidFill>
              </a:rPr>
              <a:t>from</a:t>
            </a:r>
            <a:r>
              <a:rPr lang="de-DE" sz="1400" dirty="0">
                <a:solidFill>
                  <a:srgbClr val="FF0000"/>
                </a:solidFill>
              </a:rPr>
              <a:t> "</a:t>
            </a:r>
            <a:r>
              <a:rPr lang="de-DE" sz="1400" dirty="0" err="1">
                <a:solidFill>
                  <a:srgbClr val="FF0000"/>
                </a:solidFill>
              </a:rPr>
              <a:t>path</a:t>
            </a:r>
            <a:r>
              <a:rPr lang="de-DE" sz="1400" dirty="0">
                <a:solidFill>
                  <a:srgbClr val="FF0000"/>
                </a:solidFill>
              </a:rPr>
              <a:t>"</a:t>
            </a:r>
          </a:p>
        </p:txBody>
      </p:sp>
    </p:spTree>
    <p:extLst>
      <p:ext uri="{BB962C8B-B14F-4D97-AF65-F5344CB8AC3E}">
        <p14:creationId xmlns:p14="http://schemas.microsoft.com/office/powerpoint/2010/main" val="43183265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14573A-568C-280C-AD9B-F1666E2D2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C1DBFA6-878B-D59B-D576-E507F73D50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FB94C-0966-300F-9411-C829EC7BD75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AD591A-807F-3128-94F4-96D8B389512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B1914EE-D84F-F7F6-CABF-FDF6B8649FD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8</a:t>
            </a:fld>
            <a:endParaRPr lang="de-DE" dirty="0"/>
          </a:p>
        </p:txBody>
      </p:sp>
      <p:pic>
        <p:nvPicPr>
          <p:cNvPr id="8" name="11-custom-writable.mov" descr="11-custom-writable.mov">
            <a:hlinkClick r:id="" action="ppaction://media"/>
            <a:extLst>
              <a:ext uri="{FF2B5EF4-FFF2-40B4-BE49-F238E27FC236}">
                <a16:creationId xmlns:a16="http://schemas.microsoft.com/office/drawing/2014/main" id="{A4A7D00B-EB7B-0DD2-1F1B-62144C526AA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217488"/>
            <a:ext cx="12192000" cy="6421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901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6216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s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9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997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expor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las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RandomStream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extend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Readab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ruct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option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supe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option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thi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mittedByt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thi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tim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thi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tim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thi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pus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nul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451D2AD-2345-0B35-1078-E6F003A3D302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>
                <a:solidFill>
                  <a:srgbClr val="FF0000"/>
                </a:solidFill>
              </a:rPr>
              <a:t>warum </a:t>
            </a:r>
            <a:r>
              <a:rPr lang="de-DE" sz="1400" dirty="0" err="1">
                <a:solidFill>
                  <a:srgbClr val="FF0000"/>
                </a:solidFill>
              </a:rPr>
              <a:t>eig</a:t>
            </a:r>
            <a:r>
              <a:rPr lang="de-DE" sz="1400" dirty="0">
                <a:solidFill>
                  <a:srgbClr val="FF0000"/>
                </a:solidFill>
              </a:rPr>
              <a:t> </a:t>
            </a:r>
            <a:r>
              <a:rPr lang="de-DE" sz="1400" dirty="0" err="1">
                <a:solidFill>
                  <a:srgbClr val="FF0000"/>
                </a:solidFill>
              </a:rPr>
              <a:t>read</a:t>
            </a:r>
            <a:r>
              <a:rPr lang="de-DE" sz="1400" dirty="0">
                <a:solidFill>
                  <a:srgbClr val="FF0000"/>
                </a:solidFill>
              </a:rPr>
              <a:t> bei </a:t>
            </a:r>
            <a:r>
              <a:rPr lang="de-DE" sz="1400" dirty="0" err="1">
                <a:solidFill>
                  <a:srgbClr val="FF0000"/>
                </a:solidFill>
              </a:rPr>
              <a:t>new</a:t>
            </a:r>
            <a:r>
              <a:rPr lang="de-DE" sz="1400" dirty="0">
                <a:solidFill>
                  <a:srgbClr val="FF0000"/>
                </a:solidFill>
              </a:rPr>
              <a:t> </a:t>
            </a:r>
            <a:r>
              <a:rPr lang="de-DE" sz="1400" dirty="0" err="1">
                <a:solidFill>
                  <a:srgbClr val="FF0000"/>
                </a:solidFill>
              </a:rPr>
              <a:t>Readable</a:t>
            </a:r>
            <a:r>
              <a:rPr lang="de-DE" sz="1400" dirty="0">
                <a:solidFill>
                  <a:srgbClr val="FF0000"/>
                </a:solidFill>
              </a:rPr>
              <a:t>()?</a:t>
            </a:r>
          </a:p>
        </p:txBody>
      </p:sp>
    </p:spTree>
    <p:extLst>
      <p:ext uri="{BB962C8B-B14F-4D97-AF65-F5344CB8AC3E}">
        <p14:creationId xmlns:p14="http://schemas.microsoft.com/office/powerpoint/2010/main" val="29991710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E04CB-AB77-2745-871E-D1FDC7EB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iele des Training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BFF6D-CC81-6C4D-B5D0-9864A15720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134A7B-A2E1-EA45-8CF1-AF0675C54F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305AA7-96D7-9E44-9E74-F35F001AD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DC5A3-4235-1947-95F9-07B0AE40AF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4D7B557E-AC28-5B44-AF1F-2CBC2F29FF34}"/>
              </a:ext>
            </a:extLst>
          </p:cNvPr>
          <p:cNvSpPr txBox="1">
            <a:spLocks/>
          </p:cNvSpPr>
          <p:nvPr/>
        </p:nvSpPr>
        <p:spPr>
          <a:xfrm>
            <a:off x="623888" y="1833826"/>
            <a:ext cx="10955199" cy="3553183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Verständnis für Asynchronität in </a:t>
            </a:r>
            <a:r>
              <a:rPr lang="de-DE" dirty="0" err="1"/>
              <a:t>Node.js</a:t>
            </a:r>
            <a:r>
              <a:rPr lang="de-DE" dirty="0"/>
              <a:t> schaffen</a:t>
            </a:r>
          </a:p>
          <a:p>
            <a:pPr lvl="1"/>
            <a:r>
              <a:rPr lang="de-DE" dirty="0"/>
              <a:t>Vor allem dafür, wie die Patterns aufeinander aufbauen:</a:t>
            </a:r>
          </a:p>
          <a:p>
            <a:pPr lvl="2"/>
            <a:r>
              <a:rPr lang="de-DE" dirty="0" err="1"/>
              <a:t>Callbacks</a:t>
            </a:r>
            <a:r>
              <a:rPr lang="de-DE" dirty="0"/>
              <a:t> als Basis, darüber </a:t>
            </a:r>
            <a:r>
              <a:rPr lang="de-DE" dirty="0" err="1"/>
              <a:t>Promises</a:t>
            </a:r>
            <a:r>
              <a:rPr lang="de-DE" dirty="0"/>
              <a:t>, </a:t>
            </a:r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r>
              <a:rPr lang="de-DE" dirty="0"/>
              <a:t> und Streams</a:t>
            </a:r>
          </a:p>
          <a:p>
            <a:pPr lvl="2"/>
            <a:r>
              <a:rPr lang="de-DE" dirty="0"/>
              <a:t>Events </a:t>
            </a:r>
            <a:r>
              <a:rPr lang="de-DE" dirty="0">
                <a:sym typeface="Wingdings" pitchFamily="2" charset="2"/>
              </a:rPr>
              <a:t>als Basis von Streams</a:t>
            </a:r>
          </a:p>
          <a:p>
            <a:pPr lvl="2"/>
            <a:r>
              <a:rPr lang="de-DE" dirty="0">
                <a:sym typeface="Wingdings" pitchFamily="2" charset="2"/>
              </a:rPr>
              <a:t>Auf dieser Grundlage bauen dann weiterführende Patterns auf, wie asynchron initialisierte Komponenten</a:t>
            </a:r>
          </a:p>
          <a:p>
            <a:pPr marL="180000" lvl="1" indent="0">
              <a:buNone/>
            </a:pPr>
            <a:r>
              <a:rPr lang="de-DE" dirty="0">
                <a:sym typeface="Wingdings" pitchFamily="2" charset="2"/>
              </a:rPr>
              <a:t> Warum das Thema lernen? Ganz wichtiger Baustein, um </a:t>
            </a:r>
            <a:r>
              <a:rPr lang="de-DE" dirty="0" err="1">
                <a:sym typeface="Wingdings" pitchFamily="2" charset="2"/>
              </a:rPr>
              <a:t>Node.js</a:t>
            </a:r>
            <a:r>
              <a:rPr lang="de-DE" dirty="0">
                <a:sym typeface="Wingdings" pitchFamily="2" charset="2"/>
              </a:rPr>
              <a:t> zu verstehen</a:t>
            </a:r>
            <a:endParaRPr lang="de-DE" dirty="0"/>
          </a:p>
          <a:p>
            <a:r>
              <a:rPr lang="de-DE" dirty="0"/>
              <a:t>Ziel ist nicht, die Patterns vollständig zu beherrschen</a:t>
            </a:r>
          </a:p>
          <a:p>
            <a:pPr lvl="1"/>
            <a:r>
              <a:rPr lang="de-DE" dirty="0"/>
              <a:t>Aber: Interesse wecken?!</a:t>
            </a:r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30BA1B9-1B2F-51B9-265B-2A4D04C486E2}"/>
              </a:ext>
            </a:extLst>
          </p:cNvPr>
          <p:cNvSpPr/>
          <p:nvPr/>
        </p:nvSpPr>
        <p:spPr>
          <a:xfrm>
            <a:off x="9917723" y="123679"/>
            <a:ext cx="2180492" cy="1325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Ok so? Layout?</a:t>
            </a:r>
          </a:p>
        </p:txBody>
      </p:sp>
    </p:spTree>
    <p:extLst>
      <p:ext uri="{BB962C8B-B14F-4D97-AF65-F5344CB8AC3E}">
        <p14:creationId xmlns:p14="http://schemas.microsoft.com/office/powerpoint/2010/main" val="739563586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s – 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0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997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expor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las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RandomStream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extend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Readab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ruct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option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supe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option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thi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mittedByt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thi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tim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_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_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rea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anstatt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rea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aufrufen 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thi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tim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thi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pus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nul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</p:txBody>
      </p:sp>
    </p:spTree>
    <p:extLst>
      <p:ext uri="{BB962C8B-B14F-4D97-AF65-F5344CB8AC3E}">
        <p14:creationId xmlns:p14="http://schemas.microsoft.com/office/powerpoint/2010/main" val="399020046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</a:t>
            </a:r>
            <a:r>
              <a:rPr lang="de-DE" dirty="0" err="1"/>
              <a:t>writable</a:t>
            </a:r>
            <a:r>
              <a:rPr lang="de-DE" dirty="0"/>
              <a:t> erstell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1</a:t>
            </a:fld>
            <a:endParaRPr lang="de-DE" dirty="0"/>
          </a:p>
        </p:txBody>
      </p:sp>
      <p:pic>
        <p:nvPicPr>
          <p:cNvPr id="7" name="11-custom-writable-async.mov" descr="11-custom-writable-async.mov">
            <a:hlinkClick r:id="" action="ppaction://media"/>
            <a:extLst>
              <a:ext uri="{FF2B5EF4-FFF2-40B4-BE49-F238E27FC236}">
                <a16:creationId xmlns:a16="http://schemas.microsoft.com/office/drawing/2014/main" id="{BE205711-B1C8-3F24-CA7A-B2AADC54D98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320675"/>
            <a:ext cx="12192000" cy="621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505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576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: Implementierung von </a:t>
            </a:r>
            <a:r>
              <a:rPr lang="de-DE" dirty="0" err="1"/>
              <a:t>Readable</a:t>
            </a:r>
            <a:r>
              <a:rPr lang="de-DE" dirty="0"/>
              <a:t> vereinfach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2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8686718-8F65-CF4A-1B14-84EEFDB9F3B4}"/>
              </a:ext>
            </a:extLst>
          </p:cNvPr>
          <p:cNvSpPr/>
          <p:nvPr/>
        </p:nvSpPr>
        <p:spPr>
          <a:xfrm>
            <a:off x="9787812" y="270588"/>
            <a:ext cx="2192694" cy="21647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r>
              <a:rPr lang="de-DE" sz="1400" dirty="0" err="1"/>
              <a:t>Todo</a:t>
            </a:r>
            <a:endParaRPr lang="de-DE" sz="14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73D68B6-22DC-37A4-555D-8236849926D3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ereits implementiertes </a:t>
            </a:r>
            <a:r>
              <a:rPr lang="de-DE" sz="1400" dirty="0" err="1"/>
              <a:t>Readable</a:t>
            </a:r>
            <a:r>
              <a:rPr lang="de-DE" sz="1400" dirty="0"/>
              <a:t> vereinfache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nstatt </a:t>
            </a:r>
            <a:r>
              <a:rPr lang="de-DE" sz="1400" dirty="0" err="1"/>
              <a:t>Readable</a:t>
            </a:r>
            <a:r>
              <a:rPr lang="de-DE" sz="1400" dirty="0"/>
              <a:t> zu </a:t>
            </a:r>
            <a:r>
              <a:rPr lang="de-DE" sz="1400" dirty="0" err="1"/>
              <a:t>extenden</a:t>
            </a:r>
            <a:r>
              <a:rPr lang="de-DE" sz="1400" dirty="0"/>
              <a:t> (</a:t>
            </a:r>
            <a:r>
              <a:rPr lang="de-DE" sz="1400" dirty="0" err="1"/>
              <a:t>class</a:t>
            </a:r>
            <a:r>
              <a:rPr lang="de-DE" sz="1400" dirty="0"/>
              <a:t> </a:t>
            </a:r>
            <a:r>
              <a:rPr lang="de-DE" sz="1400" dirty="0" err="1"/>
              <a:t>RandomStream</a:t>
            </a:r>
            <a:r>
              <a:rPr lang="de-DE" sz="1400" dirty="0"/>
              <a:t> </a:t>
            </a:r>
            <a:r>
              <a:rPr lang="de-DE" sz="1400" dirty="0" err="1"/>
              <a:t>extends</a:t>
            </a:r>
            <a:r>
              <a:rPr lang="de-DE" sz="1400" dirty="0"/>
              <a:t> </a:t>
            </a:r>
            <a:r>
              <a:rPr lang="de-DE" sz="1400" dirty="0" err="1"/>
              <a:t>Readable</a:t>
            </a:r>
            <a:r>
              <a:rPr lang="de-DE" sz="1400" dirty="0"/>
              <a:t>), soll unser Stream über </a:t>
            </a:r>
            <a:r>
              <a:rPr lang="de-DE" sz="1400" dirty="0" err="1"/>
              <a:t>new</a:t>
            </a:r>
            <a:r>
              <a:rPr lang="de-DE" sz="1400" dirty="0"/>
              <a:t> </a:t>
            </a:r>
            <a:r>
              <a:rPr lang="de-DE" sz="1400" dirty="0" err="1"/>
              <a:t>Readable</a:t>
            </a:r>
            <a:r>
              <a:rPr lang="de-DE" sz="1400" dirty="0"/>
              <a:t>() so erzeugt werden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const</a:t>
            </a:r>
            <a:r>
              <a:rPr lang="de-DE" sz="1400" dirty="0"/>
              <a:t> </a:t>
            </a:r>
            <a:r>
              <a:rPr lang="de-DE" sz="1400" dirty="0" err="1"/>
              <a:t>randomStream</a:t>
            </a:r>
            <a:r>
              <a:rPr lang="de-DE" sz="1400" dirty="0"/>
              <a:t> = </a:t>
            </a:r>
            <a:r>
              <a:rPr lang="de-DE" sz="1400" dirty="0" err="1"/>
              <a:t>new</a:t>
            </a:r>
            <a:r>
              <a:rPr lang="de-DE" sz="1400" dirty="0"/>
              <a:t> </a:t>
            </a:r>
            <a:r>
              <a:rPr lang="de-DE" sz="1400" dirty="0" err="1"/>
              <a:t>Readable</a:t>
            </a:r>
            <a:r>
              <a:rPr lang="de-DE" sz="1400" dirty="0"/>
              <a:t>(&lt;</a:t>
            </a:r>
            <a:r>
              <a:rPr lang="de-DE" sz="1400" dirty="0" err="1"/>
              <a:t>arguments</a:t>
            </a:r>
            <a:r>
              <a:rPr lang="de-DE" sz="1400" dirty="0"/>
              <a:t>&gt;);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2"/>
              </a:rPr>
              <a:t>https://stackblitz.com/edit/node-yxuxew</a:t>
            </a:r>
            <a:r>
              <a:rPr lang="de-DE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0416003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: Implementierung von </a:t>
            </a:r>
            <a:r>
              <a:rPr lang="de-DE" dirty="0" err="1"/>
              <a:t>Readable</a:t>
            </a:r>
            <a:r>
              <a:rPr lang="de-DE" dirty="0"/>
              <a:t> vereinfach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3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8686718-8F65-CF4A-1B14-84EEFDB9F3B4}"/>
              </a:ext>
            </a:extLst>
          </p:cNvPr>
          <p:cNvSpPr/>
          <p:nvPr/>
        </p:nvSpPr>
        <p:spPr>
          <a:xfrm>
            <a:off x="9787812" y="270588"/>
            <a:ext cx="2192694" cy="21647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r>
              <a:rPr lang="de-DE" sz="1400" dirty="0" err="1"/>
              <a:t>Todo</a:t>
            </a:r>
            <a:endParaRPr lang="de-DE" sz="14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73D68B6-22DC-37A4-555D-8236849926D3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Lösung: </a:t>
            </a:r>
            <a:r>
              <a:rPr lang="de-DE" sz="1400" dirty="0">
                <a:hlinkClick r:id="rId2"/>
              </a:rPr>
              <a:t>https://stackblitz.com/edit/node-cbnau8</a:t>
            </a:r>
            <a:r>
              <a:rPr lang="de-DE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0383988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51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synchron initialisierte Komponen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1704598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Asynchron initialisierte Komponen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Beispiel 12-async-init-quick-and-easy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atenbankkomponente, die asynchron initialisiert wird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obald Verbindung hergestellt ist, wird "</a:t>
            </a:r>
            <a:r>
              <a:rPr lang="de-DE" sz="1400" dirty="0" err="1"/>
              <a:t>connected</a:t>
            </a:r>
            <a:r>
              <a:rPr lang="de-DE" sz="1400" dirty="0"/>
              <a:t>“ Event </a:t>
            </a:r>
            <a:r>
              <a:rPr lang="de-DE" sz="1400" dirty="0" err="1"/>
              <a:t>emittet</a:t>
            </a:r>
            <a:r>
              <a:rPr lang="de-DE" sz="1400" dirty="0"/>
              <a:t> und Clients können </a:t>
            </a:r>
            <a:r>
              <a:rPr lang="de-DE" sz="1400" dirty="0" err="1"/>
              <a:t>Queries</a:t>
            </a:r>
            <a:r>
              <a:rPr lang="de-DE" sz="1400" dirty="0"/>
              <a:t> ausführ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54827A3-ACAE-A598-60FF-6638A03B47C0}"/>
              </a:ext>
            </a:extLst>
          </p:cNvPr>
          <p:cNvSpPr txBox="1"/>
          <p:nvPr/>
        </p:nvSpPr>
        <p:spPr>
          <a:xfrm>
            <a:off x="11287089" y="421204"/>
            <a:ext cx="75873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Weiterführende Pattern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B34F440-8A7B-072E-96E1-88EF250BCF0B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939828600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31E74-73A2-4C8A-171A-D038CDAD51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5E345CA-EDA7-E6B3-41F2-53E4DEBF60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69D78B-E0FA-C57B-0C29-A0B769CDB77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5038D19-6108-94EA-BE07-07C849A254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26C385-6F66-910A-7620-9D20171E243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6</a:t>
            </a:fld>
            <a:endParaRPr lang="de-DE" dirty="0"/>
          </a:p>
        </p:txBody>
      </p:sp>
      <p:pic>
        <p:nvPicPr>
          <p:cNvPr id="7" name="12-async-init-queues.mov" descr="12-async-init-queues.mov">
            <a:hlinkClick r:id="" action="ppaction://media"/>
            <a:extLst>
              <a:ext uri="{FF2B5EF4-FFF2-40B4-BE49-F238E27FC236}">
                <a16:creationId xmlns:a16="http://schemas.microsoft.com/office/drawing/2014/main" id="{0B4988A4-7520-18C0-1ECC-0E55311A18C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320675"/>
            <a:ext cx="12192000" cy="621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177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7833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Asynchron initialisierte Komponen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Beispiel 13-async-init-queue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is Verbindung hergestellt ist, werden </a:t>
            </a:r>
            <a:r>
              <a:rPr lang="de-DE" sz="1400" dirty="0" err="1"/>
              <a:t>Queries</a:t>
            </a:r>
            <a:r>
              <a:rPr lang="de-DE" sz="1400" dirty="0"/>
              <a:t> in einer Queue gespeichert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Nach "</a:t>
            </a:r>
            <a:r>
              <a:rPr lang="de-DE" sz="1400" dirty="0" err="1"/>
              <a:t>connected</a:t>
            </a:r>
            <a:r>
              <a:rPr lang="de-DE" sz="1400" dirty="0"/>
              <a:t>“ Event werden die </a:t>
            </a:r>
            <a:r>
              <a:rPr lang="de-DE" sz="1400" dirty="0" err="1"/>
              <a:t>Queries</a:t>
            </a:r>
            <a:r>
              <a:rPr lang="de-DE" sz="1400" dirty="0"/>
              <a:t> abgearbeitet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30422183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5DF9FA-6B4F-DFDD-326E-E385172829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FF596D-6AA5-AB02-5B73-61285DEA48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858A1BB-0EFB-1E94-C0A7-B1ECFDB86B4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5D54505-A135-8CC1-7A74-DE188B53946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5CA6B1-2F03-41FE-6705-3B0FE2C82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8</a:t>
            </a:fld>
            <a:endParaRPr lang="de-DE" dirty="0"/>
          </a:p>
        </p:txBody>
      </p:sp>
      <p:pic>
        <p:nvPicPr>
          <p:cNvPr id="7" name="13-async-init-queues.mov" descr="13-async-init-queues.mov">
            <a:hlinkClick r:id="" action="ppaction://media"/>
            <a:extLst>
              <a:ext uri="{FF2B5EF4-FFF2-40B4-BE49-F238E27FC236}">
                <a16:creationId xmlns:a16="http://schemas.microsoft.com/office/drawing/2014/main" id="{09217E1D-D8D4-1E58-BED8-34A059F7DFE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320675"/>
            <a:ext cx="12192000" cy="621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229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8716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6B154F-9768-AA28-0BC4-D3DE584295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5AFF71B-5D63-2608-F25F-D4F94BA106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F032821-C657-B4A5-4C19-F72456E7590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D229E13-CFD5-850B-A034-37E544FA44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7BA50A-DFA6-FDFF-80EC-E2BF83B2A8F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9</a:t>
            </a:fld>
            <a:endParaRPr lang="de-DE" dirty="0"/>
          </a:p>
        </p:txBody>
      </p:sp>
      <p:pic>
        <p:nvPicPr>
          <p:cNvPr id="7" name="13-async-init-queues-debugging.mov" descr="13-async-init-queues-debugging.mov">
            <a:hlinkClick r:id="" action="ppaction://media"/>
            <a:extLst>
              <a:ext uri="{FF2B5EF4-FFF2-40B4-BE49-F238E27FC236}">
                <a16:creationId xmlns:a16="http://schemas.microsoft.com/office/drawing/2014/main" id="{87DD6085-61C4-CFD0-2093-3668426F5A2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link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68313" y="0"/>
            <a:ext cx="112553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804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605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9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56601590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72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Übersicht Asynchron initialisierte Komponen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90673B6-AF8D-40E3-B4A0-E60347A31DA7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0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924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endParaRPr lang="de-DE" dirty="0">
                <a:latin typeface="+mj-lt"/>
              </a:endParaRPr>
            </a:p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In </a:t>
              </a:r>
              <a:r>
                <a:rPr lang="de-DE" dirty="0" err="1">
                  <a:latin typeface="+mj-lt"/>
                </a:rPr>
                <a:t>the</a:t>
              </a:r>
              <a:r>
                <a:rPr lang="de-DE" dirty="0">
                  <a:latin typeface="+mj-lt"/>
                </a:rPr>
                <a:t> wild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924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endParaRPr lang="de-DE" dirty="0">
                <a:latin typeface="+mj-lt"/>
              </a:endParaRPr>
            </a:p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Vorteile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5238137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lients müssen nicht auf auf „</a:t>
            </a:r>
            <a:r>
              <a:rPr lang="de-DE" sz="1400" dirty="0" err="1"/>
              <a:t>connected</a:t>
            </a:r>
            <a:r>
              <a:rPr lang="de-DE" sz="1400" dirty="0"/>
              <a:t>“ Event warten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Aufruf der Datenbank kann jetzt ohne Kenntnisse über dessen Implementierung erfolgen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Losere Kopplung 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CE60008-1CC4-4D20-A82E-6771428B1C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2E2FA19-9551-5664-0EEA-C44E299DB9B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1640" b="20241"/>
          <a:stretch/>
        </p:blipFill>
        <p:spPr>
          <a:xfrm>
            <a:off x="6132368" y="2299009"/>
            <a:ext cx="1062858" cy="29415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6A12FFB-63A1-DCBB-772F-39586AC02D2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167631" y="3162641"/>
            <a:ext cx="391480" cy="403261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EED6C371-A618-3B55-3F7F-6E2C75D0BE98}"/>
              </a:ext>
            </a:extLst>
          </p:cNvPr>
          <p:cNvSpPr txBox="1">
            <a:spLocks/>
          </p:cNvSpPr>
          <p:nvPr/>
        </p:nvSpPr>
        <p:spPr bwMode="gray">
          <a:xfrm>
            <a:off x="6222024" y="2379945"/>
            <a:ext cx="5238137" cy="22467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>
              <a:hlinkClick r:id="rId10"/>
            </a:endParaRP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hlinkClick r:id="rId10"/>
              </a:rPr>
              <a:t>Mongoose</a:t>
            </a:r>
            <a:r>
              <a:rPr lang="de-DE" sz="1400" dirty="0"/>
              <a:t> – MongoDB ORM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hlinkClick r:id="rId11"/>
              </a:rPr>
              <a:t>pg</a:t>
            </a:r>
            <a:r>
              <a:rPr lang="de-DE" sz="1400" dirty="0"/>
              <a:t>: Client für </a:t>
            </a:r>
            <a:r>
              <a:rPr lang="de-DE" sz="1400" dirty="0" err="1"/>
              <a:t>Postgres</a:t>
            </a:r>
            <a:r>
              <a:rPr lang="de-DE" sz="1400" dirty="0"/>
              <a:t> DB</a:t>
            </a:r>
          </a:p>
          <a:p>
            <a:pPr lvl="0">
              <a:spcAft>
                <a:spcPts val="300"/>
              </a:spcAft>
            </a:pPr>
            <a:r>
              <a:rPr lang="de-DE" sz="1400" dirty="0">
                <a:sym typeface="Wingdings" pitchFamily="2" charset="2"/>
              </a:rPr>
              <a:t> </a:t>
            </a:r>
            <a:r>
              <a:rPr lang="de-DE" sz="1400" dirty="0"/>
              <a:t>hier wird versucht sofort nach </a:t>
            </a:r>
            <a:r>
              <a:rPr lang="de-DE" sz="1400" dirty="0" err="1"/>
              <a:t>Queueing</a:t>
            </a:r>
            <a:r>
              <a:rPr lang="de-DE" sz="1400" dirty="0"/>
              <a:t> die Queue abzuarbeiten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804440119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Bonusthem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38601911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adables</a:t>
            </a:r>
            <a:r>
              <a:rPr lang="de-DE" dirty="0"/>
              <a:t> können im </a:t>
            </a:r>
            <a:r>
              <a:rPr lang="de-DE" dirty="0" err="1"/>
              <a:t>flowing</a:t>
            </a:r>
            <a:r>
              <a:rPr lang="de-DE" dirty="0"/>
              <a:t> oder non-</a:t>
            </a:r>
            <a:r>
              <a:rPr lang="de-DE" dirty="0" err="1"/>
              <a:t>flowing</a:t>
            </a:r>
            <a:r>
              <a:rPr lang="de-DE" dirty="0"/>
              <a:t> Mode ausgelesen wer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8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07-readable-flowing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Über das „</a:t>
            </a:r>
            <a:r>
              <a:rPr lang="de-DE" sz="1400" dirty="0" err="1"/>
              <a:t>data</a:t>
            </a:r>
            <a:r>
              <a:rPr lang="de-DE" sz="1400" dirty="0"/>
              <a:t>“ Event werden Daten per push in den </a:t>
            </a:r>
            <a:r>
              <a:rPr lang="de-DE" sz="1400" dirty="0" err="1"/>
              <a:t>Listener</a:t>
            </a:r>
            <a:r>
              <a:rPr lang="de-DE" sz="1400" dirty="0"/>
              <a:t> geladen, sobald diese verfügbar sind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07-readable-non-flowing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aten werden erst per </a:t>
            </a:r>
            <a:r>
              <a:rPr lang="de-DE" sz="1400" dirty="0" err="1"/>
              <a:t>read</a:t>
            </a:r>
            <a:r>
              <a:rPr lang="de-DE" sz="1400" dirty="0"/>
              <a:t>(), d.h. pull-basiert durch den </a:t>
            </a:r>
            <a:r>
              <a:rPr lang="de-DE" sz="1400" dirty="0" err="1"/>
              <a:t>Listener</a:t>
            </a:r>
            <a:r>
              <a:rPr lang="de-DE" sz="1400" dirty="0"/>
              <a:t> geladen; das „</a:t>
            </a:r>
            <a:r>
              <a:rPr lang="de-DE" sz="1400" dirty="0" err="1"/>
              <a:t>readable</a:t>
            </a:r>
            <a:r>
              <a:rPr lang="de-DE" sz="1400" dirty="0"/>
              <a:t>“ Event dient nur zur Information, dass Daten verfügbar sind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4353626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ritable</a:t>
            </a:r>
            <a:r>
              <a:rPr lang="de-DE" dirty="0"/>
              <a:t> teilt über </a:t>
            </a:r>
            <a:r>
              <a:rPr lang="de-DE" dirty="0" err="1"/>
              <a:t>Backpressure</a:t>
            </a:r>
            <a:r>
              <a:rPr lang="de-DE" dirty="0"/>
              <a:t> mit, wenn der interne Buffer voll is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8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09-writable-http-entropy-server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erver, der Bytes über Port 8080 als Stream an Client sendet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Über </a:t>
            </a:r>
            <a:r>
              <a:rPr lang="de-DE" sz="1400" dirty="0" err="1">
                <a:sym typeface="Wingdings" pitchFamily="2" charset="2"/>
              </a:rPr>
              <a:t>chance.bool</a:t>
            </a:r>
            <a:r>
              <a:rPr lang="de-DE" sz="1400" dirty="0">
                <a:sym typeface="Wingdings" pitchFamily="2" charset="2"/>
              </a:rPr>
              <a:t>({ </a:t>
            </a:r>
            <a:r>
              <a:rPr lang="de-DE" sz="1400" dirty="0" err="1">
                <a:sym typeface="Wingdings" pitchFamily="2" charset="2"/>
              </a:rPr>
              <a:t>likelihood</a:t>
            </a:r>
            <a:r>
              <a:rPr lang="de-DE" sz="1400" dirty="0">
                <a:sym typeface="Wingdings" pitchFamily="2" charset="2"/>
              </a:rPr>
              <a:t>: 95 }) besteht im </a:t>
            </a:r>
            <a:r>
              <a:rPr lang="de-DE" sz="1400" dirty="0" err="1">
                <a:sym typeface="Wingdings" pitchFamily="2" charset="2"/>
              </a:rPr>
              <a:t>While</a:t>
            </a:r>
            <a:r>
              <a:rPr lang="de-DE" sz="1400" dirty="0">
                <a:sym typeface="Wingdings" pitchFamily="2" charset="2"/>
              </a:rPr>
              <a:t>-Loop jede Iteration eine 95% Wahrscheinlichkeit, dass weitere Daten gesendet werde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10-writable-http-entropy-server-backpressure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Server, der Bytes über Port 8080 als Stream an Client sendet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Es wird jede Iteration eine Anzahl von 16 * 1024 - 1  an Bytes gesendet, das entspricht fast der </a:t>
            </a:r>
            <a:r>
              <a:rPr lang="de-DE" sz="1400" dirty="0" err="1">
                <a:sym typeface="Wingdings" pitchFamily="2" charset="2"/>
              </a:rPr>
              <a:t>highWaterMark</a:t>
            </a:r>
            <a:r>
              <a:rPr lang="de-DE" sz="1400" dirty="0">
                <a:sym typeface="Wingdings" pitchFamily="2" charset="2"/>
              </a:rPr>
              <a:t> des Streams, sodass </a:t>
            </a:r>
            <a:r>
              <a:rPr lang="de-DE" sz="1400" dirty="0" err="1">
                <a:sym typeface="Wingdings" pitchFamily="2" charset="2"/>
              </a:rPr>
              <a:t>Backpressure</a:t>
            </a:r>
            <a:r>
              <a:rPr lang="de-DE" sz="1400" dirty="0">
                <a:sym typeface="Wingdings" pitchFamily="2" charset="2"/>
              </a:rPr>
              <a:t> entsteht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Dies bedeutet, dass das </a:t>
            </a:r>
            <a:r>
              <a:rPr lang="de-DE" sz="1400" dirty="0" err="1">
                <a:sym typeface="Wingdings" pitchFamily="2" charset="2"/>
              </a:rPr>
              <a:t>Writable</a:t>
            </a:r>
            <a:r>
              <a:rPr lang="de-DE" sz="1400" dirty="0">
                <a:sym typeface="Wingdings" pitchFamily="2" charset="2"/>
              </a:rPr>
              <a:t> signalisiert, dass aktuell keine weiteren Daten gesendet werden können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Kommentiert man </a:t>
            </a:r>
            <a:r>
              <a:rPr lang="de-DE" sz="1400" dirty="0" err="1">
                <a:sym typeface="Wingdings" pitchFamily="2" charset="2"/>
              </a:rPr>
              <a:t>delay</a:t>
            </a:r>
            <a:r>
              <a:rPr lang="de-DE" sz="1400" dirty="0">
                <a:sym typeface="Wingdings" pitchFamily="2" charset="2"/>
              </a:rPr>
              <a:t>(1000) ein, kann man mit einem Aufruf über </a:t>
            </a:r>
            <a:r>
              <a:rPr lang="de-DE" sz="1400" dirty="0" err="1">
                <a:sym typeface="Wingdings" pitchFamily="2" charset="2"/>
              </a:rPr>
              <a:t>curl</a:t>
            </a:r>
            <a:r>
              <a:rPr lang="de-DE" sz="1400" dirty="0">
                <a:sym typeface="Wingdings" pitchFamily="2" charset="2"/>
              </a:rPr>
              <a:t> sehen, wie nach und nach die Pakete empfangen werden</a:t>
            </a:r>
          </a:p>
          <a:p>
            <a:pPr>
              <a:spcAft>
                <a:spcPts val="300"/>
              </a:spcAft>
            </a:pPr>
            <a:endParaRPr lang="de-DE" sz="14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020865965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85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Wrap-</a:t>
            </a:r>
            <a:r>
              <a:rPr lang="de-DE" dirty="0" err="1"/>
              <a:t>up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90673B6-AF8D-40E3-B4A0-E60347A31DA7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4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lerntes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2379945"/>
            <a:ext cx="5238137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Was nehmen die Teilnehmenden aus dem Training mit?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Welche Inhalte haben sie überrascht?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Woran werden die Teilnehmenden arbeiten?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Wie übertragen die Teilnehmenden das Wissen in die Praxis?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Feedback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5238137" cy="11926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Wurden die Erwartungen und Ziele an das Training erfüllt?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Welche Inhalte sollten in zukünftigen Trainings einen größeren Fokus bekommen?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War die Zeit für das Training ausreichend?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CE60008-1CC4-4D20-A82E-6771428B1C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D10EF7D-2850-4761-EBBA-B76136E0766B}"/>
              </a:ext>
            </a:extLst>
          </p:cNvPr>
          <p:cNvSpPr/>
          <p:nvPr/>
        </p:nvSpPr>
        <p:spPr>
          <a:xfrm>
            <a:off x="9917723" y="123679"/>
            <a:ext cx="2180492" cy="1325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 err="1"/>
              <a:t>Todo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42897975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8860851" cy="1107996"/>
          </a:xfrm>
        </p:spPr>
        <p:txBody>
          <a:bodyPr/>
          <a:lstStyle/>
          <a:p>
            <a:r>
              <a:rPr lang="de-DE" dirty="0"/>
              <a:t>Asynchrone </a:t>
            </a:r>
            <a:r>
              <a:rPr lang="de-DE" dirty="0" err="1"/>
              <a:t>pattern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4243113" cy="1107996"/>
          </a:xfrm>
        </p:spPr>
        <p:txBody>
          <a:bodyPr/>
          <a:lstStyle/>
          <a:p>
            <a:r>
              <a:rPr lang="de-DE" dirty="0"/>
              <a:t>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4633155" cy="442035"/>
          </a:xfrm>
        </p:spPr>
        <p:txBody>
          <a:bodyPr/>
          <a:lstStyle/>
          <a:p>
            <a:r>
              <a:rPr lang="de-DE" dirty="0"/>
              <a:t>Vielen Dank für die Aufmerksamkei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D8FE888-0245-CF42-AC02-40E538FB5F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4665600"/>
            <a:ext cx="1694145" cy="288147"/>
          </a:xfrm>
        </p:spPr>
        <p:txBody>
          <a:bodyPr/>
          <a:lstStyle/>
          <a:p>
            <a:r>
              <a:rPr lang="de-DE" dirty="0"/>
              <a:t>Maximilian Schmidt</a:t>
            </a:r>
          </a:p>
        </p:txBody>
      </p:sp>
    </p:spTree>
    <p:extLst>
      <p:ext uri="{BB962C8B-B14F-4D97-AF65-F5344CB8AC3E}">
        <p14:creationId xmlns:p14="http://schemas.microsoft.com/office/powerpoint/2010/main" val="1497980135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82AA013-6AAE-4E89-BACA-0420D61C58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773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4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82AA013-6AAE-4E89-BACA-0420D61C5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4697AAE-F426-409F-BBCC-E1327C2CF12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Kodierung von Präsentation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243BB84-3D10-443C-A4B7-9CFA664E8A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lle Präsentationen werden in einheitlicher Weise abgeleg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FF19E2-163A-4F27-9C58-1F6EB76F4EC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46DB7ED-8C89-4CBD-8FF8-8F450D98E802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D8F7086-C0D4-418D-BBAB-0F7EDB1D19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7B391B8-9377-4DBE-84DA-1B60D03AD18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6</a:t>
            </a:fld>
            <a:endParaRPr lang="de-DE" dirty="0"/>
          </a:p>
        </p:txBody>
      </p:sp>
      <p:sp>
        <p:nvSpPr>
          <p:cNvPr id="22" name="Rectangle: Rounded Corners 4">
            <a:extLst>
              <a:ext uri="{FF2B5EF4-FFF2-40B4-BE49-F238E27FC236}">
                <a16:creationId xmlns:a16="http://schemas.microsoft.com/office/drawing/2014/main" id="{67321FEB-D935-403B-A108-3D52BA3B134E}"/>
              </a:ext>
            </a:extLst>
          </p:cNvPr>
          <p:cNvSpPr>
            <a:spLocks/>
          </p:cNvSpPr>
          <p:nvPr/>
        </p:nvSpPr>
        <p:spPr bwMode="gray">
          <a:xfrm>
            <a:off x="3574312" y="2612807"/>
            <a:ext cx="7885849" cy="69781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 algn="ctr"/>
            <a:r>
              <a:rPr lang="de-DE" sz="2400" dirty="0">
                <a:solidFill>
                  <a:schemeClr val="tx1"/>
                </a:solidFill>
              </a:rPr>
              <a:t>210719_CCM_Präsentationsschulung_xx_v01.pptx</a:t>
            </a:r>
          </a:p>
        </p:txBody>
      </p:sp>
      <p:sp>
        <p:nvSpPr>
          <p:cNvPr id="24" name="Rectangle: Rounded Corners 4">
            <a:extLst>
              <a:ext uri="{FF2B5EF4-FFF2-40B4-BE49-F238E27FC236}">
                <a16:creationId xmlns:a16="http://schemas.microsoft.com/office/drawing/2014/main" id="{FD07AA70-1752-4852-8343-7310E4F86650}"/>
              </a:ext>
            </a:extLst>
          </p:cNvPr>
          <p:cNvSpPr>
            <a:spLocks/>
          </p:cNvSpPr>
          <p:nvPr/>
        </p:nvSpPr>
        <p:spPr bwMode="gray">
          <a:xfrm>
            <a:off x="8918642" y="3632127"/>
            <a:ext cx="1744639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Versionsnummer</a:t>
            </a:r>
          </a:p>
        </p:txBody>
      </p:sp>
      <p:sp>
        <p:nvSpPr>
          <p:cNvPr id="29" name="Rectangle: Rounded Corners 4">
            <a:extLst>
              <a:ext uri="{FF2B5EF4-FFF2-40B4-BE49-F238E27FC236}">
                <a16:creationId xmlns:a16="http://schemas.microsoft.com/office/drawing/2014/main" id="{743C8CD4-471E-4C34-BE48-0BDABDB875A9}"/>
              </a:ext>
            </a:extLst>
          </p:cNvPr>
          <p:cNvSpPr>
            <a:spLocks/>
          </p:cNvSpPr>
          <p:nvPr/>
        </p:nvSpPr>
        <p:spPr bwMode="gray">
          <a:xfrm>
            <a:off x="5586524" y="3632127"/>
            <a:ext cx="8650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Bereich</a:t>
            </a:r>
          </a:p>
        </p:txBody>
      </p:sp>
      <p:sp>
        <p:nvSpPr>
          <p:cNvPr id="34" name="Rectangle: Rounded Corners 4">
            <a:extLst>
              <a:ext uri="{FF2B5EF4-FFF2-40B4-BE49-F238E27FC236}">
                <a16:creationId xmlns:a16="http://schemas.microsoft.com/office/drawing/2014/main" id="{85EF3C01-F847-4575-858C-44D89A9052D2}"/>
              </a:ext>
            </a:extLst>
          </p:cNvPr>
          <p:cNvSpPr>
            <a:spLocks/>
          </p:cNvSpPr>
          <p:nvPr/>
        </p:nvSpPr>
        <p:spPr bwMode="gray">
          <a:xfrm>
            <a:off x="4710223" y="1846930"/>
            <a:ext cx="1080978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JJMMTT</a:t>
            </a:r>
          </a:p>
        </p:txBody>
      </p:sp>
      <p:sp>
        <p:nvSpPr>
          <p:cNvPr id="39" name="Rectangle: Rounded Corners 4">
            <a:extLst>
              <a:ext uri="{FF2B5EF4-FFF2-40B4-BE49-F238E27FC236}">
                <a16:creationId xmlns:a16="http://schemas.microsoft.com/office/drawing/2014/main" id="{F398BB8D-13FA-4452-BB1C-ADD82E4270DB}"/>
              </a:ext>
            </a:extLst>
          </p:cNvPr>
          <p:cNvSpPr>
            <a:spLocks/>
          </p:cNvSpPr>
          <p:nvPr/>
        </p:nvSpPr>
        <p:spPr bwMode="gray">
          <a:xfrm>
            <a:off x="6605504" y="1845955"/>
            <a:ext cx="231961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Sprechende Bezeichnung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696F224B-A7E6-40FC-A941-B3A03DA505B6}"/>
              </a:ext>
            </a:extLst>
          </p:cNvPr>
          <p:cNvCxnSpPr>
            <a:cxnSpLocks/>
          </p:cNvCxnSpPr>
          <p:nvPr/>
        </p:nvCxnSpPr>
        <p:spPr bwMode="gray">
          <a:xfrm>
            <a:off x="52507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563BC545-F5DF-4DC0-935B-F81ED65EB7F3}"/>
              </a:ext>
            </a:extLst>
          </p:cNvPr>
          <p:cNvCxnSpPr>
            <a:cxnSpLocks/>
          </p:cNvCxnSpPr>
          <p:nvPr/>
        </p:nvCxnSpPr>
        <p:spPr bwMode="gray">
          <a:xfrm>
            <a:off x="77653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199643F-1F03-4A7D-80CB-3D20AD48BD77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60190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C970A42D-8B40-4546-97E9-DA826E18B691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97909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8" name="Rectangle 39">
            <a:extLst>
              <a:ext uri="{FF2B5EF4-FFF2-40B4-BE49-F238E27FC236}">
                <a16:creationId xmlns:a16="http://schemas.microsoft.com/office/drawing/2014/main" id="{2C671755-8FFF-469A-8670-CEBA9ACC7D98}"/>
              </a:ext>
            </a:extLst>
          </p:cNvPr>
          <p:cNvSpPr>
            <a:spLocks/>
          </p:cNvSpPr>
          <p:nvPr/>
        </p:nvSpPr>
        <p:spPr bwMode="gray">
          <a:xfrm>
            <a:off x="623888" y="2823215"/>
            <a:ext cx="1529521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Codierung (Bsp.)</a:t>
            </a:r>
          </a:p>
        </p:txBody>
      </p:sp>
      <p:sp>
        <p:nvSpPr>
          <p:cNvPr id="49" name="Rectangle 39">
            <a:extLst>
              <a:ext uri="{FF2B5EF4-FFF2-40B4-BE49-F238E27FC236}">
                <a16:creationId xmlns:a16="http://schemas.microsoft.com/office/drawing/2014/main" id="{7DF4A500-A9DC-4008-A3AF-DE2B127E751C}"/>
              </a:ext>
            </a:extLst>
          </p:cNvPr>
          <p:cNvSpPr>
            <a:spLocks/>
          </p:cNvSpPr>
          <p:nvPr/>
        </p:nvSpPr>
        <p:spPr bwMode="gray">
          <a:xfrm>
            <a:off x="623888" y="5142165"/>
            <a:ext cx="1777218" cy="55399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Umgang mit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weiteren Versionen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8B0A0FEB-3AE2-46E9-9371-30F90706F85F}"/>
              </a:ext>
            </a:extLst>
          </p:cNvPr>
          <p:cNvGrpSpPr>
            <a:grpSpLocks/>
          </p:cNvGrpSpPr>
          <p:nvPr/>
        </p:nvGrpSpPr>
        <p:grpSpPr bwMode="gray">
          <a:xfrm>
            <a:off x="3574313" y="4808007"/>
            <a:ext cx="3791688" cy="1222317"/>
            <a:chOff x="3574313" y="4831017"/>
            <a:chExt cx="3791688" cy="1222317"/>
          </a:xfrm>
        </p:grpSpPr>
        <p:sp>
          <p:nvSpPr>
            <p:cNvPr id="50" name="Rectangle: Rounded Corners 4">
              <a:extLst>
                <a:ext uri="{FF2B5EF4-FFF2-40B4-BE49-F238E27FC236}">
                  <a16:creationId xmlns:a16="http://schemas.microsoft.com/office/drawing/2014/main" id="{F2C54531-C7D2-492A-AC62-CCD9C5CCA5F9}"/>
                </a:ext>
              </a:extLst>
            </p:cNvPr>
            <p:cNvSpPr/>
            <p:nvPr/>
          </p:nvSpPr>
          <p:spPr bwMode="gray">
            <a:xfrm>
              <a:off x="3574313" y="4831017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0_CCM_Präsentationsschulung_xx_v01.pptx</a:t>
              </a:r>
            </a:p>
          </p:txBody>
        </p:sp>
        <p:sp>
          <p:nvSpPr>
            <p:cNvPr id="51" name="Rectangle: Rounded Corners 4">
              <a:extLst>
                <a:ext uri="{FF2B5EF4-FFF2-40B4-BE49-F238E27FC236}">
                  <a16:creationId xmlns:a16="http://schemas.microsoft.com/office/drawing/2014/main" id="{7FF7EE03-395E-49E9-9DE5-BAFE9BE308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274456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3_CCM_Präsentationsschulung_xx_v02.pptx</a:t>
              </a:r>
            </a:p>
          </p:txBody>
        </p:sp>
        <p:sp>
          <p:nvSpPr>
            <p:cNvPr id="52" name="Rectangle: Rounded Corners 4">
              <a:extLst>
                <a:ext uri="{FF2B5EF4-FFF2-40B4-BE49-F238E27FC236}">
                  <a16:creationId xmlns:a16="http://schemas.microsoft.com/office/drawing/2014/main" id="{2C3BBA0C-50BB-40EC-A9F8-F993CC5978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717895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8_CCM_Präsentationsschulung_xx_final.pptx</a:t>
              </a:r>
            </a:p>
          </p:txBody>
        </p:sp>
      </p:grpSp>
      <p:sp>
        <p:nvSpPr>
          <p:cNvPr id="55" name="Textfeld 54">
            <a:extLst>
              <a:ext uri="{FF2B5EF4-FFF2-40B4-BE49-F238E27FC236}">
                <a16:creationId xmlns:a16="http://schemas.microsoft.com/office/drawing/2014/main" id="{D2A13F17-1D94-44C4-A0E2-34E467343A57}"/>
              </a:ext>
            </a:extLst>
          </p:cNvPr>
          <p:cNvSpPr txBox="1">
            <a:spLocks/>
          </p:cNvSpPr>
          <p:nvPr/>
        </p:nvSpPr>
        <p:spPr bwMode="gray">
          <a:xfrm>
            <a:off x="7610475" y="5076764"/>
            <a:ext cx="3849688" cy="68480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Neue Versionen einer Präsentation werden fortlaufend durch nummeriert und das Datum aktualisiert</a:t>
            </a:r>
          </a:p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Finale Präsentationen werden mit final benannt</a:t>
            </a:r>
          </a:p>
        </p:txBody>
      </p:sp>
      <p:sp>
        <p:nvSpPr>
          <p:cNvPr id="31" name="Rectangle: Rounded Corners 4">
            <a:extLst>
              <a:ext uri="{FF2B5EF4-FFF2-40B4-BE49-F238E27FC236}">
                <a16:creationId xmlns:a16="http://schemas.microsoft.com/office/drawing/2014/main" id="{F99A7BA4-0E33-436F-BD4F-95D61EB096C9}"/>
              </a:ext>
            </a:extLst>
          </p:cNvPr>
          <p:cNvSpPr>
            <a:spLocks/>
          </p:cNvSpPr>
          <p:nvPr/>
        </p:nvSpPr>
        <p:spPr bwMode="gray">
          <a:xfrm>
            <a:off x="9138406" y="1845955"/>
            <a:ext cx="15248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Kürzel Bearbeiter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79348784-B661-479E-A7AA-E8625F5EA1FD}"/>
              </a:ext>
            </a:extLst>
          </p:cNvPr>
          <p:cNvCxnSpPr>
            <a:cxnSpLocks/>
          </p:cNvCxnSpPr>
          <p:nvPr/>
        </p:nvCxnSpPr>
        <p:spPr bwMode="gray">
          <a:xfrm>
            <a:off x="9256813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662692229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C2D03D7-420E-4B93-8DD7-6448CD893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013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8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C2D03D7-420E-4B93-8DD7-6448CD89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EBE2D7E-F755-45BA-9937-82BA11250E6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form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D3381-8C69-4422-BA5D-7BFA36B71E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9E9AD4A-C8AA-4433-8F2D-0530D030905C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E61C0-08A7-47B4-A447-F2B214A6B3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7</a:t>
            </a:fld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F16723D-1640-421E-BCA0-27AAF9F01441}"/>
              </a:ext>
            </a:extLst>
          </p:cNvPr>
          <p:cNvSpPr>
            <a:spLocks/>
          </p:cNvSpPr>
          <p:nvPr/>
        </p:nvSpPr>
        <p:spPr bwMode="gray">
          <a:xfrm>
            <a:off x="623886" y="2364457"/>
            <a:ext cx="671328" cy="6713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7AF5C46-2365-43CA-80E9-6E4BD7C444A3}"/>
              </a:ext>
            </a:extLst>
          </p:cNvPr>
          <p:cNvCxnSpPr>
            <a:cxnSpLocks/>
          </p:cNvCxnSpPr>
          <p:nvPr/>
        </p:nvCxnSpPr>
        <p:spPr bwMode="gray">
          <a:xfrm>
            <a:off x="623888" y="4787992"/>
            <a:ext cx="523813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5DB0B9F-9647-4005-BB7F-831A02C56253}"/>
              </a:ext>
            </a:extLst>
          </p:cNvPr>
          <p:cNvCxnSpPr>
            <a:cxnSpLocks/>
          </p:cNvCxnSpPr>
          <p:nvPr/>
        </p:nvCxnSpPr>
        <p:spPr bwMode="gray">
          <a:xfrm>
            <a:off x="623888" y="5194758"/>
            <a:ext cx="5238137" cy="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feil: Fünfeck 16">
            <a:extLst>
              <a:ext uri="{FF2B5EF4-FFF2-40B4-BE49-F238E27FC236}">
                <a16:creationId xmlns:a16="http://schemas.microsoft.com/office/drawing/2014/main" id="{9EBA3328-090B-4F61-A960-848519FA8812}"/>
              </a:ext>
            </a:extLst>
          </p:cNvPr>
          <p:cNvSpPr>
            <a:spLocks/>
          </p:cNvSpPr>
          <p:nvPr/>
        </p:nvSpPr>
        <p:spPr bwMode="gray">
          <a:xfrm rot="5400000">
            <a:off x="3380061" y="2191070"/>
            <a:ext cx="671331" cy="1016141"/>
          </a:xfrm>
          <a:prstGeom prst="homePlate">
            <a:avLst>
              <a:gd name="adj" fmla="val 3395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945840F0-4EFE-46CE-9A6F-7427631A2A4C}"/>
              </a:ext>
            </a:extLst>
          </p:cNvPr>
          <p:cNvSpPr/>
          <p:nvPr/>
        </p:nvSpPr>
        <p:spPr bwMode="gray">
          <a:xfrm>
            <a:off x="4511185" y="2360158"/>
            <a:ext cx="1000614" cy="671324"/>
          </a:xfrm>
          <a:prstGeom prst="homePlate">
            <a:avLst>
              <a:gd name="adj" fmla="val 2314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8453265-71AB-4486-A52E-339EF0CEA86D}"/>
              </a:ext>
            </a:extLst>
          </p:cNvPr>
          <p:cNvGrpSpPr>
            <a:grpSpLocks/>
          </p:cNvGrpSpPr>
          <p:nvPr/>
        </p:nvGrpSpPr>
        <p:grpSpPr bwMode="gray">
          <a:xfrm>
            <a:off x="1582603" y="2364457"/>
            <a:ext cx="1337665" cy="671328"/>
            <a:chOff x="11138227" y="2012137"/>
            <a:chExt cx="948997" cy="476269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6FC9AADB-A374-4B97-8DF4-A26B165D0715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7"/>
              <a:ext cx="948997" cy="47626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054FC070-48C4-4CD9-82D1-0AF7A4D6CD6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8"/>
              <a:ext cx="948997" cy="180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3" name="Gleichschenkliges Dreieck 22">
              <a:extLst>
                <a:ext uri="{FF2B5EF4-FFF2-40B4-BE49-F238E27FC236}">
                  <a16:creationId xmlns:a16="http://schemas.microsoft.com/office/drawing/2014/main" id="{22C541B6-1649-408D-A419-6519325B19A1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11500175" y="2190753"/>
              <a:ext cx="225100" cy="66674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08C8DDB-618F-4D54-8897-B84FB2E080A9}"/>
              </a:ext>
            </a:extLst>
          </p:cNvPr>
          <p:cNvSpPr/>
          <p:nvPr/>
        </p:nvSpPr>
        <p:spPr bwMode="gray">
          <a:xfrm rot="10800000">
            <a:off x="623886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62B795DA-F86E-4010-8FE6-CBA63F99D29E}"/>
              </a:ext>
            </a:extLst>
          </p:cNvPr>
          <p:cNvSpPr/>
          <p:nvPr/>
        </p:nvSpPr>
        <p:spPr bwMode="gray">
          <a:xfrm>
            <a:off x="3484554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4B5967BF-CD5D-408A-9E47-D4328F0FF462}"/>
              </a:ext>
            </a:extLst>
          </p:cNvPr>
          <p:cNvSpPr/>
          <p:nvPr/>
        </p:nvSpPr>
        <p:spPr bwMode="gray">
          <a:xfrm rot="10800000" flipH="1">
            <a:off x="1578132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472C1C72-CAB7-4CF3-8133-3AE916DE8804}"/>
              </a:ext>
            </a:extLst>
          </p:cNvPr>
          <p:cNvSpPr/>
          <p:nvPr/>
        </p:nvSpPr>
        <p:spPr bwMode="gray">
          <a:xfrm flipH="1">
            <a:off x="2531343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47B30D55-9AFD-41E7-BDCD-449647C1A25A}"/>
              </a:ext>
            </a:extLst>
          </p:cNvPr>
          <p:cNvGrpSpPr/>
          <p:nvPr/>
        </p:nvGrpSpPr>
        <p:grpSpPr bwMode="gray">
          <a:xfrm>
            <a:off x="6602007" y="2357016"/>
            <a:ext cx="4465424" cy="3255222"/>
            <a:chOff x="6131939" y="2118128"/>
            <a:chExt cx="5143906" cy="3749825"/>
          </a:xfrm>
        </p:grpSpPr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F86CD5BD-3D1C-4127-8713-E8383D5EE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547981" y="2118128"/>
              <a:ext cx="727864" cy="809246"/>
            </a:xfrm>
            <a:prstGeom prst="rect">
              <a:avLst/>
            </a:prstGeom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192F0CDD-9504-4A32-B6E3-2FB9404830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7621" y="2173449"/>
              <a:ext cx="926289" cy="655626"/>
            </a:xfrm>
            <a:prstGeom prst="rect">
              <a:avLst/>
            </a:prstGeom>
          </p:spPr>
        </p:pic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2D50A938-91ED-4E0A-ACA5-C30A0CDC7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11970" y="2118128"/>
              <a:ext cx="741580" cy="766269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66BB4B5E-CC6C-4E19-9926-BCC8B2D78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041462" y="2233799"/>
              <a:ext cx="1006756" cy="376734"/>
            </a:xfrm>
            <a:prstGeom prst="rect">
              <a:avLst/>
            </a:prstGeom>
          </p:spPr>
        </p:pic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50DDCC28-2E39-4F70-A15C-7DDF16C61D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31939" y="2118128"/>
              <a:ext cx="600762" cy="608077"/>
            </a:xfrm>
            <a:prstGeom prst="rect">
              <a:avLst/>
            </a:prstGeom>
          </p:spPr>
        </p:pic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82EAC2B8-4241-420B-94F5-E675143C9B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423355" y="5364271"/>
              <a:ext cx="1738278" cy="204826"/>
            </a:xfrm>
            <a:prstGeom prst="rect">
              <a:avLst/>
            </a:prstGeom>
          </p:spPr>
        </p:pic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BF2A896B-F1ED-4415-A281-51C894E0D2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414561" y="4732678"/>
              <a:ext cx="1260046" cy="212141"/>
            </a:xfrm>
            <a:prstGeom prst="rect">
              <a:avLst/>
            </a:prstGeom>
          </p:spPr>
        </p:pic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30DE4A7A-82B5-420B-A7CA-CDB788159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90840" y="4732678"/>
              <a:ext cx="1223470" cy="343815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0EDC6771-3653-4D35-AD96-F30D549AA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 rot="15053046">
              <a:off x="9066222" y="4548625"/>
              <a:ext cx="597710" cy="2040945"/>
            </a:xfrm>
            <a:prstGeom prst="rect">
              <a:avLst/>
            </a:prstGeom>
          </p:spPr>
        </p:pic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02191E3A-93E7-4FD8-A9B6-0297307895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89873" y="3819603"/>
              <a:ext cx="1309423" cy="285293"/>
            </a:xfrm>
            <a:prstGeom prst="rect">
              <a:avLst/>
            </a:prstGeom>
          </p:spPr>
        </p:pic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0D49ED9C-1425-4401-8727-EDDB7230B5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982553" y="3297642"/>
              <a:ext cx="1355068" cy="204826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B6BA628-EBA9-40EC-9C17-7541174B4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50683" y="3122675"/>
              <a:ext cx="1563627" cy="1219812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17FE59B4-7537-4897-8DC1-05E5BB52DE4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397DE38D-A94E-4064-98D6-63E5AD0E9C2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PT-Formen</a:t>
              </a:r>
            </a:p>
          </p:txBody>
        </p: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373F7DE1-BC75-4DBA-8DB2-0FF683DAE55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7754A273-AD42-46BD-BC37-089C425008A9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3001374" y="1869262"/>
            <a:chExt cx="2579596" cy="372897"/>
          </a:xfrm>
        </p:grpSpPr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4B155272-398F-459F-B46F-7D4AF3311EA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feile und mehr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C5A1EBD3-D66D-4846-AD15-0EE21C25FF5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52667D-0A6E-4106-96CD-3B487E2EA7A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6365213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3366E03-B3E8-498C-AEEF-11E1517D7D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909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3366E03-B3E8-498C-AEEF-11E1517D7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8BFFB14-1BF2-4F49-A801-185C7E43F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ymbol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11D36B3-FA04-415B-ADB6-CF66B59101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Häufig benötigte Zeich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4B5DF7-2C29-4868-B7B5-ECA0004678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62B9E0B-D762-4F53-99A5-EB7CD3E64FD1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604B5E-2A54-4050-BA2A-8E4A4C99941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8</a:t>
            </a:fld>
            <a:endParaRPr lang="de-DE" dirty="0"/>
          </a:p>
        </p:txBody>
      </p:sp>
      <p:grpSp>
        <p:nvGrpSpPr>
          <p:cNvPr id="237" name="Gruppieren 236">
            <a:extLst>
              <a:ext uri="{FF2B5EF4-FFF2-40B4-BE49-F238E27FC236}">
                <a16:creationId xmlns:a16="http://schemas.microsoft.com/office/drawing/2014/main" id="{A521892D-C493-403E-BDE3-D5F017AD85D2}"/>
              </a:ext>
            </a:extLst>
          </p:cNvPr>
          <p:cNvGrpSpPr>
            <a:grpSpLocks/>
          </p:cNvGrpSpPr>
          <p:nvPr/>
        </p:nvGrpSpPr>
        <p:grpSpPr bwMode="gray">
          <a:xfrm>
            <a:off x="624765" y="4988910"/>
            <a:ext cx="396000" cy="396000"/>
            <a:chOff x="624765" y="4988910"/>
            <a:chExt cx="396000" cy="396000"/>
          </a:xfrm>
        </p:grpSpPr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00A402E4-A85C-4876-82E3-62F59DE24B6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76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14956791-CD60-4303-AE4A-264C0D77E3D9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830" y="5090887"/>
              <a:ext cx="105872" cy="192046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3" name="Freeform 6">
                <a:extLst>
                  <a:ext uri="{FF2B5EF4-FFF2-40B4-BE49-F238E27FC236}">
                    <a16:creationId xmlns:a16="http://schemas.microsoft.com/office/drawing/2014/main" id="{2AF74A75-D05A-401D-8282-942026F3FC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EF36BB4-A7A8-4233-8449-A90069AFFA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8" name="Gruppieren 237">
            <a:extLst>
              <a:ext uri="{FF2B5EF4-FFF2-40B4-BE49-F238E27FC236}">
                <a16:creationId xmlns:a16="http://schemas.microsoft.com/office/drawing/2014/main" id="{0CAF672E-57D0-4038-BC8B-772A912BA81E}"/>
              </a:ext>
            </a:extLst>
          </p:cNvPr>
          <p:cNvGrpSpPr>
            <a:grpSpLocks/>
          </p:cNvGrpSpPr>
          <p:nvPr/>
        </p:nvGrpSpPr>
        <p:grpSpPr bwMode="gray">
          <a:xfrm>
            <a:off x="1222540" y="4988910"/>
            <a:ext cx="396000" cy="396000"/>
            <a:chOff x="1222540" y="4988910"/>
            <a:chExt cx="396000" cy="396000"/>
          </a:xfrm>
        </p:grpSpPr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E00D129F-414C-49CE-B5E4-979A43D5067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22540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C7D24466-798E-494B-9DFE-7E57197A4C1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324517" y="5133975"/>
              <a:ext cx="192046" cy="105870"/>
              <a:chOff x="1351840" y="5171577"/>
              <a:chExt cx="123826" cy="68263"/>
            </a:xfrm>
            <a:solidFill>
              <a:schemeClr val="bg1"/>
            </a:solidFill>
          </p:grpSpPr>
          <p:sp>
            <p:nvSpPr>
              <p:cNvPr id="27" name="Freeform 6">
                <a:extLst>
                  <a:ext uri="{FF2B5EF4-FFF2-40B4-BE49-F238E27FC236}">
                    <a16:creationId xmlns:a16="http://schemas.microsoft.com/office/drawing/2014/main" id="{CBE3229F-4673-4399-9B3D-40FD62E9A3C5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352634" y="5172370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" name="Freeform 7">
                <a:extLst>
                  <a:ext uri="{FF2B5EF4-FFF2-40B4-BE49-F238E27FC236}">
                    <a16:creationId xmlns:a16="http://schemas.microsoft.com/office/drawing/2014/main" id="{D209913D-AAC6-4A24-B35C-67366F15C0F3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408197" y="5172371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078970D7-1F0C-4956-9DE1-16D780103E9D}"/>
              </a:ext>
            </a:extLst>
          </p:cNvPr>
          <p:cNvGrpSpPr>
            <a:grpSpLocks/>
          </p:cNvGrpSpPr>
          <p:nvPr/>
        </p:nvGrpSpPr>
        <p:grpSpPr bwMode="gray">
          <a:xfrm>
            <a:off x="1806741" y="4988910"/>
            <a:ext cx="396000" cy="396000"/>
            <a:chOff x="1806741" y="4988910"/>
            <a:chExt cx="396000" cy="396000"/>
          </a:xfrm>
        </p:grpSpPr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56D5A7FC-6887-4ACC-BCE3-DC33B048EE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0674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DA83606A-152B-4376-B32A-7A556903093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51806" y="5090887"/>
              <a:ext cx="105872" cy="192046"/>
              <a:chOff x="1955090" y="5133475"/>
              <a:chExt cx="68263" cy="123826"/>
            </a:xfrm>
            <a:solidFill>
              <a:schemeClr val="bg1"/>
            </a:solidFill>
          </p:grpSpPr>
          <p:sp>
            <p:nvSpPr>
              <p:cNvPr id="31" name="Freeform 6">
                <a:extLst>
                  <a:ext uri="{FF2B5EF4-FFF2-40B4-BE49-F238E27FC236}">
                    <a16:creationId xmlns:a16="http://schemas.microsoft.com/office/drawing/2014/main" id="{C3447A2B-B045-43FD-9FF8-340979A227B0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1" y="513347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2" name="Freeform 7">
                <a:extLst>
                  <a:ext uri="{FF2B5EF4-FFF2-40B4-BE49-F238E27FC236}">
                    <a16:creationId xmlns:a16="http://schemas.microsoft.com/office/drawing/2014/main" id="{F4C90BD0-92D9-48D8-AD0B-6E40F391E76E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0" y="519062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0" name="Gruppieren 239">
            <a:extLst>
              <a:ext uri="{FF2B5EF4-FFF2-40B4-BE49-F238E27FC236}">
                <a16:creationId xmlns:a16="http://schemas.microsoft.com/office/drawing/2014/main" id="{C9191E2E-A9CD-4CB7-BC27-6765F32D0AD9}"/>
              </a:ext>
            </a:extLst>
          </p:cNvPr>
          <p:cNvGrpSpPr>
            <a:grpSpLocks/>
          </p:cNvGrpSpPr>
          <p:nvPr/>
        </p:nvGrpSpPr>
        <p:grpSpPr bwMode="gray">
          <a:xfrm>
            <a:off x="2378953" y="4988910"/>
            <a:ext cx="396000" cy="396000"/>
            <a:chOff x="2378953" y="4988910"/>
            <a:chExt cx="396000" cy="396000"/>
          </a:xfrm>
        </p:grpSpPr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E4023875-BC1C-4A1E-A206-7106ECBEA3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895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87C6B1C1-0866-4246-BBFA-54D165F51E5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480930" y="5133975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35" name="Freeform 6">
                <a:extLst>
                  <a:ext uri="{FF2B5EF4-FFF2-40B4-BE49-F238E27FC236}">
                    <a16:creationId xmlns:a16="http://schemas.microsoft.com/office/drawing/2014/main" id="{124BE0C0-A665-4D35-A75A-C5B6FBFDF2A7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6" name="Freeform 7">
                <a:extLst>
                  <a:ext uri="{FF2B5EF4-FFF2-40B4-BE49-F238E27FC236}">
                    <a16:creationId xmlns:a16="http://schemas.microsoft.com/office/drawing/2014/main" id="{9087957B-DA34-49C8-9D99-E52975DC2891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2" name="Gruppieren 211">
            <a:extLst>
              <a:ext uri="{FF2B5EF4-FFF2-40B4-BE49-F238E27FC236}">
                <a16:creationId xmlns:a16="http://schemas.microsoft.com/office/drawing/2014/main" id="{B0157DFF-9AFE-4692-84AA-BC6B072ECA9C}"/>
              </a:ext>
            </a:extLst>
          </p:cNvPr>
          <p:cNvGrpSpPr>
            <a:grpSpLocks/>
          </p:cNvGrpSpPr>
          <p:nvPr/>
        </p:nvGrpSpPr>
        <p:grpSpPr bwMode="gray">
          <a:xfrm>
            <a:off x="624967" y="5546662"/>
            <a:ext cx="396000" cy="396000"/>
            <a:chOff x="624967" y="5550787"/>
            <a:chExt cx="396000" cy="396000"/>
          </a:xfrm>
        </p:grpSpPr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FA467B1C-9B3F-4C0B-8E53-DEEB96056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967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0E24D48A-F3CF-4DEF-A6D7-E48FDECC80D3}"/>
                </a:ext>
              </a:extLst>
            </p:cNvPr>
            <p:cNvSpPr>
              <a:spLocks/>
            </p:cNvSpPr>
            <p:nvPr/>
          </p:nvSpPr>
          <p:spPr bwMode="gray">
            <a:xfrm>
              <a:off x="738748" y="5664568"/>
              <a:ext cx="168438" cy="168438"/>
            </a:xfrm>
            <a:custGeom>
              <a:avLst/>
              <a:gdLst>
                <a:gd name="T0" fmla="*/ 1014 w 1977"/>
                <a:gd name="T1" fmla="*/ 3 h 1977"/>
                <a:gd name="T2" fmla="*/ 1057 w 1977"/>
                <a:gd name="T3" fmla="*/ 24 h 1977"/>
                <a:gd name="T4" fmla="*/ 1087 w 1977"/>
                <a:gd name="T5" fmla="*/ 62 h 1977"/>
                <a:gd name="T6" fmla="*/ 1099 w 1977"/>
                <a:gd name="T7" fmla="*/ 110 h 1977"/>
                <a:gd name="T8" fmla="*/ 1867 w 1977"/>
                <a:gd name="T9" fmla="*/ 878 h 1977"/>
                <a:gd name="T10" fmla="*/ 1915 w 1977"/>
                <a:gd name="T11" fmla="*/ 890 h 1977"/>
                <a:gd name="T12" fmla="*/ 1953 w 1977"/>
                <a:gd name="T13" fmla="*/ 920 h 1977"/>
                <a:gd name="T14" fmla="*/ 1974 w 1977"/>
                <a:gd name="T15" fmla="*/ 963 h 1977"/>
                <a:gd name="T16" fmla="*/ 1974 w 1977"/>
                <a:gd name="T17" fmla="*/ 1014 h 1977"/>
                <a:gd name="T18" fmla="*/ 1953 w 1977"/>
                <a:gd name="T19" fmla="*/ 1057 h 1977"/>
                <a:gd name="T20" fmla="*/ 1915 w 1977"/>
                <a:gd name="T21" fmla="*/ 1087 h 1977"/>
                <a:gd name="T22" fmla="*/ 1867 w 1977"/>
                <a:gd name="T23" fmla="*/ 1099 h 1977"/>
                <a:gd name="T24" fmla="*/ 1099 w 1977"/>
                <a:gd name="T25" fmla="*/ 1867 h 1977"/>
                <a:gd name="T26" fmla="*/ 1087 w 1977"/>
                <a:gd name="T27" fmla="*/ 1915 h 1977"/>
                <a:gd name="T28" fmla="*/ 1057 w 1977"/>
                <a:gd name="T29" fmla="*/ 1953 h 1977"/>
                <a:gd name="T30" fmla="*/ 1014 w 1977"/>
                <a:gd name="T31" fmla="*/ 1974 h 1977"/>
                <a:gd name="T32" fmla="*/ 963 w 1977"/>
                <a:gd name="T33" fmla="*/ 1974 h 1977"/>
                <a:gd name="T34" fmla="*/ 920 w 1977"/>
                <a:gd name="T35" fmla="*/ 1953 h 1977"/>
                <a:gd name="T36" fmla="*/ 890 w 1977"/>
                <a:gd name="T37" fmla="*/ 1915 h 1977"/>
                <a:gd name="T38" fmla="*/ 878 w 1977"/>
                <a:gd name="T39" fmla="*/ 1867 h 1977"/>
                <a:gd name="T40" fmla="*/ 110 w 1977"/>
                <a:gd name="T41" fmla="*/ 1099 h 1977"/>
                <a:gd name="T42" fmla="*/ 62 w 1977"/>
                <a:gd name="T43" fmla="*/ 1087 h 1977"/>
                <a:gd name="T44" fmla="*/ 24 w 1977"/>
                <a:gd name="T45" fmla="*/ 1057 h 1977"/>
                <a:gd name="T46" fmla="*/ 3 w 1977"/>
                <a:gd name="T47" fmla="*/ 1014 h 1977"/>
                <a:gd name="T48" fmla="*/ 3 w 1977"/>
                <a:gd name="T49" fmla="*/ 963 h 1977"/>
                <a:gd name="T50" fmla="*/ 24 w 1977"/>
                <a:gd name="T51" fmla="*/ 920 h 1977"/>
                <a:gd name="T52" fmla="*/ 62 w 1977"/>
                <a:gd name="T53" fmla="*/ 890 h 1977"/>
                <a:gd name="T54" fmla="*/ 110 w 1977"/>
                <a:gd name="T55" fmla="*/ 878 h 1977"/>
                <a:gd name="T56" fmla="*/ 878 w 1977"/>
                <a:gd name="T57" fmla="*/ 110 h 1977"/>
                <a:gd name="T58" fmla="*/ 890 w 1977"/>
                <a:gd name="T59" fmla="*/ 62 h 1977"/>
                <a:gd name="T60" fmla="*/ 920 w 1977"/>
                <a:gd name="T61" fmla="*/ 24 h 1977"/>
                <a:gd name="T62" fmla="*/ 963 w 1977"/>
                <a:gd name="T63" fmla="*/ 3 h 1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77" h="1977">
                  <a:moveTo>
                    <a:pt x="989" y="0"/>
                  </a:moveTo>
                  <a:lnTo>
                    <a:pt x="1014" y="3"/>
                  </a:lnTo>
                  <a:lnTo>
                    <a:pt x="1036" y="11"/>
                  </a:lnTo>
                  <a:lnTo>
                    <a:pt x="1057" y="24"/>
                  </a:lnTo>
                  <a:lnTo>
                    <a:pt x="1074" y="42"/>
                  </a:lnTo>
                  <a:lnTo>
                    <a:pt x="1087" y="62"/>
                  </a:lnTo>
                  <a:lnTo>
                    <a:pt x="1096" y="85"/>
                  </a:lnTo>
                  <a:lnTo>
                    <a:pt x="1099" y="110"/>
                  </a:lnTo>
                  <a:lnTo>
                    <a:pt x="1099" y="878"/>
                  </a:lnTo>
                  <a:lnTo>
                    <a:pt x="1867" y="878"/>
                  </a:lnTo>
                  <a:lnTo>
                    <a:pt x="1892" y="881"/>
                  </a:lnTo>
                  <a:lnTo>
                    <a:pt x="1915" y="890"/>
                  </a:lnTo>
                  <a:lnTo>
                    <a:pt x="1935" y="903"/>
                  </a:lnTo>
                  <a:lnTo>
                    <a:pt x="1953" y="920"/>
                  </a:lnTo>
                  <a:lnTo>
                    <a:pt x="1966" y="941"/>
                  </a:lnTo>
                  <a:lnTo>
                    <a:pt x="1974" y="963"/>
                  </a:lnTo>
                  <a:lnTo>
                    <a:pt x="1977" y="989"/>
                  </a:lnTo>
                  <a:lnTo>
                    <a:pt x="1974" y="1014"/>
                  </a:lnTo>
                  <a:lnTo>
                    <a:pt x="1966" y="1036"/>
                  </a:lnTo>
                  <a:lnTo>
                    <a:pt x="1953" y="1057"/>
                  </a:lnTo>
                  <a:lnTo>
                    <a:pt x="1935" y="1074"/>
                  </a:lnTo>
                  <a:lnTo>
                    <a:pt x="1915" y="1087"/>
                  </a:lnTo>
                  <a:lnTo>
                    <a:pt x="1892" y="1096"/>
                  </a:lnTo>
                  <a:lnTo>
                    <a:pt x="1867" y="1099"/>
                  </a:lnTo>
                  <a:lnTo>
                    <a:pt x="1099" y="1099"/>
                  </a:lnTo>
                  <a:lnTo>
                    <a:pt x="1099" y="1867"/>
                  </a:lnTo>
                  <a:lnTo>
                    <a:pt x="1096" y="1892"/>
                  </a:lnTo>
                  <a:lnTo>
                    <a:pt x="1087" y="1915"/>
                  </a:lnTo>
                  <a:lnTo>
                    <a:pt x="1074" y="1935"/>
                  </a:lnTo>
                  <a:lnTo>
                    <a:pt x="1057" y="1953"/>
                  </a:lnTo>
                  <a:lnTo>
                    <a:pt x="1036" y="1966"/>
                  </a:lnTo>
                  <a:lnTo>
                    <a:pt x="1014" y="1974"/>
                  </a:lnTo>
                  <a:lnTo>
                    <a:pt x="989" y="1977"/>
                  </a:lnTo>
                  <a:lnTo>
                    <a:pt x="963" y="1974"/>
                  </a:lnTo>
                  <a:lnTo>
                    <a:pt x="941" y="1966"/>
                  </a:lnTo>
                  <a:lnTo>
                    <a:pt x="920" y="1953"/>
                  </a:lnTo>
                  <a:lnTo>
                    <a:pt x="903" y="1935"/>
                  </a:lnTo>
                  <a:lnTo>
                    <a:pt x="890" y="1915"/>
                  </a:lnTo>
                  <a:lnTo>
                    <a:pt x="881" y="1892"/>
                  </a:lnTo>
                  <a:lnTo>
                    <a:pt x="878" y="1867"/>
                  </a:lnTo>
                  <a:lnTo>
                    <a:pt x="878" y="1099"/>
                  </a:lnTo>
                  <a:lnTo>
                    <a:pt x="110" y="1099"/>
                  </a:lnTo>
                  <a:lnTo>
                    <a:pt x="85" y="1096"/>
                  </a:lnTo>
                  <a:lnTo>
                    <a:pt x="62" y="1087"/>
                  </a:lnTo>
                  <a:lnTo>
                    <a:pt x="42" y="1074"/>
                  </a:lnTo>
                  <a:lnTo>
                    <a:pt x="24" y="1057"/>
                  </a:lnTo>
                  <a:lnTo>
                    <a:pt x="11" y="1036"/>
                  </a:lnTo>
                  <a:lnTo>
                    <a:pt x="3" y="1014"/>
                  </a:lnTo>
                  <a:lnTo>
                    <a:pt x="0" y="989"/>
                  </a:lnTo>
                  <a:lnTo>
                    <a:pt x="3" y="963"/>
                  </a:lnTo>
                  <a:lnTo>
                    <a:pt x="11" y="941"/>
                  </a:lnTo>
                  <a:lnTo>
                    <a:pt x="24" y="920"/>
                  </a:lnTo>
                  <a:lnTo>
                    <a:pt x="42" y="903"/>
                  </a:lnTo>
                  <a:lnTo>
                    <a:pt x="62" y="890"/>
                  </a:lnTo>
                  <a:lnTo>
                    <a:pt x="85" y="881"/>
                  </a:lnTo>
                  <a:lnTo>
                    <a:pt x="110" y="878"/>
                  </a:lnTo>
                  <a:lnTo>
                    <a:pt x="878" y="878"/>
                  </a:lnTo>
                  <a:lnTo>
                    <a:pt x="878" y="110"/>
                  </a:lnTo>
                  <a:lnTo>
                    <a:pt x="881" y="85"/>
                  </a:lnTo>
                  <a:lnTo>
                    <a:pt x="890" y="62"/>
                  </a:lnTo>
                  <a:lnTo>
                    <a:pt x="903" y="42"/>
                  </a:lnTo>
                  <a:lnTo>
                    <a:pt x="920" y="24"/>
                  </a:lnTo>
                  <a:lnTo>
                    <a:pt x="941" y="11"/>
                  </a:lnTo>
                  <a:lnTo>
                    <a:pt x="963" y="3"/>
                  </a:lnTo>
                  <a:lnTo>
                    <a:pt x="989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6" name="Gruppieren 225">
            <a:extLst>
              <a:ext uri="{FF2B5EF4-FFF2-40B4-BE49-F238E27FC236}">
                <a16:creationId xmlns:a16="http://schemas.microsoft.com/office/drawing/2014/main" id="{20DE98EE-0241-4F7D-A3A1-E72B2DCE163B}"/>
              </a:ext>
            </a:extLst>
          </p:cNvPr>
          <p:cNvGrpSpPr>
            <a:grpSpLocks/>
          </p:cNvGrpSpPr>
          <p:nvPr/>
        </p:nvGrpSpPr>
        <p:grpSpPr bwMode="gray">
          <a:xfrm>
            <a:off x="2379113" y="5546662"/>
            <a:ext cx="396000" cy="396000"/>
            <a:chOff x="2379113" y="5550787"/>
            <a:chExt cx="396000" cy="396000"/>
          </a:xfrm>
        </p:grpSpPr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EB42076B-5D18-4A8B-B3F3-6E462E89C0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91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59" name="Group 116">
              <a:extLst>
                <a:ext uri="{FF2B5EF4-FFF2-40B4-BE49-F238E27FC236}">
                  <a16:creationId xmlns:a16="http://schemas.microsoft.com/office/drawing/2014/main" id="{FFF387B9-B297-4676-B48C-C0A8815880D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09134" y="5680809"/>
              <a:ext cx="135957" cy="135957"/>
              <a:chOff x="900113" y="3840163"/>
              <a:chExt cx="241300" cy="241300"/>
            </a:xfrm>
            <a:solidFill>
              <a:schemeClr val="bg1"/>
            </a:solidFill>
          </p:grpSpPr>
          <p:sp>
            <p:nvSpPr>
              <p:cNvPr id="60" name="Freeform 20">
                <a:extLst>
                  <a:ext uri="{FF2B5EF4-FFF2-40B4-BE49-F238E27FC236}">
                    <a16:creationId xmlns:a16="http://schemas.microsoft.com/office/drawing/2014/main" id="{FFAFC4C7-40B9-46EB-BF2E-E78765D222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00113" y="3948113"/>
                <a:ext cx="241300" cy="25400"/>
              </a:xfrm>
              <a:custGeom>
                <a:avLst/>
                <a:gdLst>
                  <a:gd name="T0" fmla="*/ 110 w 1970"/>
                  <a:gd name="T1" fmla="*/ 0 h 220"/>
                  <a:gd name="T2" fmla="*/ 1860 w 1970"/>
                  <a:gd name="T3" fmla="*/ 0 h 220"/>
                  <a:gd name="T4" fmla="*/ 1885 w 1970"/>
                  <a:gd name="T5" fmla="*/ 3 h 220"/>
                  <a:gd name="T6" fmla="*/ 1908 w 1970"/>
                  <a:gd name="T7" fmla="*/ 11 h 220"/>
                  <a:gd name="T8" fmla="*/ 1928 w 1970"/>
                  <a:gd name="T9" fmla="*/ 25 h 220"/>
                  <a:gd name="T10" fmla="*/ 1945 w 1970"/>
                  <a:gd name="T11" fmla="*/ 42 h 220"/>
                  <a:gd name="T12" fmla="*/ 1959 w 1970"/>
                  <a:gd name="T13" fmla="*/ 62 h 220"/>
                  <a:gd name="T14" fmla="*/ 1967 w 1970"/>
                  <a:gd name="T15" fmla="*/ 85 h 220"/>
                  <a:gd name="T16" fmla="*/ 1970 w 1970"/>
                  <a:gd name="T17" fmla="*/ 110 h 220"/>
                  <a:gd name="T18" fmla="*/ 1967 w 1970"/>
                  <a:gd name="T19" fmla="*/ 135 h 220"/>
                  <a:gd name="T20" fmla="*/ 1959 w 1970"/>
                  <a:gd name="T21" fmla="*/ 158 h 220"/>
                  <a:gd name="T22" fmla="*/ 1945 w 1970"/>
                  <a:gd name="T23" fmla="*/ 178 h 220"/>
                  <a:gd name="T24" fmla="*/ 1928 w 1970"/>
                  <a:gd name="T25" fmla="*/ 195 h 220"/>
                  <a:gd name="T26" fmla="*/ 1908 w 1970"/>
                  <a:gd name="T27" fmla="*/ 209 h 220"/>
                  <a:gd name="T28" fmla="*/ 1885 w 1970"/>
                  <a:gd name="T29" fmla="*/ 217 h 220"/>
                  <a:gd name="T30" fmla="*/ 1860 w 1970"/>
                  <a:gd name="T31" fmla="*/ 220 h 220"/>
                  <a:gd name="T32" fmla="*/ 110 w 1970"/>
                  <a:gd name="T33" fmla="*/ 220 h 220"/>
                  <a:gd name="T34" fmla="*/ 85 w 1970"/>
                  <a:gd name="T35" fmla="*/ 217 h 220"/>
                  <a:gd name="T36" fmla="*/ 62 w 1970"/>
                  <a:gd name="T37" fmla="*/ 209 h 220"/>
                  <a:gd name="T38" fmla="*/ 42 w 1970"/>
                  <a:gd name="T39" fmla="*/ 195 h 220"/>
                  <a:gd name="T40" fmla="*/ 25 w 1970"/>
                  <a:gd name="T41" fmla="*/ 178 h 220"/>
                  <a:gd name="T42" fmla="*/ 11 w 1970"/>
                  <a:gd name="T43" fmla="*/ 158 h 220"/>
                  <a:gd name="T44" fmla="*/ 3 w 1970"/>
                  <a:gd name="T45" fmla="*/ 135 h 220"/>
                  <a:gd name="T46" fmla="*/ 0 w 1970"/>
                  <a:gd name="T47" fmla="*/ 110 h 220"/>
                  <a:gd name="T48" fmla="*/ 3 w 1970"/>
                  <a:gd name="T49" fmla="*/ 85 h 220"/>
                  <a:gd name="T50" fmla="*/ 11 w 1970"/>
                  <a:gd name="T51" fmla="*/ 62 h 220"/>
                  <a:gd name="T52" fmla="*/ 25 w 1970"/>
                  <a:gd name="T53" fmla="*/ 42 h 220"/>
                  <a:gd name="T54" fmla="*/ 42 w 1970"/>
                  <a:gd name="T55" fmla="*/ 25 h 220"/>
                  <a:gd name="T56" fmla="*/ 62 w 1970"/>
                  <a:gd name="T57" fmla="*/ 11 h 220"/>
                  <a:gd name="T58" fmla="*/ 85 w 1970"/>
                  <a:gd name="T59" fmla="*/ 3 h 220"/>
                  <a:gd name="T60" fmla="*/ 110 w 1970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20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5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5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9"/>
                    </a:lnTo>
                    <a:lnTo>
                      <a:pt x="1885" y="217"/>
                    </a:lnTo>
                    <a:lnTo>
                      <a:pt x="1860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" name="Freeform 21">
                <a:extLst>
                  <a:ext uri="{FF2B5EF4-FFF2-40B4-BE49-F238E27FC236}">
                    <a16:creationId xmlns:a16="http://schemas.microsoft.com/office/drawing/2014/main" id="{5D6951BE-08E2-4562-B14C-F52BF670F1F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3840163"/>
                <a:ext cx="79375" cy="80963"/>
              </a:xfrm>
              <a:custGeom>
                <a:avLst/>
                <a:gdLst>
                  <a:gd name="T0" fmla="*/ 311 w 656"/>
                  <a:gd name="T1" fmla="*/ 221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8 h 657"/>
                  <a:gd name="T10" fmla="*/ 223 w 656"/>
                  <a:gd name="T11" fmla="*/ 361 h 657"/>
                  <a:gd name="T12" fmla="*/ 238 w 656"/>
                  <a:gd name="T13" fmla="*/ 389 h 657"/>
                  <a:gd name="T14" fmla="*/ 267 w 656"/>
                  <a:gd name="T15" fmla="*/ 420 h 657"/>
                  <a:gd name="T16" fmla="*/ 306 w 656"/>
                  <a:gd name="T17" fmla="*/ 436 h 657"/>
                  <a:gd name="T18" fmla="*/ 345 w 656"/>
                  <a:gd name="T19" fmla="*/ 437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8 h 657"/>
                  <a:gd name="T28" fmla="*/ 433 w 656"/>
                  <a:gd name="T29" fmla="*/ 296 h 657"/>
                  <a:gd name="T30" fmla="*/ 418 w 656"/>
                  <a:gd name="T31" fmla="*/ 267 h 657"/>
                  <a:gd name="T32" fmla="*/ 389 w 656"/>
                  <a:gd name="T33" fmla="*/ 238 h 657"/>
                  <a:gd name="T34" fmla="*/ 350 w 656"/>
                  <a:gd name="T35" fmla="*/ 222 h 657"/>
                  <a:gd name="T36" fmla="*/ 328 w 656"/>
                  <a:gd name="T37" fmla="*/ 0 h 657"/>
                  <a:gd name="T38" fmla="*/ 394 w 656"/>
                  <a:gd name="T39" fmla="*/ 7 h 657"/>
                  <a:gd name="T40" fmla="*/ 456 w 656"/>
                  <a:gd name="T41" fmla="*/ 27 h 657"/>
                  <a:gd name="T42" fmla="*/ 512 w 656"/>
                  <a:gd name="T43" fmla="*/ 57 h 657"/>
                  <a:gd name="T44" fmla="*/ 569 w 656"/>
                  <a:gd name="T45" fmla="*/ 106 h 657"/>
                  <a:gd name="T46" fmla="*/ 614 w 656"/>
                  <a:gd name="T47" fmla="*/ 167 h 657"/>
                  <a:gd name="T48" fmla="*/ 644 w 656"/>
                  <a:gd name="T49" fmla="*/ 241 h 657"/>
                  <a:gd name="T50" fmla="*/ 656 w 656"/>
                  <a:gd name="T51" fmla="*/ 328 h 657"/>
                  <a:gd name="T52" fmla="*/ 649 w 656"/>
                  <a:gd name="T53" fmla="*/ 394 h 657"/>
                  <a:gd name="T54" fmla="*/ 630 w 656"/>
                  <a:gd name="T55" fmla="*/ 456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6 h 657"/>
                  <a:gd name="T64" fmla="*/ 328 w 656"/>
                  <a:gd name="T65" fmla="*/ 657 h 657"/>
                  <a:gd name="T66" fmla="*/ 262 w 656"/>
                  <a:gd name="T67" fmla="*/ 651 h 657"/>
                  <a:gd name="T68" fmla="*/ 200 w 656"/>
                  <a:gd name="T69" fmla="*/ 631 h 657"/>
                  <a:gd name="T70" fmla="*/ 144 w 656"/>
                  <a:gd name="T71" fmla="*/ 601 h 657"/>
                  <a:gd name="T72" fmla="*/ 87 w 656"/>
                  <a:gd name="T73" fmla="*/ 552 h 657"/>
                  <a:gd name="T74" fmla="*/ 42 w 656"/>
                  <a:gd name="T75" fmla="*/ 491 h 657"/>
                  <a:gd name="T76" fmla="*/ 12 w 656"/>
                  <a:gd name="T77" fmla="*/ 416 h 657"/>
                  <a:gd name="T78" fmla="*/ 0 w 656"/>
                  <a:gd name="T79" fmla="*/ 328 h 657"/>
                  <a:gd name="T80" fmla="*/ 7 w 656"/>
                  <a:gd name="T81" fmla="*/ 262 h 657"/>
                  <a:gd name="T82" fmla="*/ 26 w 656"/>
                  <a:gd name="T83" fmla="*/ 200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2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11" y="221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8"/>
                    </a:lnTo>
                    <a:lnTo>
                      <a:pt x="251" y="251"/>
                    </a:lnTo>
                    <a:lnTo>
                      <a:pt x="238" y="267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8"/>
                    </a:lnTo>
                    <a:lnTo>
                      <a:pt x="220" y="346"/>
                    </a:lnTo>
                    <a:lnTo>
                      <a:pt x="223" y="361"/>
                    </a:lnTo>
                    <a:lnTo>
                      <a:pt x="229" y="376"/>
                    </a:lnTo>
                    <a:lnTo>
                      <a:pt x="238" y="389"/>
                    </a:lnTo>
                    <a:lnTo>
                      <a:pt x="251" y="406"/>
                    </a:lnTo>
                    <a:lnTo>
                      <a:pt x="267" y="420"/>
                    </a:lnTo>
                    <a:lnTo>
                      <a:pt x="285" y="429"/>
                    </a:lnTo>
                    <a:lnTo>
                      <a:pt x="306" y="436"/>
                    </a:lnTo>
                    <a:lnTo>
                      <a:pt x="328" y="438"/>
                    </a:lnTo>
                    <a:lnTo>
                      <a:pt x="345" y="437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20"/>
                    </a:lnTo>
                    <a:lnTo>
                      <a:pt x="405" y="406"/>
                    </a:lnTo>
                    <a:lnTo>
                      <a:pt x="418" y="389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8"/>
                    </a:lnTo>
                    <a:lnTo>
                      <a:pt x="436" y="312"/>
                    </a:lnTo>
                    <a:lnTo>
                      <a:pt x="433" y="296"/>
                    </a:lnTo>
                    <a:lnTo>
                      <a:pt x="427" y="282"/>
                    </a:lnTo>
                    <a:lnTo>
                      <a:pt x="418" y="267"/>
                    </a:lnTo>
                    <a:lnTo>
                      <a:pt x="405" y="251"/>
                    </a:lnTo>
                    <a:lnTo>
                      <a:pt x="389" y="238"/>
                    </a:lnTo>
                    <a:lnTo>
                      <a:pt x="371" y="228"/>
                    </a:lnTo>
                    <a:lnTo>
                      <a:pt x="350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7"/>
                    </a:lnTo>
                    <a:lnTo>
                      <a:pt x="426" y="15"/>
                    </a:lnTo>
                    <a:lnTo>
                      <a:pt x="456" y="27"/>
                    </a:lnTo>
                    <a:lnTo>
                      <a:pt x="485" y="40"/>
                    </a:lnTo>
                    <a:lnTo>
                      <a:pt x="512" y="57"/>
                    </a:lnTo>
                    <a:lnTo>
                      <a:pt x="541" y="79"/>
                    </a:lnTo>
                    <a:lnTo>
                      <a:pt x="569" y="106"/>
                    </a:lnTo>
                    <a:lnTo>
                      <a:pt x="593" y="134"/>
                    </a:lnTo>
                    <a:lnTo>
                      <a:pt x="614" y="167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5"/>
                    </a:lnTo>
                    <a:lnTo>
                      <a:pt x="656" y="328"/>
                    </a:lnTo>
                    <a:lnTo>
                      <a:pt x="654" y="362"/>
                    </a:lnTo>
                    <a:lnTo>
                      <a:pt x="649" y="394"/>
                    </a:lnTo>
                    <a:lnTo>
                      <a:pt x="641" y="426"/>
                    </a:lnTo>
                    <a:lnTo>
                      <a:pt x="630" y="456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4"/>
                    </a:lnTo>
                    <a:lnTo>
                      <a:pt x="490" y="614"/>
                    </a:lnTo>
                    <a:lnTo>
                      <a:pt x="456" y="631"/>
                    </a:lnTo>
                    <a:lnTo>
                      <a:pt x="415" y="646"/>
                    </a:lnTo>
                    <a:lnTo>
                      <a:pt x="373" y="654"/>
                    </a:lnTo>
                    <a:lnTo>
                      <a:pt x="328" y="657"/>
                    </a:lnTo>
                    <a:lnTo>
                      <a:pt x="294" y="655"/>
                    </a:lnTo>
                    <a:lnTo>
                      <a:pt x="262" y="651"/>
                    </a:lnTo>
                    <a:lnTo>
                      <a:pt x="230" y="642"/>
                    </a:lnTo>
                    <a:lnTo>
                      <a:pt x="200" y="631"/>
                    </a:lnTo>
                    <a:lnTo>
                      <a:pt x="171" y="617"/>
                    </a:lnTo>
                    <a:lnTo>
                      <a:pt x="144" y="601"/>
                    </a:lnTo>
                    <a:lnTo>
                      <a:pt x="115" y="577"/>
                    </a:lnTo>
                    <a:lnTo>
                      <a:pt x="87" y="552"/>
                    </a:lnTo>
                    <a:lnTo>
                      <a:pt x="63" y="523"/>
                    </a:lnTo>
                    <a:lnTo>
                      <a:pt x="42" y="491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3"/>
                    </a:lnTo>
                    <a:lnTo>
                      <a:pt x="0" y="328"/>
                    </a:lnTo>
                    <a:lnTo>
                      <a:pt x="2" y="295"/>
                    </a:lnTo>
                    <a:lnTo>
                      <a:pt x="7" y="262"/>
                    </a:lnTo>
                    <a:lnTo>
                      <a:pt x="15" y="231"/>
                    </a:lnTo>
                    <a:lnTo>
                      <a:pt x="26" y="200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4"/>
                    </a:lnTo>
                    <a:lnTo>
                      <a:pt x="166" y="43"/>
                    </a:lnTo>
                    <a:lnTo>
                      <a:pt x="200" y="27"/>
                    </a:lnTo>
                    <a:lnTo>
                      <a:pt x="241" y="12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" name="Freeform 22">
                <a:extLst>
                  <a:ext uri="{FF2B5EF4-FFF2-40B4-BE49-F238E27FC236}">
                    <a16:creationId xmlns:a16="http://schemas.microsoft.com/office/drawing/2014/main" id="{F05C0825-2281-4BA6-A73B-2646264C772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4000500"/>
                <a:ext cx="79375" cy="80963"/>
              </a:xfrm>
              <a:custGeom>
                <a:avLst/>
                <a:gdLst>
                  <a:gd name="T0" fmla="*/ 311 w 656"/>
                  <a:gd name="T1" fmla="*/ 220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9 h 657"/>
                  <a:gd name="T10" fmla="*/ 223 w 656"/>
                  <a:gd name="T11" fmla="*/ 361 h 657"/>
                  <a:gd name="T12" fmla="*/ 238 w 656"/>
                  <a:gd name="T13" fmla="*/ 390 h 657"/>
                  <a:gd name="T14" fmla="*/ 267 w 656"/>
                  <a:gd name="T15" fmla="*/ 419 h 657"/>
                  <a:gd name="T16" fmla="*/ 306 w 656"/>
                  <a:gd name="T17" fmla="*/ 435 h 657"/>
                  <a:gd name="T18" fmla="*/ 345 w 656"/>
                  <a:gd name="T19" fmla="*/ 436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9 h 657"/>
                  <a:gd name="T28" fmla="*/ 433 w 656"/>
                  <a:gd name="T29" fmla="*/ 296 h 657"/>
                  <a:gd name="T30" fmla="*/ 418 w 656"/>
                  <a:gd name="T31" fmla="*/ 268 h 657"/>
                  <a:gd name="T32" fmla="*/ 389 w 656"/>
                  <a:gd name="T33" fmla="*/ 237 h 657"/>
                  <a:gd name="T34" fmla="*/ 350 w 656"/>
                  <a:gd name="T35" fmla="*/ 221 h 657"/>
                  <a:gd name="T36" fmla="*/ 328 w 656"/>
                  <a:gd name="T37" fmla="*/ 0 h 657"/>
                  <a:gd name="T38" fmla="*/ 394 w 656"/>
                  <a:gd name="T39" fmla="*/ 6 h 657"/>
                  <a:gd name="T40" fmla="*/ 456 w 656"/>
                  <a:gd name="T41" fmla="*/ 26 h 657"/>
                  <a:gd name="T42" fmla="*/ 512 w 656"/>
                  <a:gd name="T43" fmla="*/ 56 h 657"/>
                  <a:gd name="T44" fmla="*/ 569 w 656"/>
                  <a:gd name="T45" fmla="*/ 105 h 657"/>
                  <a:gd name="T46" fmla="*/ 614 w 656"/>
                  <a:gd name="T47" fmla="*/ 166 h 657"/>
                  <a:gd name="T48" fmla="*/ 644 w 656"/>
                  <a:gd name="T49" fmla="*/ 241 h 657"/>
                  <a:gd name="T50" fmla="*/ 656 w 656"/>
                  <a:gd name="T51" fmla="*/ 329 h 657"/>
                  <a:gd name="T52" fmla="*/ 649 w 656"/>
                  <a:gd name="T53" fmla="*/ 395 h 657"/>
                  <a:gd name="T54" fmla="*/ 630 w 656"/>
                  <a:gd name="T55" fmla="*/ 457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5 h 657"/>
                  <a:gd name="T64" fmla="*/ 327 w 656"/>
                  <a:gd name="T65" fmla="*/ 657 h 657"/>
                  <a:gd name="T66" fmla="*/ 262 w 656"/>
                  <a:gd name="T67" fmla="*/ 650 h 657"/>
                  <a:gd name="T68" fmla="*/ 200 w 656"/>
                  <a:gd name="T69" fmla="*/ 630 h 657"/>
                  <a:gd name="T70" fmla="*/ 144 w 656"/>
                  <a:gd name="T71" fmla="*/ 600 h 657"/>
                  <a:gd name="T72" fmla="*/ 87 w 656"/>
                  <a:gd name="T73" fmla="*/ 551 h 657"/>
                  <a:gd name="T74" fmla="*/ 42 w 656"/>
                  <a:gd name="T75" fmla="*/ 490 h 657"/>
                  <a:gd name="T76" fmla="*/ 12 w 656"/>
                  <a:gd name="T77" fmla="*/ 416 h 657"/>
                  <a:gd name="T78" fmla="*/ 0 w 656"/>
                  <a:gd name="T79" fmla="*/ 329 h 657"/>
                  <a:gd name="T80" fmla="*/ 7 w 656"/>
                  <a:gd name="T81" fmla="*/ 263 h 657"/>
                  <a:gd name="T82" fmla="*/ 26 w 656"/>
                  <a:gd name="T83" fmla="*/ 201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1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11" y="220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7"/>
                    </a:lnTo>
                    <a:lnTo>
                      <a:pt x="251" y="251"/>
                    </a:lnTo>
                    <a:lnTo>
                      <a:pt x="238" y="268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9"/>
                    </a:lnTo>
                    <a:lnTo>
                      <a:pt x="220" y="345"/>
                    </a:lnTo>
                    <a:lnTo>
                      <a:pt x="223" y="361"/>
                    </a:lnTo>
                    <a:lnTo>
                      <a:pt x="229" y="375"/>
                    </a:lnTo>
                    <a:lnTo>
                      <a:pt x="238" y="390"/>
                    </a:lnTo>
                    <a:lnTo>
                      <a:pt x="251" y="406"/>
                    </a:lnTo>
                    <a:lnTo>
                      <a:pt x="267" y="419"/>
                    </a:lnTo>
                    <a:lnTo>
                      <a:pt x="285" y="429"/>
                    </a:lnTo>
                    <a:lnTo>
                      <a:pt x="306" y="435"/>
                    </a:lnTo>
                    <a:lnTo>
                      <a:pt x="328" y="437"/>
                    </a:lnTo>
                    <a:lnTo>
                      <a:pt x="345" y="436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19"/>
                    </a:lnTo>
                    <a:lnTo>
                      <a:pt x="405" y="406"/>
                    </a:lnTo>
                    <a:lnTo>
                      <a:pt x="418" y="390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9"/>
                    </a:lnTo>
                    <a:lnTo>
                      <a:pt x="436" y="311"/>
                    </a:lnTo>
                    <a:lnTo>
                      <a:pt x="433" y="296"/>
                    </a:lnTo>
                    <a:lnTo>
                      <a:pt x="427" y="281"/>
                    </a:lnTo>
                    <a:lnTo>
                      <a:pt x="418" y="268"/>
                    </a:lnTo>
                    <a:lnTo>
                      <a:pt x="405" y="251"/>
                    </a:lnTo>
                    <a:lnTo>
                      <a:pt x="389" y="237"/>
                    </a:lnTo>
                    <a:lnTo>
                      <a:pt x="371" y="228"/>
                    </a:lnTo>
                    <a:lnTo>
                      <a:pt x="350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6"/>
                    </a:lnTo>
                    <a:lnTo>
                      <a:pt x="426" y="15"/>
                    </a:lnTo>
                    <a:lnTo>
                      <a:pt x="456" y="26"/>
                    </a:lnTo>
                    <a:lnTo>
                      <a:pt x="485" y="40"/>
                    </a:lnTo>
                    <a:lnTo>
                      <a:pt x="512" y="56"/>
                    </a:lnTo>
                    <a:lnTo>
                      <a:pt x="541" y="80"/>
                    </a:lnTo>
                    <a:lnTo>
                      <a:pt x="569" y="105"/>
                    </a:lnTo>
                    <a:lnTo>
                      <a:pt x="593" y="134"/>
                    </a:lnTo>
                    <a:lnTo>
                      <a:pt x="614" y="166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4"/>
                    </a:lnTo>
                    <a:lnTo>
                      <a:pt x="656" y="329"/>
                    </a:lnTo>
                    <a:lnTo>
                      <a:pt x="654" y="362"/>
                    </a:lnTo>
                    <a:lnTo>
                      <a:pt x="649" y="395"/>
                    </a:lnTo>
                    <a:lnTo>
                      <a:pt x="641" y="426"/>
                    </a:lnTo>
                    <a:lnTo>
                      <a:pt x="630" y="457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3"/>
                    </a:lnTo>
                    <a:lnTo>
                      <a:pt x="490" y="614"/>
                    </a:lnTo>
                    <a:lnTo>
                      <a:pt x="456" y="630"/>
                    </a:lnTo>
                    <a:lnTo>
                      <a:pt x="415" y="645"/>
                    </a:lnTo>
                    <a:lnTo>
                      <a:pt x="373" y="654"/>
                    </a:lnTo>
                    <a:lnTo>
                      <a:pt x="327" y="657"/>
                    </a:lnTo>
                    <a:lnTo>
                      <a:pt x="294" y="655"/>
                    </a:lnTo>
                    <a:lnTo>
                      <a:pt x="262" y="650"/>
                    </a:lnTo>
                    <a:lnTo>
                      <a:pt x="230" y="642"/>
                    </a:lnTo>
                    <a:lnTo>
                      <a:pt x="200" y="630"/>
                    </a:lnTo>
                    <a:lnTo>
                      <a:pt x="171" y="617"/>
                    </a:lnTo>
                    <a:lnTo>
                      <a:pt x="144" y="600"/>
                    </a:lnTo>
                    <a:lnTo>
                      <a:pt x="115" y="578"/>
                    </a:lnTo>
                    <a:lnTo>
                      <a:pt x="87" y="551"/>
                    </a:lnTo>
                    <a:lnTo>
                      <a:pt x="63" y="523"/>
                    </a:lnTo>
                    <a:lnTo>
                      <a:pt x="42" y="490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2"/>
                    </a:lnTo>
                    <a:lnTo>
                      <a:pt x="0" y="329"/>
                    </a:lnTo>
                    <a:lnTo>
                      <a:pt x="2" y="295"/>
                    </a:lnTo>
                    <a:lnTo>
                      <a:pt x="7" y="263"/>
                    </a:lnTo>
                    <a:lnTo>
                      <a:pt x="15" y="231"/>
                    </a:lnTo>
                    <a:lnTo>
                      <a:pt x="26" y="201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3"/>
                    </a:lnTo>
                    <a:lnTo>
                      <a:pt x="166" y="43"/>
                    </a:lnTo>
                    <a:lnTo>
                      <a:pt x="200" y="26"/>
                    </a:lnTo>
                    <a:lnTo>
                      <a:pt x="241" y="11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4" name="Gruppieren 223">
            <a:extLst>
              <a:ext uri="{FF2B5EF4-FFF2-40B4-BE49-F238E27FC236}">
                <a16:creationId xmlns:a16="http://schemas.microsoft.com/office/drawing/2014/main" id="{8E6BB5F6-F3B5-4217-89C8-226C14907416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5546662"/>
            <a:ext cx="396000" cy="396000"/>
            <a:chOff x="3550015" y="5550787"/>
            <a:chExt cx="396000" cy="396000"/>
          </a:xfrm>
        </p:grpSpPr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B796C6CC-588E-4E41-BE4F-218AA502FE6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550015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65" name="Group 118">
              <a:extLst>
                <a:ext uri="{FF2B5EF4-FFF2-40B4-BE49-F238E27FC236}">
                  <a16:creationId xmlns:a16="http://schemas.microsoft.com/office/drawing/2014/main" id="{F1446016-0865-40C3-80BB-F42D33E292F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663415" y="5708201"/>
              <a:ext cx="169200" cy="81172"/>
              <a:chOff x="1497013" y="3903663"/>
              <a:chExt cx="241300" cy="106363"/>
            </a:xfrm>
            <a:solidFill>
              <a:schemeClr val="bg1"/>
            </a:solidFill>
          </p:grpSpPr>
          <p:sp>
            <p:nvSpPr>
              <p:cNvPr id="66" name="Freeform 28">
                <a:extLst>
                  <a:ext uri="{FF2B5EF4-FFF2-40B4-BE49-F238E27FC236}">
                    <a16:creationId xmlns:a16="http://schemas.microsoft.com/office/drawing/2014/main" id="{8E3ACECD-D236-440F-B804-42593A8507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83038"/>
                <a:ext cx="241300" cy="26988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3 h 219"/>
                  <a:gd name="T6" fmla="*/ 1908 w 1970"/>
                  <a:gd name="T7" fmla="*/ 11 h 219"/>
                  <a:gd name="T8" fmla="*/ 1928 w 1970"/>
                  <a:gd name="T9" fmla="*/ 24 h 219"/>
                  <a:gd name="T10" fmla="*/ 1945 w 1970"/>
                  <a:gd name="T11" fmla="*/ 42 h 219"/>
                  <a:gd name="T12" fmla="*/ 1959 w 1970"/>
                  <a:gd name="T13" fmla="*/ 62 h 219"/>
                  <a:gd name="T14" fmla="*/ 1967 w 1970"/>
                  <a:gd name="T15" fmla="*/ 84 h 219"/>
                  <a:gd name="T16" fmla="*/ 1970 w 1970"/>
                  <a:gd name="T17" fmla="*/ 110 h 219"/>
                  <a:gd name="T18" fmla="*/ 1967 w 1970"/>
                  <a:gd name="T19" fmla="*/ 135 h 219"/>
                  <a:gd name="T20" fmla="*/ 1959 w 1970"/>
                  <a:gd name="T21" fmla="*/ 157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7 h 219"/>
                  <a:gd name="T44" fmla="*/ 3 w 1970"/>
                  <a:gd name="T45" fmla="*/ 135 h 219"/>
                  <a:gd name="T46" fmla="*/ 0 w 1970"/>
                  <a:gd name="T47" fmla="*/ 110 h 219"/>
                  <a:gd name="T48" fmla="*/ 3 w 1970"/>
                  <a:gd name="T49" fmla="*/ 84 h 219"/>
                  <a:gd name="T50" fmla="*/ 11 w 1970"/>
                  <a:gd name="T51" fmla="*/ 62 h 219"/>
                  <a:gd name="T52" fmla="*/ 25 w 1970"/>
                  <a:gd name="T53" fmla="*/ 42 h 219"/>
                  <a:gd name="T54" fmla="*/ 42 w 1970"/>
                  <a:gd name="T55" fmla="*/ 24 h 219"/>
                  <a:gd name="T56" fmla="*/ 62 w 1970"/>
                  <a:gd name="T57" fmla="*/ 11 h 219"/>
                  <a:gd name="T58" fmla="*/ 85 w 1970"/>
                  <a:gd name="T59" fmla="*/ 3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4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4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7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7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4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4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" name="Freeform 29">
                <a:extLst>
                  <a:ext uri="{FF2B5EF4-FFF2-40B4-BE49-F238E27FC236}">
                    <a16:creationId xmlns:a16="http://schemas.microsoft.com/office/drawing/2014/main" id="{97CB8D16-9CC4-4B91-B46D-22EA81FBD9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03663"/>
                <a:ext cx="241300" cy="25400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2 h 219"/>
                  <a:gd name="T6" fmla="*/ 1908 w 1970"/>
                  <a:gd name="T7" fmla="*/ 12 h 219"/>
                  <a:gd name="T8" fmla="*/ 1928 w 1970"/>
                  <a:gd name="T9" fmla="*/ 24 h 219"/>
                  <a:gd name="T10" fmla="*/ 1945 w 1970"/>
                  <a:gd name="T11" fmla="*/ 41 h 219"/>
                  <a:gd name="T12" fmla="*/ 1959 w 1970"/>
                  <a:gd name="T13" fmla="*/ 61 h 219"/>
                  <a:gd name="T14" fmla="*/ 1967 w 1970"/>
                  <a:gd name="T15" fmla="*/ 85 h 219"/>
                  <a:gd name="T16" fmla="*/ 1970 w 1970"/>
                  <a:gd name="T17" fmla="*/ 109 h 219"/>
                  <a:gd name="T18" fmla="*/ 1967 w 1970"/>
                  <a:gd name="T19" fmla="*/ 135 h 219"/>
                  <a:gd name="T20" fmla="*/ 1959 w 1970"/>
                  <a:gd name="T21" fmla="*/ 158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8 h 219"/>
                  <a:gd name="T44" fmla="*/ 3 w 1970"/>
                  <a:gd name="T45" fmla="*/ 135 h 219"/>
                  <a:gd name="T46" fmla="*/ 0 w 1970"/>
                  <a:gd name="T47" fmla="*/ 109 h 219"/>
                  <a:gd name="T48" fmla="*/ 3 w 1970"/>
                  <a:gd name="T49" fmla="*/ 85 h 219"/>
                  <a:gd name="T50" fmla="*/ 11 w 1970"/>
                  <a:gd name="T51" fmla="*/ 61 h 219"/>
                  <a:gd name="T52" fmla="*/ 25 w 1970"/>
                  <a:gd name="T53" fmla="*/ 41 h 219"/>
                  <a:gd name="T54" fmla="*/ 42 w 1970"/>
                  <a:gd name="T55" fmla="*/ 24 h 219"/>
                  <a:gd name="T56" fmla="*/ 62 w 1970"/>
                  <a:gd name="T57" fmla="*/ 12 h 219"/>
                  <a:gd name="T58" fmla="*/ 85 w 1970"/>
                  <a:gd name="T59" fmla="*/ 2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2"/>
                    </a:lnTo>
                    <a:lnTo>
                      <a:pt x="1908" y="12"/>
                    </a:lnTo>
                    <a:lnTo>
                      <a:pt x="1928" y="24"/>
                    </a:lnTo>
                    <a:lnTo>
                      <a:pt x="1945" y="41"/>
                    </a:lnTo>
                    <a:lnTo>
                      <a:pt x="1959" y="61"/>
                    </a:lnTo>
                    <a:lnTo>
                      <a:pt x="1967" y="85"/>
                    </a:lnTo>
                    <a:lnTo>
                      <a:pt x="1970" y="109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09"/>
                    </a:lnTo>
                    <a:lnTo>
                      <a:pt x="3" y="85"/>
                    </a:lnTo>
                    <a:lnTo>
                      <a:pt x="11" y="61"/>
                    </a:lnTo>
                    <a:lnTo>
                      <a:pt x="25" y="41"/>
                    </a:lnTo>
                    <a:lnTo>
                      <a:pt x="42" y="24"/>
                    </a:lnTo>
                    <a:lnTo>
                      <a:pt x="62" y="12"/>
                    </a:lnTo>
                    <a:lnTo>
                      <a:pt x="85" y="2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C60C8AAC-E2CA-458A-919F-EAC30224EED1}"/>
              </a:ext>
            </a:extLst>
          </p:cNvPr>
          <p:cNvGrpSpPr>
            <a:grpSpLocks/>
          </p:cNvGrpSpPr>
          <p:nvPr/>
        </p:nvGrpSpPr>
        <p:grpSpPr bwMode="gray">
          <a:xfrm>
            <a:off x="1208211" y="5546662"/>
            <a:ext cx="396000" cy="396000"/>
            <a:chOff x="1208211" y="5550787"/>
            <a:chExt cx="396000" cy="396000"/>
          </a:xfrm>
        </p:grpSpPr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4D068127-A520-4328-BEB1-64417AE45A6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082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0" name="Freeform 35">
              <a:extLst>
                <a:ext uri="{FF2B5EF4-FFF2-40B4-BE49-F238E27FC236}">
                  <a16:creationId xmlns:a16="http://schemas.microsoft.com/office/drawing/2014/main" id="{C2E4E083-D84F-4202-A49C-0C87E8CD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21611" y="5737987"/>
              <a:ext cx="169200" cy="21600"/>
            </a:xfrm>
            <a:custGeom>
              <a:avLst/>
              <a:gdLst>
                <a:gd name="T0" fmla="*/ 110 w 1977"/>
                <a:gd name="T1" fmla="*/ 0 h 220"/>
                <a:gd name="T2" fmla="*/ 1867 w 1977"/>
                <a:gd name="T3" fmla="*/ 0 h 220"/>
                <a:gd name="T4" fmla="*/ 1892 w 1977"/>
                <a:gd name="T5" fmla="*/ 3 h 220"/>
                <a:gd name="T6" fmla="*/ 1915 w 1977"/>
                <a:gd name="T7" fmla="*/ 11 h 220"/>
                <a:gd name="T8" fmla="*/ 1935 w 1977"/>
                <a:gd name="T9" fmla="*/ 25 h 220"/>
                <a:gd name="T10" fmla="*/ 1953 w 1977"/>
                <a:gd name="T11" fmla="*/ 42 h 220"/>
                <a:gd name="T12" fmla="*/ 1966 w 1977"/>
                <a:gd name="T13" fmla="*/ 62 h 220"/>
                <a:gd name="T14" fmla="*/ 1974 w 1977"/>
                <a:gd name="T15" fmla="*/ 85 h 220"/>
                <a:gd name="T16" fmla="*/ 1977 w 1977"/>
                <a:gd name="T17" fmla="*/ 110 h 220"/>
                <a:gd name="T18" fmla="*/ 1974 w 1977"/>
                <a:gd name="T19" fmla="*/ 135 h 220"/>
                <a:gd name="T20" fmla="*/ 1966 w 1977"/>
                <a:gd name="T21" fmla="*/ 158 h 220"/>
                <a:gd name="T22" fmla="*/ 1953 w 1977"/>
                <a:gd name="T23" fmla="*/ 178 h 220"/>
                <a:gd name="T24" fmla="*/ 1935 w 1977"/>
                <a:gd name="T25" fmla="*/ 195 h 220"/>
                <a:gd name="T26" fmla="*/ 1915 w 1977"/>
                <a:gd name="T27" fmla="*/ 209 h 220"/>
                <a:gd name="T28" fmla="*/ 1892 w 1977"/>
                <a:gd name="T29" fmla="*/ 217 h 220"/>
                <a:gd name="T30" fmla="*/ 1867 w 1977"/>
                <a:gd name="T31" fmla="*/ 220 h 220"/>
                <a:gd name="T32" fmla="*/ 110 w 1977"/>
                <a:gd name="T33" fmla="*/ 220 h 220"/>
                <a:gd name="T34" fmla="*/ 85 w 1977"/>
                <a:gd name="T35" fmla="*/ 217 h 220"/>
                <a:gd name="T36" fmla="*/ 62 w 1977"/>
                <a:gd name="T37" fmla="*/ 209 h 220"/>
                <a:gd name="T38" fmla="*/ 42 w 1977"/>
                <a:gd name="T39" fmla="*/ 195 h 220"/>
                <a:gd name="T40" fmla="*/ 24 w 1977"/>
                <a:gd name="T41" fmla="*/ 178 h 220"/>
                <a:gd name="T42" fmla="*/ 11 w 1977"/>
                <a:gd name="T43" fmla="*/ 158 h 220"/>
                <a:gd name="T44" fmla="*/ 3 w 1977"/>
                <a:gd name="T45" fmla="*/ 135 h 220"/>
                <a:gd name="T46" fmla="*/ 0 w 1977"/>
                <a:gd name="T47" fmla="*/ 110 h 220"/>
                <a:gd name="T48" fmla="*/ 3 w 1977"/>
                <a:gd name="T49" fmla="*/ 85 h 220"/>
                <a:gd name="T50" fmla="*/ 11 w 1977"/>
                <a:gd name="T51" fmla="*/ 62 h 220"/>
                <a:gd name="T52" fmla="*/ 24 w 1977"/>
                <a:gd name="T53" fmla="*/ 42 h 220"/>
                <a:gd name="T54" fmla="*/ 42 w 1977"/>
                <a:gd name="T55" fmla="*/ 25 h 220"/>
                <a:gd name="T56" fmla="*/ 62 w 1977"/>
                <a:gd name="T57" fmla="*/ 11 h 220"/>
                <a:gd name="T58" fmla="*/ 85 w 1977"/>
                <a:gd name="T59" fmla="*/ 3 h 220"/>
                <a:gd name="T60" fmla="*/ 110 w 1977"/>
                <a:gd name="T61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77" h="220">
                  <a:moveTo>
                    <a:pt x="110" y="0"/>
                  </a:moveTo>
                  <a:lnTo>
                    <a:pt x="1867" y="0"/>
                  </a:lnTo>
                  <a:lnTo>
                    <a:pt x="1892" y="3"/>
                  </a:lnTo>
                  <a:lnTo>
                    <a:pt x="1915" y="11"/>
                  </a:lnTo>
                  <a:lnTo>
                    <a:pt x="1935" y="25"/>
                  </a:lnTo>
                  <a:lnTo>
                    <a:pt x="1953" y="42"/>
                  </a:lnTo>
                  <a:lnTo>
                    <a:pt x="1966" y="62"/>
                  </a:lnTo>
                  <a:lnTo>
                    <a:pt x="1974" y="85"/>
                  </a:lnTo>
                  <a:lnTo>
                    <a:pt x="1977" y="110"/>
                  </a:lnTo>
                  <a:lnTo>
                    <a:pt x="1974" y="135"/>
                  </a:lnTo>
                  <a:lnTo>
                    <a:pt x="1966" y="158"/>
                  </a:lnTo>
                  <a:lnTo>
                    <a:pt x="1953" y="178"/>
                  </a:lnTo>
                  <a:lnTo>
                    <a:pt x="1935" y="195"/>
                  </a:lnTo>
                  <a:lnTo>
                    <a:pt x="1915" y="209"/>
                  </a:lnTo>
                  <a:lnTo>
                    <a:pt x="1892" y="217"/>
                  </a:lnTo>
                  <a:lnTo>
                    <a:pt x="1867" y="220"/>
                  </a:lnTo>
                  <a:lnTo>
                    <a:pt x="110" y="220"/>
                  </a:lnTo>
                  <a:lnTo>
                    <a:pt x="85" y="217"/>
                  </a:lnTo>
                  <a:lnTo>
                    <a:pt x="62" y="209"/>
                  </a:lnTo>
                  <a:lnTo>
                    <a:pt x="42" y="195"/>
                  </a:lnTo>
                  <a:lnTo>
                    <a:pt x="24" y="178"/>
                  </a:lnTo>
                  <a:lnTo>
                    <a:pt x="11" y="158"/>
                  </a:lnTo>
                  <a:lnTo>
                    <a:pt x="3" y="135"/>
                  </a:lnTo>
                  <a:lnTo>
                    <a:pt x="0" y="110"/>
                  </a:lnTo>
                  <a:lnTo>
                    <a:pt x="3" y="85"/>
                  </a:lnTo>
                  <a:lnTo>
                    <a:pt x="11" y="62"/>
                  </a:lnTo>
                  <a:lnTo>
                    <a:pt x="24" y="42"/>
                  </a:lnTo>
                  <a:lnTo>
                    <a:pt x="42" y="25"/>
                  </a:lnTo>
                  <a:lnTo>
                    <a:pt x="62" y="11"/>
                  </a:lnTo>
                  <a:lnTo>
                    <a:pt x="85" y="3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14" name="Gruppieren 213">
            <a:extLst>
              <a:ext uri="{FF2B5EF4-FFF2-40B4-BE49-F238E27FC236}">
                <a16:creationId xmlns:a16="http://schemas.microsoft.com/office/drawing/2014/main" id="{1A659AD5-73F2-4F8A-84A0-6E43A2CA5E99}"/>
              </a:ext>
            </a:extLst>
          </p:cNvPr>
          <p:cNvGrpSpPr>
            <a:grpSpLocks/>
          </p:cNvGrpSpPr>
          <p:nvPr/>
        </p:nvGrpSpPr>
        <p:grpSpPr bwMode="gray">
          <a:xfrm>
            <a:off x="1796341" y="5546662"/>
            <a:ext cx="396000" cy="396000"/>
            <a:chOff x="1796341" y="5550787"/>
            <a:chExt cx="396000" cy="396000"/>
          </a:xfrm>
        </p:grpSpPr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637EE5C6-E2BB-44E0-B666-5D882D78E0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79634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3" name="Freeform 41">
              <a:extLst>
                <a:ext uri="{FF2B5EF4-FFF2-40B4-BE49-F238E27FC236}">
                  <a16:creationId xmlns:a16="http://schemas.microsoft.com/office/drawing/2014/main" id="{4C6EEC73-FBC1-4478-A656-BC7F6609E0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300" y="5680357"/>
              <a:ext cx="138081" cy="136860"/>
            </a:xfrm>
            <a:custGeom>
              <a:avLst/>
              <a:gdLst>
                <a:gd name="T0" fmla="*/ 131 w 1463"/>
                <a:gd name="T1" fmla="*/ 2 h 1458"/>
                <a:gd name="T2" fmla="*/ 170 w 1463"/>
                <a:gd name="T3" fmla="*/ 19 h 1458"/>
                <a:gd name="T4" fmla="*/ 732 w 1463"/>
                <a:gd name="T5" fmla="*/ 575 h 1458"/>
                <a:gd name="T6" fmla="*/ 1293 w 1463"/>
                <a:gd name="T7" fmla="*/ 19 h 1458"/>
                <a:gd name="T8" fmla="*/ 1332 w 1463"/>
                <a:gd name="T9" fmla="*/ 2 h 1458"/>
                <a:gd name="T10" fmla="*/ 1374 w 1463"/>
                <a:gd name="T11" fmla="*/ 2 h 1458"/>
                <a:gd name="T12" fmla="*/ 1413 w 1463"/>
                <a:gd name="T13" fmla="*/ 19 h 1458"/>
                <a:gd name="T14" fmla="*/ 1445 w 1463"/>
                <a:gd name="T15" fmla="*/ 50 h 1458"/>
                <a:gd name="T16" fmla="*/ 1461 w 1463"/>
                <a:gd name="T17" fmla="*/ 89 h 1458"/>
                <a:gd name="T18" fmla="*/ 1461 w 1463"/>
                <a:gd name="T19" fmla="*/ 130 h 1458"/>
                <a:gd name="T20" fmla="*/ 1445 w 1463"/>
                <a:gd name="T21" fmla="*/ 170 h 1458"/>
                <a:gd name="T22" fmla="*/ 887 w 1463"/>
                <a:gd name="T23" fmla="*/ 729 h 1458"/>
                <a:gd name="T24" fmla="*/ 1445 w 1463"/>
                <a:gd name="T25" fmla="*/ 1288 h 1458"/>
                <a:gd name="T26" fmla="*/ 1461 w 1463"/>
                <a:gd name="T27" fmla="*/ 1328 h 1458"/>
                <a:gd name="T28" fmla="*/ 1461 w 1463"/>
                <a:gd name="T29" fmla="*/ 1369 h 1458"/>
                <a:gd name="T30" fmla="*/ 1445 w 1463"/>
                <a:gd name="T31" fmla="*/ 1408 h 1458"/>
                <a:gd name="T32" fmla="*/ 1413 w 1463"/>
                <a:gd name="T33" fmla="*/ 1439 h 1458"/>
                <a:gd name="T34" fmla="*/ 1374 w 1463"/>
                <a:gd name="T35" fmla="*/ 1456 h 1458"/>
                <a:gd name="T36" fmla="*/ 1332 w 1463"/>
                <a:gd name="T37" fmla="*/ 1456 h 1458"/>
                <a:gd name="T38" fmla="*/ 1293 w 1463"/>
                <a:gd name="T39" fmla="*/ 1439 h 1458"/>
                <a:gd name="T40" fmla="*/ 732 w 1463"/>
                <a:gd name="T41" fmla="*/ 883 h 1458"/>
                <a:gd name="T42" fmla="*/ 170 w 1463"/>
                <a:gd name="T43" fmla="*/ 1439 h 1458"/>
                <a:gd name="T44" fmla="*/ 131 w 1463"/>
                <a:gd name="T45" fmla="*/ 1456 h 1458"/>
                <a:gd name="T46" fmla="*/ 89 w 1463"/>
                <a:gd name="T47" fmla="*/ 1456 h 1458"/>
                <a:gd name="T48" fmla="*/ 50 w 1463"/>
                <a:gd name="T49" fmla="*/ 1439 h 1458"/>
                <a:gd name="T50" fmla="*/ 18 w 1463"/>
                <a:gd name="T51" fmla="*/ 1408 h 1458"/>
                <a:gd name="T52" fmla="*/ 2 w 1463"/>
                <a:gd name="T53" fmla="*/ 1369 h 1458"/>
                <a:gd name="T54" fmla="*/ 2 w 1463"/>
                <a:gd name="T55" fmla="*/ 1328 h 1458"/>
                <a:gd name="T56" fmla="*/ 18 w 1463"/>
                <a:gd name="T57" fmla="*/ 1288 h 1458"/>
                <a:gd name="T58" fmla="*/ 576 w 1463"/>
                <a:gd name="T59" fmla="*/ 729 h 1458"/>
                <a:gd name="T60" fmla="*/ 18 w 1463"/>
                <a:gd name="T61" fmla="*/ 170 h 1458"/>
                <a:gd name="T62" fmla="*/ 2 w 1463"/>
                <a:gd name="T63" fmla="*/ 130 h 1458"/>
                <a:gd name="T64" fmla="*/ 2 w 1463"/>
                <a:gd name="T65" fmla="*/ 89 h 1458"/>
                <a:gd name="T66" fmla="*/ 18 w 1463"/>
                <a:gd name="T67" fmla="*/ 50 h 1458"/>
                <a:gd name="T68" fmla="*/ 50 w 1463"/>
                <a:gd name="T69" fmla="*/ 19 h 1458"/>
                <a:gd name="T70" fmla="*/ 89 w 1463"/>
                <a:gd name="T71" fmla="*/ 2 h 1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3" h="1458">
                  <a:moveTo>
                    <a:pt x="110" y="0"/>
                  </a:moveTo>
                  <a:lnTo>
                    <a:pt x="131" y="2"/>
                  </a:lnTo>
                  <a:lnTo>
                    <a:pt x="151" y="8"/>
                  </a:lnTo>
                  <a:lnTo>
                    <a:pt x="170" y="19"/>
                  </a:lnTo>
                  <a:lnTo>
                    <a:pt x="188" y="33"/>
                  </a:lnTo>
                  <a:lnTo>
                    <a:pt x="732" y="575"/>
                  </a:lnTo>
                  <a:lnTo>
                    <a:pt x="1275" y="33"/>
                  </a:lnTo>
                  <a:lnTo>
                    <a:pt x="1293" y="19"/>
                  </a:lnTo>
                  <a:lnTo>
                    <a:pt x="1312" y="8"/>
                  </a:lnTo>
                  <a:lnTo>
                    <a:pt x="1332" y="2"/>
                  </a:lnTo>
                  <a:lnTo>
                    <a:pt x="1353" y="0"/>
                  </a:lnTo>
                  <a:lnTo>
                    <a:pt x="1374" y="2"/>
                  </a:lnTo>
                  <a:lnTo>
                    <a:pt x="1395" y="8"/>
                  </a:lnTo>
                  <a:lnTo>
                    <a:pt x="1413" y="19"/>
                  </a:lnTo>
                  <a:lnTo>
                    <a:pt x="1430" y="33"/>
                  </a:lnTo>
                  <a:lnTo>
                    <a:pt x="1445" y="50"/>
                  </a:lnTo>
                  <a:lnTo>
                    <a:pt x="1455" y="68"/>
                  </a:lnTo>
                  <a:lnTo>
                    <a:pt x="1461" y="89"/>
                  </a:lnTo>
                  <a:lnTo>
                    <a:pt x="1463" y="110"/>
                  </a:lnTo>
                  <a:lnTo>
                    <a:pt x="1461" y="130"/>
                  </a:lnTo>
                  <a:lnTo>
                    <a:pt x="1455" y="151"/>
                  </a:lnTo>
                  <a:lnTo>
                    <a:pt x="1445" y="170"/>
                  </a:lnTo>
                  <a:lnTo>
                    <a:pt x="1430" y="187"/>
                  </a:lnTo>
                  <a:lnTo>
                    <a:pt x="887" y="729"/>
                  </a:lnTo>
                  <a:lnTo>
                    <a:pt x="1430" y="1271"/>
                  </a:lnTo>
                  <a:lnTo>
                    <a:pt x="1445" y="1288"/>
                  </a:lnTo>
                  <a:lnTo>
                    <a:pt x="1455" y="1307"/>
                  </a:lnTo>
                  <a:lnTo>
                    <a:pt x="1461" y="1328"/>
                  </a:lnTo>
                  <a:lnTo>
                    <a:pt x="1463" y="1348"/>
                  </a:lnTo>
                  <a:lnTo>
                    <a:pt x="1461" y="1369"/>
                  </a:lnTo>
                  <a:lnTo>
                    <a:pt x="1455" y="1390"/>
                  </a:lnTo>
                  <a:lnTo>
                    <a:pt x="1445" y="1408"/>
                  </a:lnTo>
                  <a:lnTo>
                    <a:pt x="1430" y="1425"/>
                  </a:lnTo>
                  <a:lnTo>
                    <a:pt x="1413" y="1439"/>
                  </a:lnTo>
                  <a:lnTo>
                    <a:pt x="1395" y="1450"/>
                  </a:lnTo>
                  <a:lnTo>
                    <a:pt x="1374" y="1456"/>
                  </a:lnTo>
                  <a:lnTo>
                    <a:pt x="1353" y="1458"/>
                  </a:lnTo>
                  <a:lnTo>
                    <a:pt x="1332" y="1456"/>
                  </a:lnTo>
                  <a:lnTo>
                    <a:pt x="1312" y="1450"/>
                  </a:lnTo>
                  <a:lnTo>
                    <a:pt x="1293" y="1439"/>
                  </a:lnTo>
                  <a:lnTo>
                    <a:pt x="1275" y="1425"/>
                  </a:lnTo>
                  <a:lnTo>
                    <a:pt x="732" y="883"/>
                  </a:lnTo>
                  <a:lnTo>
                    <a:pt x="188" y="1425"/>
                  </a:lnTo>
                  <a:lnTo>
                    <a:pt x="170" y="1439"/>
                  </a:lnTo>
                  <a:lnTo>
                    <a:pt x="151" y="1450"/>
                  </a:lnTo>
                  <a:lnTo>
                    <a:pt x="131" y="1456"/>
                  </a:lnTo>
                  <a:lnTo>
                    <a:pt x="110" y="1458"/>
                  </a:lnTo>
                  <a:lnTo>
                    <a:pt x="89" y="1456"/>
                  </a:lnTo>
                  <a:lnTo>
                    <a:pt x="68" y="1450"/>
                  </a:lnTo>
                  <a:lnTo>
                    <a:pt x="50" y="1439"/>
                  </a:lnTo>
                  <a:lnTo>
                    <a:pt x="33" y="1425"/>
                  </a:lnTo>
                  <a:lnTo>
                    <a:pt x="18" y="1408"/>
                  </a:lnTo>
                  <a:lnTo>
                    <a:pt x="8" y="1390"/>
                  </a:lnTo>
                  <a:lnTo>
                    <a:pt x="2" y="1369"/>
                  </a:lnTo>
                  <a:lnTo>
                    <a:pt x="0" y="1348"/>
                  </a:lnTo>
                  <a:lnTo>
                    <a:pt x="2" y="1328"/>
                  </a:lnTo>
                  <a:lnTo>
                    <a:pt x="8" y="1307"/>
                  </a:lnTo>
                  <a:lnTo>
                    <a:pt x="18" y="1288"/>
                  </a:lnTo>
                  <a:lnTo>
                    <a:pt x="33" y="1271"/>
                  </a:lnTo>
                  <a:lnTo>
                    <a:pt x="576" y="729"/>
                  </a:lnTo>
                  <a:lnTo>
                    <a:pt x="33" y="187"/>
                  </a:lnTo>
                  <a:lnTo>
                    <a:pt x="18" y="170"/>
                  </a:lnTo>
                  <a:lnTo>
                    <a:pt x="8" y="151"/>
                  </a:lnTo>
                  <a:lnTo>
                    <a:pt x="2" y="130"/>
                  </a:lnTo>
                  <a:lnTo>
                    <a:pt x="0" y="110"/>
                  </a:lnTo>
                  <a:lnTo>
                    <a:pt x="2" y="89"/>
                  </a:lnTo>
                  <a:lnTo>
                    <a:pt x="8" y="68"/>
                  </a:lnTo>
                  <a:lnTo>
                    <a:pt x="18" y="50"/>
                  </a:lnTo>
                  <a:lnTo>
                    <a:pt x="33" y="33"/>
                  </a:lnTo>
                  <a:lnTo>
                    <a:pt x="50" y="19"/>
                  </a:lnTo>
                  <a:lnTo>
                    <a:pt x="68" y="8"/>
                  </a:lnTo>
                  <a:lnTo>
                    <a:pt x="89" y="2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5" name="Gruppieren 224">
            <a:extLst>
              <a:ext uri="{FF2B5EF4-FFF2-40B4-BE49-F238E27FC236}">
                <a16:creationId xmlns:a16="http://schemas.microsoft.com/office/drawing/2014/main" id="{CFCD793F-22E0-491E-8D0C-510C62D5B127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5546662"/>
            <a:ext cx="396000" cy="396000"/>
            <a:chOff x="2965411" y="5550787"/>
            <a:chExt cx="396000" cy="396000"/>
          </a:xfrm>
        </p:grpSpPr>
        <p:sp>
          <p:nvSpPr>
            <p:cNvPr id="75" name="Freeform 8">
              <a:extLst>
                <a:ext uri="{FF2B5EF4-FFF2-40B4-BE49-F238E27FC236}">
                  <a16:creationId xmlns:a16="http://schemas.microsoft.com/office/drawing/2014/main" id="{8A88A49A-FDEE-46D0-8F86-F1BF455B33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76" name="Group 117">
              <a:extLst>
                <a:ext uri="{FF2B5EF4-FFF2-40B4-BE49-F238E27FC236}">
                  <a16:creationId xmlns:a16="http://schemas.microsoft.com/office/drawing/2014/main" id="{E8F90DBA-787C-4F20-8D1D-B17F3C550EA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098324" y="5666155"/>
              <a:ext cx="130174" cy="165264"/>
              <a:chOff x="3498851" y="3840163"/>
              <a:chExt cx="182563" cy="231775"/>
            </a:xfrm>
            <a:solidFill>
              <a:schemeClr val="bg1"/>
            </a:solidFill>
          </p:grpSpPr>
          <p:sp>
            <p:nvSpPr>
              <p:cNvPr id="77" name="Freeform 47">
                <a:extLst>
                  <a:ext uri="{FF2B5EF4-FFF2-40B4-BE49-F238E27FC236}">
                    <a16:creationId xmlns:a16="http://schemas.microsoft.com/office/drawing/2014/main" id="{9CCD35A4-923B-43FA-9D4D-D06A9FBE40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98851" y="3871913"/>
                <a:ext cx="177800" cy="177800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8" name="Freeform 48">
                <a:extLst>
                  <a:ext uri="{FF2B5EF4-FFF2-40B4-BE49-F238E27FC236}">
                    <a16:creationId xmlns:a16="http://schemas.microsoft.com/office/drawing/2014/main" id="{C1B4380C-1581-4236-ABC7-1E6010F7400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503613" y="3840163"/>
                <a:ext cx="79375" cy="80963"/>
              </a:xfrm>
              <a:custGeom>
                <a:avLst/>
                <a:gdLst>
                  <a:gd name="T0" fmla="*/ 307 w 656"/>
                  <a:gd name="T1" fmla="*/ 221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7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9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6 w 656"/>
                  <a:gd name="T23" fmla="*/ 350 h 657"/>
                  <a:gd name="T24" fmla="*/ 436 w 656"/>
                  <a:gd name="T25" fmla="*/ 307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9 w 656"/>
                  <a:gd name="T31" fmla="*/ 221 h 657"/>
                  <a:gd name="T32" fmla="*/ 328 w 656"/>
                  <a:gd name="T33" fmla="*/ 0 h 657"/>
                  <a:gd name="T34" fmla="*/ 411 w 656"/>
                  <a:gd name="T35" fmla="*/ 10 h 657"/>
                  <a:gd name="T36" fmla="*/ 481 w 656"/>
                  <a:gd name="T37" fmla="*/ 38 h 657"/>
                  <a:gd name="T38" fmla="*/ 535 w 656"/>
                  <a:gd name="T39" fmla="*/ 73 h 657"/>
                  <a:gd name="T40" fmla="*/ 583 w 656"/>
                  <a:gd name="T41" fmla="*/ 121 h 657"/>
                  <a:gd name="T42" fmla="*/ 619 w 656"/>
                  <a:gd name="T43" fmla="*/ 176 h 657"/>
                  <a:gd name="T44" fmla="*/ 646 w 656"/>
                  <a:gd name="T45" fmla="*/ 245 h 657"/>
                  <a:gd name="T46" fmla="*/ 656 w 656"/>
                  <a:gd name="T47" fmla="*/ 328 h 657"/>
                  <a:gd name="T48" fmla="*/ 646 w 656"/>
                  <a:gd name="T49" fmla="*/ 412 h 657"/>
                  <a:gd name="T50" fmla="*/ 619 w 656"/>
                  <a:gd name="T51" fmla="*/ 481 h 657"/>
                  <a:gd name="T52" fmla="*/ 583 w 656"/>
                  <a:gd name="T53" fmla="*/ 536 h 657"/>
                  <a:gd name="T54" fmla="*/ 535 w 656"/>
                  <a:gd name="T55" fmla="*/ 583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6 w 656"/>
                  <a:gd name="T65" fmla="*/ 619 h 657"/>
                  <a:gd name="T66" fmla="*/ 121 w 656"/>
                  <a:gd name="T67" fmla="*/ 583 h 657"/>
                  <a:gd name="T68" fmla="*/ 74 w 656"/>
                  <a:gd name="T69" fmla="*/ 536 h 657"/>
                  <a:gd name="T70" fmla="*/ 37 w 656"/>
                  <a:gd name="T71" fmla="*/ 481 h 657"/>
                  <a:gd name="T72" fmla="*/ 11 w 656"/>
                  <a:gd name="T73" fmla="*/ 412 h 657"/>
                  <a:gd name="T74" fmla="*/ 0 w 656"/>
                  <a:gd name="T75" fmla="*/ 328 h 657"/>
                  <a:gd name="T76" fmla="*/ 11 w 656"/>
                  <a:gd name="T77" fmla="*/ 245 h 657"/>
                  <a:gd name="T78" fmla="*/ 37 w 656"/>
                  <a:gd name="T79" fmla="*/ 176 h 657"/>
                  <a:gd name="T80" fmla="*/ 74 w 656"/>
                  <a:gd name="T81" fmla="*/ 121 h 657"/>
                  <a:gd name="T82" fmla="*/ 121 w 656"/>
                  <a:gd name="T83" fmla="*/ 73 h 657"/>
                  <a:gd name="T84" fmla="*/ 176 w 656"/>
                  <a:gd name="T85" fmla="*/ 38 h 657"/>
                  <a:gd name="T86" fmla="*/ 245 w 656"/>
                  <a:gd name="T87" fmla="*/ 10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07" y="221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7"/>
                    </a:lnTo>
                    <a:lnTo>
                      <a:pt x="220" y="307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9" y="436"/>
                    </a:lnTo>
                    <a:lnTo>
                      <a:pt x="370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6" y="350"/>
                    </a:lnTo>
                    <a:lnTo>
                      <a:pt x="438" y="328"/>
                    </a:lnTo>
                    <a:lnTo>
                      <a:pt x="436" y="307"/>
                    </a:lnTo>
                    <a:lnTo>
                      <a:pt x="430" y="287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70" y="227"/>
                    </a:lnTo>
                    <a:lnTo>
                      <a:pt x="349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0"/>
                    </a:lnTo>
                    <a:lnTo>
                      <a:pt x="452" y="25"/>
                    </a:lnTo>
                    <a:lnTo>
                      <a:pt x="481" y="38"/>
                    </a:lnTo>
                    <a:lnTo>
                      <a:pt x="509" y="54"/>
                    </a:lnTo>
                    <a:lnTo>
                      <a:pt x="535" y="73"/>
                    </a:lnTo>
                    <a:lnTo>
                      <a:pt x="560" y="97"/>
                    </a:lnTo>
                    <a:lnTo>
                      <a:pt x="583" y="121"/>
                    </a:lnTo>
                    <a:lnTo>
                      <a:pt x="603" y="148"/>
                    </a:lnTo>
                    <a:lnTo>
                      <a:pt x="619" y="176"/>
                    </a:lnTo>
                    <a:lnTo>
                      <a:pt x="632" y="204"/>
                    </a:lnTo>
                    <a:lnTo>
                      <a:pt x="646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6" y="412"/>
                    </a:lnTo>
                    <a:lnTo>
                      <a:pt x="632" y="451"/>
                    </a:lnTo>
                    <a:lnTo>
                      <a:pt x="619" y="481"/>
                    </a:lnTo>
                    <a:lnTo>
                      <a:pt x="603" y="509"/>
                    </a:lnTo>
                    <a:lnTo>
                      <a:pt x="583" y="536"/>
                    </a:lnTo>
                    <a:lnTo>
                      <a:pt x="560" y="560"/>
                    </a:lnTo>
                    <a:lnTo>
                      <a:pt x="535" y="583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2" y="632"/>
                    </a:lnTo>
                    <a:lnTo>
                      <a:pt x="411" y="647"/>
                    </a:lnTo>
                    <a:lnTo>
                      <a:pt x="370" y="654"/>
                    </a:lnTo>
                    <a:lnTo>
                      <a:pt x="328" y="657"/>
                    </a:lnTo>
                    <a:lnTo>
                      <a:pt x="286" y="654"/>
                    </a:lnTo>
                    <a:lnTo>
                      <a:pt x="245" y="647"/>
                    </a:lnTo>
                    <a:lnTo>
                      <a:pt x="205" y="632"/>
                    </a:lnTo>
                    <a:lnTo>
                      <a:pt x="176" y="619"/>
                    </a:lnTo>
                    <a:lnTo>
                      <a:pt x="147" y="603"/>
                    </a:lnTo>
                    <a:lnTo>
                      <a:pt x="121" y="583"/>
                    </a:lnTo>
                    <a:lnTo>
                      <a:pt x="96" y="560"/>
                    </a:lnTo>
                    <a:lnTo>
                      <a:pt x="74" y="536"/>
                    </a:lnTo>
                    <a:lnTo>
                      <a:pt x="54" y="509"/>
                    </a:lnTo>
                    <a:lnTo>
                      <a:pt x="37" y="481"/>
                    </a:lnTo>
                    <a:lnTo>
                      <a:pt x="24" y="451"/>
                    </a:lnTo>
                    <a:lnTo>
                      <a:pt x="11" y="412"/>
                    </a:lnTo>
                    <a:lnTo>
                      <a:pt x="3" y="370"/>
                    </a:lnTo>
                    <a:lnTo>
                      <a:pt x="0" y="328"/>
                    </a:lnTo>
                    <a:lnTo>
                      <a:pt x="3" y="287"/>
                    </a:lnTo>
                    <a:lnTo>
                      <a:pt x="11" y="245"/>
                    </a:lnTo>
                    <a:lnTo>
                      <a:pt x="24" y="204"/>
                    </a:lnTo>
                    <a:lnTo>
                      <a:pt x="37" y="176"/>
                    </a:lnTo>
                    <a:lnTo>
                      <a:pt x="54" y="148"/>
                    </a:lnTo>
                    <a:lnTo>
                      <a:pt x="74" y="121"/>
                    </a:lnTo>
                    <a:lnTo>
                      <a:pt x="96" y="97"/>
                    </a:lnTo>
                    <a:lnTo>
                      <a:pt x="121" y="73"/>
                    </a:lnTo>
                    <a:lnTo>
                      <a:pt x="147" y="54"/>
                    </a:lnTo>
                    <a:lnTo>
                      <a:pt x="176" y="38"/>
                    </a:lnTo>
                    <a:lnTo>
                      <a:pt x="205" y="25"/>
                    </a:lnTo>
                    <a:lnTo>
                      <a:pt x="245" y="10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9" name="Freeform 49">
                <a:extLst>
                  <a:ext uri="{FF2B5EF4-FFF2-40B4-BE49-F238E27FC236}">
                    <a16:creationId xmlns:a16="http://schemas.microsoft.com/office/drawing/2014/main" id="{3C1687D1-7931-4EA5-B5AD-6BCC2A9C9A6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00451" y="3992563"/>
                <a:ext cx="80963" cy="79375"/>
              </a:xfrm>
              <a:custGeom>
                <a:avLst/>
                <a:gdLst>
                  <a:gd name="T0" fmla="*/ 307 w 656"/>
                  <a:gd name="T1" fmla="*/ 222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8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8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5 w 656"/>
                  <a:gd name="T23" fmla="*/ 350 h 657"/>
                  <a:gd name="T24" fmla="*/ 435 w 656"/>
                  <a:gd name="T25" fmla="*/ 308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8 w 656"/>
                  <a:gd name="T31" fmla="*/ 222 h 657"/>
                  <a:gd name="T32" fmla="*/ 328 w 656"/>
                  <a:gd name="T33" fmla="*/ 0 h 657"/>
                  <a:gd name="T34" fmla="*/ 411 w 656"/>
                  <a:gd name="T35" fmla="*/ 11 h 657"/>
                  <a:gd name="T36" fmla="*/ 481 w 656"/>
                  <a:gd name="T37" fmla="*/ 38 h 657"/>
                  <a:gd name="T38" fmla="*/ 535 w 656"/>
                  <a:gd name="T39" fmla="*/ 74 h 657"/>
                  <a:gd name="T40" fmla="*/ 582 w 656"/>
                  <a:gd name="T41" fmla="*/ 121 h 657"/>
                  <a:gd name="T42" fmla="*/ 619 w 656"/>
                  <a:gd name="T43" fmla="*/ 176 h 657"/>
                  <a:gd name="T44" fmla="*/ 645 w 656"/>
                  <a:gd name="T45" fmla="*/ 245 h 657"/>
                  <a:gd name="T46" fmla="*/ 656 w 656"/>
                  <a:gd name="T47" fmla="*/ 328 h 657"/>
                  <a:gd name="T48" fmla="*/ 645 w 656"/>
                  <a:gd name="T49" fmla="*/ 412 h 657"/>
                  <a:gd name="T50" fmla="*/ 619 w 656"/>
                  <a:gd name="T51" fmla="*/ 482 h 657"/>
                  <a:gd name="T52" fmla="*/ 582 w 656"/>
                  <a:gd name="T53" fmla="*/ 536 h 657"/>
                  <a:gd name="T54" fmla="*/ 535 w 656"/>
                  <a:gd name="T55" fmla="*/ 584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5 w 656"/>
                  <a:gd name="T65" fmla="*/ 619 h 657"/>
                  <a:gd name="T66" fmla="*/ 121 w 656"/>
                  <a:gd name="T67" fmla="*/ 584 h 657"/>
                  <a:gd name="T68" fmla="*/ 73 w 656"/>
                  <a:gd name="T69" fmla="*/ 536 h 657"/>
                  <a:gd name="T70" fmla="*/ 37 w 656"/>
                  <a:gd name="T71" fmla="*/ 482 h 657"/>
                  <a:gd name="T72" fmla="*/ 10 w 656"/>
                  <a:gd name="T73" fmla="*/ 412 h 657"/>
                  <a:gd name="T74" fmla="*/ 0 w 656"/>
                  <a:gd name="T75" fmla="*/ 328 h 657"/>
                  <a:gd name="T76" fmla="*/ 10 w 656"/>
                  <a:gd name="T77" fmla="*/ 245 h 657"/>
                  <a:gd name="T78" fmla="*/ 37 w 656"/>
                  <a:gd name="T79" fmla="*/ 176 h 657"/>
                  <a:gd name="T80" fmla="*/ 73 w 656"/>
                  <a:gd name="T81" fmla="*/ 121 h 657"/>
                  <a:gd name="T82" fmla="*/ 121 w 656"/>
                  <a:gd name="T83" fmla="*/ 74 h 657"/>
                  <a:gd name="T84" fmla="*/ 175 w 656"/>
                  <a:gd name="T85" fmla="*/ 38 h 657"/>
                  <a:gd name="T86" fmla="*/ 245 w 656"/>
                  <a:gd name="T87" fmla="*/ 11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07" y="222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8"/>
                    </a:lnTo>
                    <a:lnTo>
                      <a:pt x="220" y="308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8" y="436"/>
                    </a:lnTo>
                    <a:lnTo>
                      <a:pt x="369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5" y="350"/>
                    </a:lnTo>
                    <a:lnTo>
                      <a:pt x="437" y="328"/>
                    </a:lnTo>
                    <a:lnTo>
                      <a:pt x="435" y="308"/>
                    </a:lnTo>
                    <a:lnTo>
                      <a:pt x="430" y="288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69" y="227"/>
                    </a:lnTo>
                    <a:lnTo>
                      <a:pt x="348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1"/>
                    </a:lnTo>
                    <a:lnTo>
                      <a:pt x="451" y="25"/>
                    </a:lnTo>
                    <a:lnTo>
                      <a:pt x="481" y="38"/>
                    </a:lnTo>
                    <a:lnTo>
                      <a:pt x="509" y="55"/>
                    </a:lnTo>
                    <a:lnTo>
                      <a:pt x="535" y="74"/>
                    </a:lnTo>
                    <a:lnTo>
                      <a:pt x="560" y="97"/>
                    </a:lnTo>
                    <a:lnTo>
                      <a:pt x="582" y="121"/>
                    </a:lnTo>
                    <a:lnTo>
                      <a:pt x="601" y="147"/>
                    </a:lnTo>
                    <a:lnTo>
                      <a:pt x="619" y="176"/>
                    </a:lnTo>
                    <a:lnTo>
                      <a:pt x="632" y="205"/>
                    </a:lnTo>
                    <a:lnTo>
                      <a:pt x="645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5" y="412"/>
                    </a:lnTo>
                    <a:lnTo>
                      <a:pt x="632" y="452"/>
                    </a:lnTo>
                    <a:lnTo>
                      <a:pt x="619" y="482"/>
                    </a:lnTo>
                    <a:lnTo>
                      <a:pt x="601" y="509"/>
                    </a:lnTo>
                    <a:lnTo>
                      <a:pt x="582" y="536"/>
                    </a:lnTo>
                    <a:lnTo>
                      <a:pt x="560" y="561"/>
                    </a:lnTo>
                    <a:lnTo>
                      <a:pt x="535" y="584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1" y="633"/>
                    </a:lnTo>
                    <a:lnTo>
                      <a:pt x="411" y="647"/>
                    </a:lnTo>
                    <a:lnTo>
                      <a:pt x="370" y="655"/>
                    </a:lnTo>
                    <a:lnTo>
                      <a:pt x="328" y="657"/>
                    </a:lnTo>
                    <a:lnTo>
                      <a:pt x="286" y="655"/>
                    </a:lnTo>
                    <a:lnTo>
                      <a:pt x="245" y="647"/>
                    </a:lnTo>
                    <a:lnTo>
                      <a:pt x="204" y="633"/>
                    </a:lnTo>
                    <a:lnTo>
                      <a:pt x="175" y="619"/>
                    </a:lnTo>
                    <a:lnTo>
                      <a:pt x="147" y="603"/>
                    </a:lnTo>
                    <a:lnTo>
                      <a:pt x="121" y="584"/>
                    </a:lnTo>
                    <a:lnTo>
                      <a:pt x="95" y="561"/>
                    </a:lnTo>
                    <a:lnTo>
                      <a:pt x="73" y="536"/>
                    </a:lnTo>
                    <a:lnTo>
                      <a:pt x="54" y="509"/>
                    </a:lnTo>
                    <a:lnTo>
                      <a:pt x="37" y="482"/>
                    </a:lnTo>
                    <a:lnTo>
                      <a:pt x="23" y="452"/>
                    </a:lnTo>
                    <a:lnTo>
                      <a:pt x="10" y="412"/>
                    </a:lnTo>
                    <a:lnTo>
                      <a:pt x="2" y="370"/>
                    </a:lnTo>
                    <a:lnTo>
                      <a:pt x="0" y="328"/>
                    </a:lnTo>
                    <a:lnTo>
                      <a:pt x="2" y="287"/>
                    </a:lnTo>
                    <a:lnTo>
                      <a:pt x="10" y="245"/>
                    </a:lnTo>
                    <a:lnTo>
                      <a:pt x="23" y="205"/>
                    </a:lnTo>
                    <a:lnTo>
                      <a:pt x="37" y="176"/>
                    </a:lnTo>
                    <a:lnTo>
                      <a:pt x="54" y="147"/>
                    </a:lnTo>
                    <a:lnTo>
                      <a:pt x="73" y="121"/>
                    </a:lnTo>
                    <a:lnTo>
                      <a:pt x="95" y="97"/>
                    </a:lnTo>
                    <a:lnTo>
                      <a:pt x="121" y="74"/>
                    </a:lnTo>
                    <a:lnTo>
                      <a:pt x="147" y="55"/>
                    </a:lnTo>
                    <a:lnTo>
                      <a:pt x="175" y="38"/>
                    </a:lnTo>
                    <a:lnTo>
                      <a:pt x="204" y="25"/>
                    </a:lnTo>
                    <a:lnTo>
                      <a:pt x="245" y="11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3" name="Gruppieren 222">
            <a:extLst>
              <a:ext uri="{FF2B5EF4-FFF2-40B4-BE49-F238E27FC236}">
                <a16:creationId xmlns:a16="http://schemas.microsoft.com/office/drawing/2014/main" id="{C736370C-50C8-49E5-BB18-FFF27DFDAF93}"/>
              </a:ext>
            </a:extLst>
          </p:cNvPr>
          <p:cNvGrpSpPr>
            <a:grpSpLocks/>
          </p:cNvGrpSpPr>
          <p:nvPr/>
        </p:nvGrpSpPr>
        <p:grpSpPr bwMode="gray">
          <a:xfrm>
            <a:off x="4136313" y="5546662"/>
            <a:ext cx="396000" cy="396000"/>
            <a:chOff x="4136313" y="5550787"/>
            <a:chExt cx="396000" cy="396000"/>
          </a:xfrm>
        </p:grpSpPr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BC640660-970B-47C5-A719-24C3807AD7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363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03" name="Gruppieren 202">
              <a:extLst>
                <a:ext uri="{FF2B5EF4-FFF2-40B4-BE49-F238E27FC236}">
                  <a16:creationId xmlns:a16="http://schemas.microsoft.com/office/drawing/2014/main" id="{8A0F75BB-C0CE-43AC-BAC9-718AA35853C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244265" y="5670914"/>
              <a:ext cx="180095" cy="155746"/>
              <a:chOff x="4248927" y="5664584"/>
              <a:chExt cx="180095" cy="155746"/>
            </a:xfrm>
            <a:solidFill>
              <a:schemeClr val="bg1"/>
            </a:solidFill>
          </p:grpSpPr>
          <p:sp>
            <p:nvSpPr>
              <p:cNvPr id="81" name="Freeform 14">
                <a:extLst>
                  <a:ext uri="{FF2B5EF4-FFF2-40B4-BE49-F238E27FC236}">
                    <a16:creationId xmlns:a16="http://schemas.microsoft.com/office/drawing/2014/main" id="{9ED08C33-F094-44A7-BD95-60CA16D706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48927" y="5664584"/>
                <a:ext cx="87873" cy="87873"/>
              </a:xfrm>
              <a:custGeom>
                <a:avLst/>
                <a:gdLst>
                  <a:gd name="T0" fmla="*/ 1014 w 1977"/>
                  <a:gd name="T1" fmla="*/ 3 h 1977"/>
                  <a:gd name="T2" fmla="*/ 1057 w 1977"/>
                  <a:gd name="T3" fmla="*/ 24 h 1977"/>
                  <a:gd name="T4" fmla="*/ 1087 w 1977"/>
                  <a:gd name="T5" fmla="*/ 62 h 1977"/>
                  <a:gd name="T6" fmla="*/ 1099 w 1977"/>
                  <a:gd name="T7" fmla="*/ 110 h 1977"/>
                  <a:gd name="T8" fmla="*/ 1867 w 1977"/>
                  <a:gd name="T9" fmla="*/ 878 h 1977"/>
                  <a:gd name="T10" fmla="*/ 1915 w 1977"/>
                  <a:gd name="T11" fmla="*/ 890 h 1977"/>
                  <a:gd name="T12" fmla="*/ 1953 w 1977"/>
                  <a:gd name="T13" fmla="*/ 920 h 1977"/>
                  <a:gd name="T14" fmla="*/ 1974 w 1977"/>
                  <a:gd name="T15" fmla="*/ 963 h 1977"/>
                  <a:gd name="T16" fmla="*/ 1974 w 1977"/>
                  <a:gd name="T17" fmla="*/ 1014 h 1977"/>
                  <a:gd name="T18" fmla="*/ 1953 w 1977"/>
                  <a:gd name="T19" fmla="*/ 1057 h 1977"/>
                  <a:gd name="T20" fmla="*/ 1915 w 1977"/>
                  <a:gd name="T21" fmla="*/ 1087 h 1977"/>
                  <a:gd name="T22" fmla="*/ 1867 w 1977"/>
                  <a:gd name="T23" fmla="*/ 1099 h 1977"/>
                  <a:gd name="T24" fmla="*/ 1099 w 1977"/>
                  <a:gd name="T25" fmla="*/ 1867 h 1977"/>
                  <a:gd name="T26" fmla="*/ 1087 w 1977"/>
                  <a:gd name="T27" fmla="*/ 1915 h 1977"/>
                  <a:gd name="T28" fmla="*/ 1057 w 1977"/>
                  <a:gd name="T29" fmla="*/ 1953 h 1977"/>
                  <a:gd name="T30" fmla="*/ 1014 w 1977"/>
                  <a:gd name="T31" fmla="*/ 1974 h 1977"/>
                  <a:gd name="T32" fmla="*/ 963 w 1977"/>
                  <a:gd name="T33" fmla="*/ 1974 h 1977"/>
                  <a:gd name="T34" fmla="*/ 920 w 1977"/>
                  <a:gd name="T35" fmla="*/ 1953 h 1977"/>
                  <a:gd name="T36" fmla="*/ 890 w 1977"/>
                  <a:gd name="T37" fmla="*/ 1915 h 1977"/>
                  <a:gd name="T38" fmla="*/ 878 w 1977"/>
                  <a:gd name="T39" fmla="*/ 1867 h 1977"/>
                  <a:gd name="T40" fmla="*/ 110 w 1977"/>
                  <a:gd name="T41" fmla="*/ 1099 h 1977"/>
                  <a:gd name="T42" fmla="*/ 62 w 1977"/>
                  <a:gd name="T43" fmla="*/ 1087 h 1977"/>
                  <a:gd name="T44" fmla="*/ 24 w 1977"/>
                  <a:gd name="T45" fmla="*/ 1057 h 1977"/>
                  <a:gd name="T46" fmla="*/ 3 w 1977"/>
                  <a:gd name="T47" fmla="*/ 1014 h 1977"/>
                  <a:gd name="T48" fmla="*/ 3 w 1977"/>
                  <a:gd name="T49" fmla="*/ 963 h 1977"/>
                  <a:gd name="T50" fmla="*/ 24 w 1977"/>
                  <a:gd name="T51" fmla="*/ 920 h 1977"/>
                  <a:gd name="T52" fmla="*/ 62 w 1977"/>
                  <a:gd name="T53" fmla="*/ 890 h 1977"/>
                  <a:gd name="T54" fmla="*/ 110 w 1977"/>
                  <a:gd name="T55" fmla="*/ 878 h 1977"/>
                  <a:gd name="T56" fmla="*/ 878 w 1977"/>
                  <a:gd name="T57" fmla="*/ 110 h 1977"/>
                  <a:gd name="T58" fmla="*/ 890 w 1977"/>
                  <a:gd name="T59" fmla="*/ 62 h 1977"/>
                  <a:gd name="T60" fmla="*/ 920 w 1977"/>
                  <a:gd name="T61" fmla="*/ 24 h 1977"/>
                  <a:gd name="T62" fmla="*/ 963 w 1977"/>
                  <a:gd name="T63" fmla="*/ 3 h 19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77" h="1977">
                    <a:moveTo>
                      <a:pt x="989" y="0"/>
                    </a:moveTo>
                    <a:lnTo>
                      <a:pt x="1014" y="3"/>
                    </a:lnTo>
                    <a:lnTo>
                      <a:pt x="1036" y="11"/>
                    </a:lnTo>
                    <a:lnTo>
                      <a:pt x="1057" y="24"/>
                    </a:lnTo>
                    <a:lnTo>
                      <a:pt x="1074" y="42"/>
                    </a:lnTo>
                    <a:lnTo>
                      <a:pt x="1087" y="62"/>
                    </a:lnTo>
                    <a:lnTo>
                      <a:pt x="1096" y="85"/>
                    </a:lnTo>
                    <a:lnTo>
                      <a:pt x="1099" y="110"/>
                    </a:lnTo>
                    <a:lnTo>
                      <a:pt x="1099" y="878"/>
                    </a:lnTo>
                    <a:lnTo>
                      <a:pt x="1867" y="878"/>
                    </a:lnTo>
                    <a:lnTo>
                      <a:pt x="1892" y="881"/>
                    </a:lnTo>
                    <a:lnTo>
                      <a:pt x="1915" y="890"/>
                    </a:lnTo>
                    <a:lnTo>
                      <a:pt x="1935" y="903"/>
                    </a:lnTo>
                    <a:lnTo>
                      <a:pt x="1953" y="920"/>
                    </a:lnTo>
                    <a:lnTo>
                      <a:pt x="1966" y="941"/>
                    </a:lnTo>
                    <a:lnTo>
                      <a:pt x="1974" y="963"/>
                    </a:lnTo>
                    <a:lnTo>
                      <a:pt x="1977" y="989"/>
                    </a:lnTo>
                    <a:lnTo>
                      <a:pt x="1974" y="1014"/>
                    </a:lnTo>
                    <a:lnTo>
                      <a:pt x="1966" y="1036"/>
                    </a:lnTo>
                    <a:lnTo>
                      <a:pt x="1953" y="1057"/>
                    </a:lnTo>
                    <a:lnTo>
                      <a:pt x="1935" y="1074"/>
                    </a:lnTo>
                    <a:lnTo>
                      <a:pt x="1915" y="1087"/>
                    </a:lnTo>
                    <a:lnTo>
                      <a:pt x="1892" y="1096"/>
                    </a:lnTo>
                    <a:lnTo>
                      <a:pt x="1867" y="1099"/>
                    </a:lnTo>
                    <a:lnTo>
                      <a:pt x="1099" y="1099"/>
                    </a:lnTo>
                    <a:lnTo>
                      <a:pt x="1099" y="1867"/>
                    </a:lnTo>
                    <a:lnTo>
                      <a:pt x="1096" y="1892"/>
                    </a:lnTo>
                    <a:lnTo>
                      <a:pt x="1087" y="1915"/>
                    </a:lnTo>
                    <a:lnTo>
                      <a:pt x="1074" y="1935"/>
                    </a:lnTo>
                    <a:lnTo>
                      <a:pt x="1057" y="1953"/>
                    </a:lnTo>
                    <a:lnTo>
                      <a:pt x="1036" y="1966"/>
                    </a:lnTo>
                    <a:lnTo>
                      <a:pt x="1014" y="1974"/>
                    </a:lnTo>
                    <a:lnTo>
                      <a:pt x="989" y="1977"/>
                    </a:lnTo>
                    <a:lnTo>
                      <a:pt x="963" y="1974"/>
                    </a:lnTo>
                    <a:lnTo>
                      <a:pt x="941" y="1966"/>
                    </a:lnTo>
                    <a:lnTo>
                      <a:pt x="920" y="1953"/>
                    </a:lnTo>
                    <a:lnTo>
                      <a:pt x="903" y="1935"/>
                    </a:lnTo>
                    <a:lnTo>
                      <a:pt x="890" y="1915"/>
                    </a:lnTo>
                    <a:lnTo>
                      <a:pt x="881" y="1892"/>
                    </a:lnTo>
                    <a:lnTo>
                      <a:pt x="878" y="1867"/>
                    </a:lnTo>
                    <a:lnTo>
                      <a:pt x="878" y="1099"/>
                    </a:lnTo>
                    <a:lnTo>
                      <a:pt x="110" y="1099"/>
                    </a:lnTo>
                    <a:lnTo>
                      <a:pt x="85" y="1096"/>
                    </a:lnTo>
                    <a:lnTo>
                      <a:pt x="62" y="1087"/>
                    </a:lnTo>
                    <a:lnTo>
                      <a:pt x="42" y="1074"/>
                    </a:lnTo>
                    <a:lnTo>
                      <a:pt x="24" y="1057"/>
                    </a:lnTo>
                    <a:lnTo>
                      <a:pt x="11" y="1036"/>
                    </a:lnTo>
                    <a:lnTo>
                      <a:pt x="3" y="1014"/>
                    </a:lnTo>
                    <a:lnTo>
                      <a:pt x="0" y="989"/>
                    </a:lnTo>
                    <a:lnTo>
                      <a:pt x="3" y="963"/>
                    </a:lnTo>
                    <a:lnTo>
                      <a:pt x="11" y="941"/>
                    </a:lnTo>
                    <a:lnTo>
                      <a:pt x="24" y="920"/>
                    </a:lnTo>
                    <a:lnTo>
                      <a:pt x="42" y="903"/>
                    </a:lnTo>
                    <a:lnTo>
                      <a:pt x="62" y="890"/>
                    </a:lnTo>
                    <a:lnTo>
                      <a:pt x="85" y="881"/>
                    </a:lnTo>
                    <a:lnTo>
                      <a:pt x="110" y="878"/>
                    </a:lnTo>
                    <a:lnTo>
                      <a:pt x="878" y="878"/>
                    </a:lnTo>
                    <a:lnTo>
                      <a:pt x="878" y="110"/>
                    </a:lnTo>
                    <a:lnTo>
                      <a:pt x="881" y="85"/>
                    </a:lnTo>
                    <a:lnTo>
                      <a:pt x="890" y="62"/>
                    </a:lnTo>
                    <a:lnTo>
                      <a:pt x="903" y="42"/>
                    </a:lnTo>
                    <a:lnTo>
                      <a:pt x="920" y="24"/>
                    </a:lnTo>
                    <a:lnTo>
                      <a:pt x="941" y="11"/>
                    </a:lnTo>
                    <a:lnTo>
                      <a:pt x="963" y="3"/>
                    </a:lnTo>
                    <a:lnTo>
                      <a:pt x="98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3" name="Freeform 47">
                <a:extLst>
                  <a:ext uri="{FF2B5EF4-FFF2-40B4-BE49-F238E27FC236}">
                    <a16:creationId xmlns:a16="http://schemas.microsoft.com/office/drawing/2014/main" id="{72A54395-797E-4EE3-953D-C3123688AC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9778" y="5693552"/>
                <a:ext cx="126778" cy="126778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4" name="Freeform 35">
                <a:extLst>
                  <a:ext uri="{FF2B5EF4-FFF2-40B4-BE49-F238E27FC236}">
                    <a16:creationId xmlns:a16="http://schemas.microsoft.com/office/drawing/2014/main" id="{F1D56A32-8780-4FB6-93C7-5E4A9F60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57022" y="5792873"/>
                <a:ext cx="72000" cy="14400"/>
              </a:xfrm>
              <a:custGeom>
                <a:avLst/>
                <a:gdLst>
                  <a:gd name="T0" fmla="*/ 110 w 1977"/>
                  <a:gd name="T1" fmla="*/ 0 h 220"/>
                  <a:gd name="T2" fmla="*/ 1867 w 1977"/>
                  <a:gd name="T3" fmla="*/ 0 h 220"/>
                  <a:gd name="T4" fmla="*/ 1892 w 1977"/>
                  <a:gd name="T5" fmla="*/ 3 h 220"/>
                  <a:gd name="T6" fmla="*/ 1915 w 1977"/>
                  <a:gd name="T7" fmla="*/ 11 h 220"/>
                  <a:gd name="T8" fmla="*/ 1935 w 1977"/>
                  <a:gd name="T9" fmla="*/ 25 h 220"/>
                  <a:gd name="T10" fmla="*/ 1953 w 1977"/>
                  <a:gd name="T11" fmla="*/ 42 h 220"/>
                  <a:gd name="T12" fmla="*/ 1966 w 1977"/>
                  <a:gd name="T13" fmla="*/ 62 h 220"/>
                  <a:gd name="T14" fmla="*/ 1974 w 1977"/>
                  <a:gd name="T15" fmla="*/ 85 h 220"/>
                  <a:gd name="T16" fmla="*/ 1977 w 1977"/>
                  <a:gd name="T17" fmla="*/ 110 h 220"/>
                  <a:gd name="T18" fmla="*/ 1974 w 1977"/>
                  <a:gd name="T19" fmla="*/ 135 h 220"/>
                  <a:gd name="T20" fmla="*/ 1966 w 1977"/>
                  <a:gd name="T21" fmla="*/ 158 h 220"/>
                  <a:gd name="T22" fmla="*/ 1953 w 1977"/>
                  <a:gd name="T23" fmla="*/ 178 h 220"/>
                  <a:gd name="T24" fmla="*/ 1935 w 1977"/>
                  <a:gd name="T25" fmla="*/ 195 h 220"/>
                  <a:gd name="T26" fmla="*/ 1915 w 1977"/>
                  <a:gd name="T27" fmla="*/ 209 h 220"/>
                  <a:gd name="T28" fmla="*/ 1892 w 1977"/>
                  <a:gd name="T29" fmla="*/ 217 h 220"/>
                  <a:gd name="T30" fmla="*/ 1867 w 1977"/>
                  <a:gd name="T31" fmla="*/ 220 h 220"/>
                  <a:gd name="T32" fmla="*/ 110 w 1977"/>
                  <a:gd name="T33" fmla="*/ 220 h 220"/>
                  <a:gd name="T34" fmla="*/ 85 w 1977"/>
                  <a:gd name="T35" fmla="*/ 217 h 220"/>
                  <a:gd name="T36" fmla="*/ 62 w 1977"/>
                  <a:gd name="T37" fmla="*/ 209 h 220"/>
                  <a:gd name="T38" fmla="*/ 42 w 1977"/>
                  <a:gd name="T39" fmla="*/ 195 h 220"/>
                  <a:gd name="T40" fmla="*/ 24 w 1977"/>
                  <a:gd name="T41" fmla="*/ 178 h 220"/>
                  <a:gd name="T42" fmla="*/ 11 w 1977"/>
                  <a:gd name="T43" fmla="*/ 158 h 220"/>
                  <a:gd name="T44" fmla="*/ 3 w 1977"/>
                  <a:gd name="T45" fmla="*/ 135 h 220"/>
                  <a:gd name="T46" fmla="*/ 0 w 1977"/>
                  <a:gd name="T47" fmla="*/ 110 h 220"/>
                  <a:gd name="T48" fmla="*/ 3 w 1977"/>
                  <a:gd name="T49" fmla="*/ 85 h 220"/>
                  <a:gd name="T50" fmla="*/ 11 w 1977"/>
                  <a:gd name="T51" fmla="*/ 62 h 220"/>
                  <a:gd name="T52" fmla="*/ 24 w 1977"/>
                  <a:gd name="T53" fmla="*/ 42 h 220"/>
                  <a:gd name="T54" fmla="*/ 42 w 1977"/>
                  <a:gd name="T55" fmla="*/ 25 h 220"/>
                  <a:gd name="T56" fmla="*/ 62 w 1977"/>
                  <a:gd name="T57" fmla="*/ 11 h 220"/>
                  <a:gd name="T58" fmla="*/ 85 w 1977"/>
                  <a:gd name="T59" fmla="*/ 3 h 220"/>
                  <a:gd name="T60" fmla="*/ 110 w 1977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7" h="220">
                    <a:moveTo>
                      <a:pt x="110" y="0"/>
                    </a:moveTo>
                    <a:lnTo>
                      <a:pt x="1867" y="0"/>
                    </a:lnTo>
                    <a:lnTo>
                      <a:pt x="1892" y="3"/>
                    </a:lnTo>
                    <a:lnTo>
                      <a:pt x="1915" y="11"/>
                    </a:lnTo>
                    <a:lnTo>
                      <a:pt x="1935" y="25"/>
                    </a:lnTo>
                    <a:lnTo>
                      <a:pt x="1953" y="42"/>
                    </a:lnTo>
                    <a:lnTo>
                      <a:pt x="1966" y="62"/>
                    </a:lnTo>
                    <a:lnTo>
                      <a:pt x="1974" y="85"/>
                    </a:lnTo>
                    <a:lnTo>
                      <a:pt x="1977" y="110"/>
                    </a:lnTo>
                    <a:lnTo>
                      <a:pt x="1974" y="135"/>
                    </a:lnTo>
                    <a:lnTo>
                      <a:pt x="1966" y="158"/>
                    </a:lnTo>
                    <a:lnTo>
                      <a:pt x="1953" y="178"/>
                    </a:lnTo>
                    <a:lnTo>
                      <a:pt x="1935" y="195"/>
                    </a:lnTo>
                    <a:lnTo>
                      <a:pt x="1915" y="209"/>
                    </a:lnTo>
                    <a:lnTo>
                      <a:pt x="1892" y="217"/>
                    </a:lnTo>
                    <a:lnTo>
                      <a:pt x="1867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4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4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9" name="Gruppieren 218">
            <a:extLst>
              <a:ext uri="{FF2B5EF4-FFF2-40B4-BE49-F238E27FC236}">
                <a16:creationId xmlns:a16="http://schemas.microsoft.com/office/drawing/2014/main" id="{DF5615DC-54F2-4ED8-A04E-3A0BDFC588FC}"/>
              </a:ext>
            </a:extLst>
          </p:cNvPr>
          <p:cNvGrpSpPr>
            <a:grpSpLocks/>
          </p:cNvGrpSpPr>
          <p:nvPr/>
        </p:nvGrpSpPr>
        <p:grpSpPr bwMode="gray">
          <a:xfrm>
            <a:off x="4722611" y="5546662"/>
            <a:ext cx="396000" cy="396000"/>
            <a:chOff x="4722611" y="5550787"/>
            <a:chExt cx="396000" cy="396000"/>
          </a:xfrm>
        </p:grpSpPr>
        <p:sp>
          <p:nvSpPr>
            <p:cNvPr id="86" name="Freeform 8">
              <a:extLst>
                <a:ext uri="{FF2B5EF4-FFF2-40B4-BE49-F238E27FC236}">
                  <a16:creationId xmlns:a16="http://schemas.microsoft.com/office/drawing/2014/main" id="{29361C22-576F-47B8-9C34-A6A17B0511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26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55">
              <a:extLst>
                <a:ext uri="{FF2B5EF4-FFF2-40B4-BE49-F238E27FC236}">
                  <a16:creationId xmlns:a16="http://schemas.microsoft.com/office/drawing/2014/main" id="{3475990B-4FBB-4E0F-A002-4F25DFE99D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36287" y="5710458"/>
              <a:ext cx="168648" cy="76658"/>
            </a:xfrm>
            <a:custGeom>
              <a:avLst/>
              <a:gdLst>
                <a:gd name="T0" fmla="*/ 1825 w 2488"/>
                <a:gd name="T1" fmla="*/ 238 h 1128"/>
                <a:gd name="T2" fmla="*/ 1635 w 2488"/>
                <a:gd name="T3" fmla="*/ 336 h 1128"/>
                <a:gd name="T4" fmla="*/ 1411 w 2488"/>
                <a:gd name="T5" fmla="*/ 547 h 1128"/>
                <a:gd name="T6" fmla="*/ 1531 w 2488"/>
                <a:gd name="T7" fmla="*/ 703 h 1128"/>
                <a:gd name="T8" fmla="*/ 1730 w 2488"/>
                <a:gd name="T9" fmla="*/ 852 h 1128"/>
                <a:gd name="T10" fmla="*/ 1884 w 2488"/>
                <a:gd name="T11" fmla="*/ 901 h 1128"/>
                <a:gd name="T12" fmla="*/ 2023 w 2488"/>
                <a:gd name="T13" fmla="*/ 887 h 1128"/>
                <a:gd name="T14" fmla="*/ 2143 w 2488"/>
                <a:gd name="T15" fmla="*/ 821 h 1128"/>
                <a:gd name="T16" fmla="*/ 2234 w 2488"/>
                <a:gd name="T17" fmla="*/ 695 h 1128"/>
                <a:gd name="T18" fmla="*/ 2259 w 2488"/>
                <a:gd name="T19" fmla="*/ 529 h 1128"/>
                <a:gd name="T20" fmla="*/ 2220 w 2488"/>
                <a:gd name="T21" fmla="*/ 403 h 1128"/>
                <a:gd name="T22" fmla="*/ 2123 w 2488"/>
                <a:gd name="T23" fmla="*/ 291 h 1128"/>
                <a:gd name="T24" fmla="*/ 1968 w 2488"/>
                <a:gd name="T25" fmla="*/ 229 h 1128"/>
                <a:gd name="T26" fmla="*/ 498 w 2488"/>
                <a:gd name="T27" fmla="*/ 233 h 1128"/>
                <a:gd name="T28" fmla="*/ 377 w 2488"/>
                <a:gd name="T29" fmla="*/ 283 h 1128"/>
                <a:gd name="T30" fmla="*/ 271 w 2488"/>
                <a:gd name="T31" fmla="*/ 397 h 1128"/>
                <a:gd name="T32" fmla="*/ 226 w 2488"/>
                <a:gd name="T33" fmla="*/ 564 h 1128"/>
                <a:gd name="T34" fmla="*/ 254 w 2488"/>
                <a:gd name="T35" fmla="*/ 695 h 1128"/>
                <a:gd name="T36" fmla="*/ 336 w 2488"/>
                <a:gd name="T37" fmla="*/ 813 h 1128"/>
                <a:gd name="T38" fmla="*/ 476 w 2488"/>
                <a:gd name="T39" fmla="*/ 890 h 1128"/>
                <a:gd name="T40" fmla="*/ 632 w 2488"/>
                <a:gd name="T41" fmla="*/ 897 h 1128"/>
                <a:gd name="T42" fmla="*/ 805 w 2488"/>
                <a:gd name="T43" fmla="*/ 825 h 1128"/>
                <a:gd name="T44" fmla="*/ 1011 w 2488"/>
                <a:gd name="T45" fmla="*/ 649 h 1128"/>
                <a:gd name="T46" fmla="*/ 1014 w 2488"/>
                <a:gd name="T47" fmla="*/ 481 h 1128"/>
                <a:gd name="T48" fmla="*/ 800 w 2488"/>
                <a:gd name="T49" fmla="*/ 300 h 1128"/>
                <a:gd name="T50" fmla="*/ 642 w 2488"/>
                <a:gd name="T51" fmla="*/ 233 h 1128"/>
                <a:gd name="T52" fmla="*/ 1979 w 2488"/>
                <a:gd name="T53" fmla="*/ 3 h 1128"/>
                <a:gd name="T54" fmla="*/ 2192 w 2488"/>
                <a:gd name="T55" fmla="*/ 68 h 1128"/>
                <a:gd name="T56" fmla="*/ 2358 w 2488"/>
                <a:gd name="T57" fmla="*/ 206 h 1128"/>
                <a:gd name="T58" fmla="*/ 2461 w 2488"/>
                <a:gd name="T59" fmla="*/ 397 h 1128"/>
                <a:gd name="T60" fmla="*/ 2485 w 2488"/>
                <a:gd name="T61" fmla="*/ 621 h 1128"/>
                <a:gd name="T62" fmla="*/ 2419 w 2488"/>
                <a:gd name="T63" fmla="*/ 832 h 1128"/>
                <a:gd name="T64" fmla="*/ 2281 w 2488"/>
                <a:gd name="T65" fmla="*/ 999 h 1128"/>
                <a:gd name="T66" fmla="*/ 2090 w 2488"/>
                <a:gd name="T67" fmla="*/ 1102 h 1128"/>
                <a:gd name="T68" fmla="*/ 1869 w 2488"/>
                <a:gd name="T69" fmla="*/ 1125 h 1128"/>
                <a:gd name="T70" fmla="*/ 1671 w 2488"/>
                <a:gd name="T71" fmla="*/ 1074 h 1128"/>
                <a:gd name="T72" fmla="*/ 1477 w 2488"/>
                <a:gd name="T73" fmla="*/ 954 h 1128"/>
                <a:gd name="T74" fmla="*/ 1246 w 2488"/>
                <a:gd name="T75" fmla="*/ 734 h 1128"/>
                <a:gd name="T76" fmla="*/ 1138 w 2488"/>
                <a:gd name="T77" fmla="*/ 842 h 1128"/>
                <a:gd name="T78" fmla="*/ 935 w 2488"/>
                <a:gd name="T79" fmla="*/ 1010 h 1128"/>
                <a:gd name="T80" fmla="*/ 757 w 2488"/>
                <a:gd name="T81" fmla="*/ 1097 h 1128"/>
                <a:gd name="T82" fmla="*/ 565 w 2488"/>
                <a:gd name="T83" fmla="*/ 1128 h 1128"/>
                <a:gd name="T84" fmla="*/ 345 w 2488"/>
                <a:gd name="T85" fmla="*/ 1083 h 1128"/>
                <a:gd name="T86" fmla="*/ 166 w 2488"/>
                <a:gd name="T87" fmla="*/ 963 h 1128"/>
                <a:gd name="T88" fmla="*/ 45 w 2488"/>
                <a:gd name="T89" fmla="*/ 783 h 1128"/>
                <a:gd name="T90" fmla="*/ 0 w 2488"/>
                <a:gd name="T91" fmla="*/ 564 h 1128"/>
                <a:gd name="T92" fmla="*/ 45 w 2488"/>
                <a:gd name="T93" fmla="*/ 344 h 1128"/>
                <a:gd name="T94" fmla="*/ 166 w 2488"/>
                <a:gd name="T95" fmla="*/ 166 h 1128"/>
                <a:gd name="T96" fmla="*/ 345 w 2488"/>
                <a:gd name="T97" fmla="*/ 44 h 1128"/>
                <a:gd name="T98" fmla="*/ 565 w 2488"/>
                <a:gd name="T99" fmla="*/ 0 h 1128"/>
                <a:gd name="T100" fmla="*/ 770 w 2488"/>
                <a:gd name="T101" fmla="*/ 36 h 1128"/>
                <a:gd name="T102" fmla="*/ 964 w 2488"/>
                <a:gd name="T103" fmla="*/ 138 h 1128"/>
                <a:gd name="T104" fmla="*/ 1173 w 2488"/>
                <a:gd name="T105" fmla="*/ 322 h 1128"/>
                <a:gd name="T106" fmla="*/ 1301 w 2488"/>
                <a:gd name="T107" fmla="*/ 336 h 1128"/>
                <a:gd name="T108" fmla="*/ 1511 w 2488"/>
                <a:gd name="T109" fmla="*/ 147 h 1128"/>
                <a:gd name="T110" fmla="*/ 1687 w 2488"/>
                <a:gd name="T111" fmla="*/ 47 h 1128"/>
                <a:gd name="T112" fmla="*/ 1872 w 2488"/>
                <a:gd name="T113" fmla="*/ 2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88" h="1128">
                  <a:moveTo>
                    <a:pt x="1923" y="226"/>
                  </a:moveTo>
                  <a:lnTo>
                    <a:pt x="1889" y="227"/>
                  </a:lnTo>
                  <a:lnTo>
                    <a:pt x="1856" y="231"/>
                  </a:lnTo>
                  <a:lnTo>
                    <a:pt x="1825" y="238"/>
                  </a:lnTo>
                  <a:lnTo>
                    <a:pt x="1777" y="254"/>
                  </a:lnTo>
                  <a:lnTo>
                    <a:pt x="1730" y="276"/>
                  </a:lnTo>
                  <a:lnTo>
                    <a:pt x="1683" y="303"/>
                  </a:lnTo>
                  <a:lnTo>
                    <a:pt x="1635" y="336"/>
                  </a:lnTo>
                  <a:lnTo>
                    <a:pt x="1588" y="375"/>
                  </a:lnTo>
                  <a:lnTo>
                    <a:pt x="1540" y="417"/>
                  </a:lnTo>
                  <a:lnTo>
                    <a:pt x="1477" y="480"/>
                  </a:lnTo>
                  <a:lnTo>
                    <a:pt x="1411" y="547"/>
                  </a:lnTo>
                  <a:lnTo>
                    <a:pt x="1397" y="564"/>
                  </a:lnTo>
                  <a:lnTo>
                    <a:pt x="1418" y="587"/>
                  </a:lnTo>
                  <a:lnTo>
                    <a:pt x="1474" y="647"/>
                  </a:lnTo>
                  <a:lnTo>
                    <a:pt x="1531" y="703"/>
                  </a:lnTo>
                  <a:lnTo>
                    <a:pt x="1588" y="754"/>
                  </a:lnTo>
                  <a:lnTo>
                    <a:pt x="1645" y="799"/>
                  </a:lnTo>
                  <a:lnTo>
                    <a:pt x="1688" y="827"/>
                  </a:lnTo>
                  <a:lnTo>
                    <a:pt x="1730" y="852"/>
                  </a:lnTo>
                  <a:lnTo>
                    <a:pt x="1773" y="872"/>
                  </a:lnTo>
                  <a:lnTo>
                    <a:pt x="1809" y="885"/>
                  </a:lnTo>
                  <a:lnTo>
                    <a:pt x="1846" y="894"/>
                  </a:lnTo>
                  <a:lnTo>
                    <a:pt x="1884" y="901"/>
                  </a:lnTo>
                  <a:lnTo>
                    <a:pt x="1923" y="902"/>
                  </a:lnTo>
                  <a:lnTo>
                    <a:pt x="1957" y="901"/>
                  </a:lnTo>
                  <a:lnTo>
                    <a:pt x="1990" y="895"/>
                  </a:lnTo>
                  <a:lnTo>
                    <a:pt x="2023" y="887"/>
                  </a:lnTo>
                  <a:lnTo>
                    <a:pt x="2054" y="876"/>
                  </a:lnTo>
                  <a:lnTo>
                    <a:pt x="2084" y="862"/>
                  </a:lnTo>
                  <a:lnTo>
                    <a:pt x="2111" y="844"/>
                  </a:lnTo>
                  <a:lnTo>
                    <a:pt x="2143" y="821"/>
                  </a:lnTo>
                  <a:lnTo>
                    <a:pt x="2171" y="794"/>
                  </a:lnTo>
                  <a:lnTo>
                    <a:pt x="2196" y="763"/>
                  </a:lnTo>
                  <a:lnTo>
                    <a:pt x="2217" y="731"/>
                  </a:lnTo>
                  <a:lnTo>
                    <a:pt x="2234" y="695"/>
                  </a:lnTo>
                  <a:lnTo>
                    <a:pt x="2249" y="654"/>
                  </a:lnTo>
                  <a:lnTo>
                    <a:pt x="2258" y="610"/>
                  </a:lnTo>
                  <a:lnTo>
                    <a:pt x="2261" y="564"/>
                  </a:lnTo>
                  <a:lnTo>
                    <a:pt x="2259" y="529"/>
                  </a:lnTo>
                  <a:lnTo>
                    <a:pt x="2254" y="495"/>
                  </a:lnTo>
                  <a:lnTo>
                    <a:pt x="2246" y="464"/>
                  </a:lnTo>
                  <a:lnTo>
                    <a:pt x="2235" y="432"/>
                  </a:lnTo>
                  <a:lnTo>
                    <a:pt x="2220" y="403"/>
                  </a:lnTo>
                  <a:lnTo>
                    <a:pt x="2204" y="375"/>
                  </a:lnTo>
                  <a:lnTo>
                    <a:pt x="2179" y="344"/>
                  </a:lnTo>
                  <a:lnTo>
                    <a:pt x="2152" y="316"/>
                  </a:lnTo>
                  <a:lnTo>
                    <a:pt x="2123" y="291"/>
                  </a:lnTo>
                  <a:lnTo>
                    <a:pt x="2089" y="270"/>
                  </a:lnTo>
                  <a:lnTo>
                    <a:pt x="2054" y="252"/>
                  </a:lnTo>
                  <a:lnTo>
                    <a:pt x="2012" y="237"/>
                  </a:lnTo>
                  <a:lnTo>
                    <a:pt x="1968" y="229"/>
                  </a:lnTo>
                  <a:lnTo>
                    <a:pt x="1923" y="226"/>
                  </a:lnTo>
                  <a:close/>
                  <a:moveTo>
                    <a:pt x="565" y="226"/>
                  </a:moveTo>
                  <a:lnTo>
                    <a:pt x="531" y="228"/>
                  </a:lnTo>
                  <a:lnTo>
                    <a:pt x="498" y="233"/>
                  </a:lnTo>
                  <a:lnTo>
                    <a:pt x="465" y="240"/>
                  </a:lnTo>
                  <a:lnTo>
                    <a:pt x="434" y="252"/>
                  </a:lnTo>
                  <a:lnTo>
                    <a:pt x="404" y="267"/>
                  </a:lnTo>
                  <a:lnTo>
                    <a:pt x="377" y="283"/>
                  </a:lnTo>
                  <a:lnTo>
                    <a:pt x="345" y="307"/>
                  </a:lnTo>
                  <a:lnTo>
                    <a:pt x="317" y="334"/>
                  </a:lnTo>
                  <a:lnTo>
                    <a:pt x="292" y="364"/>
                  </a:lnTo>
                  <a:lnTo>
                    <a:pt x="271" y="397"/>
                  </a:lnTo>
                  <a:lnTo>
                    <a:pt x="254" y="432"/>
                  </a:lnTo>
                  <a:lnTo>
                    <a:pt x="239" y="474"/>
                  </a:lnTo>
                  <a:lnTo>
                    <a:pt x="230" y="517"/>
                  </a:lnTo>
                  <a:lnTo>
                    <a:pt x="226" y="564"/>
                  </a:lnTo>
                  <a:lnTo>
                    <a:pt x="229" y="598"/>
                  </a:lnTo>
                  <a:lnTo>
                    <a:pt x="234" y="632"/>
                  </a:lnTo>
                  <a:lnTo>
                    <a:pt x="242" y="664"/>
                  </a:lnTo>
                  <a:lnTo>
                    <a:pt x="254" y="695"/>
                  </a:lnTo>
                  <a:lnTo>
                    <a:pt x="268" y="725"/>
                  </a:lnTo>
                  <a:lnTo>
                    <a:pt x="284" y="753"/>
                  </a:lnTo>
                  <a:lnTo>
                    <a:pt x="309" y="784"/>
                  </a:lnTo>
                  <a:lnTo>
                    <a:pt x="336" y="813"/>
                  </a:lnTo>
                  <a:lnTo>
                    <a:pt x="365" y="837"/>
                  </a:lnTo>
                  <a:lnTo>
                    <a:pt x="399" y="859"/>
                  </a:lnTo>
                  <a:lnTo>
                    <a:pt x="434" y="876"/>
                  </a:lnTo>
                  <a:lnTo>
                    <a:pt x="476" y="890"/>
                  </a:lnTo>
                  <a:lnTo>
                    <a:pt x="520" y="900"/>
                  </a:lnTo>
                  <a:lnTo>
                    <a:pt x="565" y="902"/>
                  </a:lnTo>
                  <a:lnTo>
                    <a:pt x="599" y="901"/>
                  </a:lnTo>
                  <a:lnTo>
                    <a:pt x="632" y="897"/>
                  </a:lnTo>
                  <a:lnTo>
                    <a:pt x="663" y="889"/>
                  </a:lnTo>
                  <a:lnTo>
                    <a:pt x="710" y="873"/>
                  </a:lnTo>
                  <a:lnTo>
                    <a:pt x="758" y="852"/>
                  </a:lnTo>
                  <a:lnTo>
                    <a:pt x="805" y="825"/>
                  </a:lnTo>
                  <a:lnTo>
                    <a:pt x="853" y="792"/>
                  </a:lnTo>
                  <a:lnTo>
                    <a:pt x="900" y="754"/>
                  </a:lnTo>
                  <a:lnTo>
                    <a:pt x="948" y="711"/>
                  </a:lnTo>
                  <a:lnTo>
                    <a:pt x="1011" y="649"/>
                  </a:lnTo>
                  <a:lnTo>
                    <a:pt x="1077" y="580"/>
                  </a:lnTo>
                  <a:lnTo>
                    <a:pt x="1091" y="564"/>
                  </a:lnTo>
                  <a:lnTo>
                    <a:pt x="1070" y="541"/>
                  </a:lnTo>
                  <a:lnTo>
                    <a:pt x="1014" y="481"/>
                  </a:lnTo>
                  <a:lnTo>
                    <a:pt x="957" y="425"/>
                  </a:lnTo>
                  <a:lnTo>
                    <a:pt x="900" y="374"/>
                  </a:lnTo>
                  <a:lnTo>
                    <a:pt x="843" y="330"/>
                  </a:lnTo>
                  <a:lnTo>
                    <a:pt x="800" y="300"/>
                  </a:lnTo>
                  <a:lnTo>
                    <a:pt x="758" y="276"/>
                  </a:lnTo>
                  <a:lnTo>
                    <a:pt x="715" y="256"/>
                  </a:lnTo>
                  <a:lnTo>
                    <a:pt x="679" y="242"/>
                  </a:lnTo>
                  <a:lnTo>
                    <a:pt x="642" y="233"/>
                  </a:lnTo>
                  <a:lnTo>
                    <a:pt x="604" y="228"/>
                  </a:lnTo>
                  <a:lnTo>
                    <a:pt x="565" y="226"/>
                  </a:lnTo>
                  <a:close/>
                  <a:moveTo>
                    <a:pt x="1923" y="0"/>
                  </a:moveTo>
                  <a:lnTo>
                    <a:pt x="1979" y="3"/>
                  </a:lnTo>
                  <a:lnTo>
                    <a:pt x="2036" y="11"/>
                  </a:lnTo>
                  <a:lnTo>
                    <a:pt x="2090" y="25"/>
                  </a:lnTo>
                  <a:lnTo>
                    <a:pt x="2143" y="44"/>
                  </a:lnTo>
                  <a:lnTo>
                    <a:pt x="2192" y="68"/>
                  </a:lnTo>
                  <a:lnTo>
                    <a:pt x="2238" y="96"/>
                  </a:lnTo>
                  <a:lnTo>
                    <a:pt x="2281" y="129"/>
                  </a:lnTo>
                  <a:lnTo>
                    <a:pt x="2321" y="166"/>
                  </a:lnTo>
                  <a:lnTo>
                    <a:pt x="2358" y="206"/>
                  </a:lnTo>
                  <a:lnTo>
                    <a:pt x="2391" y="249"/>
                  </a:lnTo>
                  <a:lnTo>
                    <a:pt x="2419" y="295"/>
                  </a:lnTo>
                  <a:lnTo>
                    <a:pt x="2442" y="344"/>
                  </a:lnTo>
                  <a:lnTo>
                    <a:pt x="2461" y="397"/>
                  </a:lnTo>
                  <a:lnTo>
                    <a:pt x="2476" y="450"/>
                  </a:lnTo>
                  <a:lnTo>
                    <a:pt x="2485" y="506"/>
                  </a:lnTo>
                  <a:lnTo>
                    <a:pt x="2488" y="564"/>
                  </a:lnTo>
                  <a:lnTo>
                    <a:pt x="2485" y="621"/>
                  </a:lnTo>
                  <a:lnTo>
                    <a:pt x="2476" y="677"/>
                  </a:lnTo>
                  <a:lnTo>
                    <a:pt x="2461" y="732"/>
                  </a:lnTo>
                  <a:lnTo>
                    <a:pt x="2442" y="783"/>
                  </a:lnTo>
                  <a:lnTo>
                    <a:pt x="2419" y="832"/>
                  </a:lnTo>
                  <a:lnTo>
                    <a:pt x="2391" y="879"/>
                  </a:lnTo>
                  <a:lnTo>
                    <a:pt x="2358" y="923"/>
                  </a:lnTo>
                  <a:lnTo>
                    <a:pt x="2321" y="963"/>
                  </a:lnTo>
                  <a:lnTo>
                    <a:pt x="2281" y="999"/>
                  </a:lnTo>
                  <a:lnTo>
                    <a:pt x="2238" y="1031"/>
                  </a:lnTo>
                  <a:lnTo>
                    <a:pt x="2192" y="1059"/>
                  </a:lnTo>
                  <a:lnTo>
                    <a:pt x="2143" y="1083"/>
                  </a:lnTo>
                  <a:lnTo>
                    <a:pt x="2090" y="1102"/>
                  </a:lnTo>
                  <a:lnTo>
                    <a:pt x="2036" y="1116"/>
                  </a:lnTo>
                  <a:lnTo>
                    <a:pt x="1979" y="1125"/>
                  </a:lnTo>
                  <a:lnTo>
                    <a:pt x="1923" y="1128"/>
                  </a:lnTo>
                  <a:lnTo>
                    <a:pt x="1869" y="1125"/>
                  </a:lnTo>
                  <a:lnTo>
                    <a:pt x="1816" y="1118"/>
                  </a:lnTo>
                  <a:lnTo>
                    <a:pt x="1767" y="1108"/>
                  </a:lnTo>
                  <a:lnTo>
                    <a:pt x="1717" y="1092"/>
                  </a:lnTo>
                  <a:lnTo>
                    <a:pt x="1671" y="1074"/>
                  </a:lnTo>
                  <a:lnTo>
                    <a:pt x="1626" y="1052"/>
                  </a:lnTo>
                  <a:lnTo>
                    <a:pt x="1573" y="1023"/>
                  </a:lnTo>
                  <a:lnTo>
                    <a:pt x="1524" y="990"/>
                  </a:lnTo>
                  <a:lnTo>
                    <a:pt x="1477" y="954"/>
                  </a:lnTo>
                  <a:lnTo>
                    <a:pt x="1430" y="915"/>
                  </a:lnTo>
                  <a:lnTo>
                    <a:pt x="1386" y="876"/>
                  </a:lnTo>
                  <a:lnTo>
                    <a:pt x="1314" y="806"/>
                  </a:lnTo>
                  <a:lnTo>
                    <a:pt x="1246" y="734"/>
                  </a:lnTo>
                  <a:lnTo>
                    <a:pt x="1243" y="732"/>
                  </a:lnTo>
                  <a:lnTo>
                    <a:pt x="1237" y="740"/>
                  </a:lnTo>
                  <a:lnTo>
                    <a:pt x="1187" y="792"/>
                  </a:lnTo>
                  <a:lnTo>
                    <a:pt x="1138" y="842"/>
                  </a:lnTo>
                  <a:lnTo>
                    <a:pt x="1086" y="891"/>
                  </a:lnTo>
                  <a:lnTo>
                    <a:pt x="1032" y="937"/>
                  </a:lnTo>
                  <a:lnTo>
                    <a:pt x="977" y="981"/>
                  </a:lnTo>
                  <a:lnTo>
                    <a:pt x="935" y="1010"/>
                  </a:lnTo>
                  <a:lnTo>
                    <a:pt x="891" y="1036"/>
                  </a:lnTo>
                  <a:lnTo>
                    <a:pt x="847" y="1059"/>
                  </a:lnTo>
                  <a:lnTo>
                    <a:pt x="801" y="1080"/>
                  </a:lnTo>
                  <a:lnTo>
                    <a:pt x="757" y="1097"/>
                  </a:lnTo>
                  <a:lnTo>
                    <a:pt x="710" y="1110"/>
                  </a:lnTo>
                  <a:lnTo>
                    <a:pt x="664" y="1120"/>
                  </a:lnTo>
                  <a:lnTo>
                    <a:pt x="616" y="1125"/>
                  </a:lnTo>
                  <a:lnTo>
                    <a:pt x="565" y="1128"/>
                  </a:lnTo>
                  <a:lnTo>
                    <a:pt x="508" y="1125"/>
                  </a:lnTo>
                  <a:lnTo>
                    <a:pt x="452" y="1116"/>
                  </a:lnTo>
                  <a:lnTo>
                    <a:pt x="398" y="1102"/>
                  </a:lnTo>
                  <a:lnTo>
                    <a:pt x="345" y="1083"/>
                  </a:lnTo>
                  <a:lnTo>
                    <a:pt x="296" y="1059"/>
                  </a:lnTo>
                  <a:lnTo>
                    <a:pt x="250" y="1031"/>
                  </a:lnTo>
                  <a:lnTo>
                    <a:pt x="206" y="999"/>
                  </a:lnTo>
                  <a:lnTo>
                    <a:pt x="166" y="963"/>
                  </a:lnTo>
                  <a:lnTo>
                    <a:pt x="130" y="923"/>
                  </a:lnTo>
                  <a:lnTo>
                    <a:pt x="97" y="879"/>
                  </a:lnTo>
                  <a:lnTo>
                    <a:pt x="69" y="832"/>
                  </a:lnTo>
                  <a:lnTo>
                    <a:pt x="45" y="783"/>
                  </a:lnTo>
                  <a:lnTo>
                    <a:pt x="27" y="732"/>
                  </a:lnTo>
                  <a:lnTo>
                    <a:pt x="12" y="677"/>
                  </a:lnTo>
                  <a:lnTo>
                    <a:pt x="3" y="621"/>
                  </a:lnTo>
                  <a:lnTo>
                    <a:pt x="0" y="564"/>
                  </a:lnTo>
                  <a:lnTo>
                    <a:pt x="3" y="506"/>
                  </a:lnTo>
                  <a:lnTo>
                    <a:pt x="12" y="450"/>
                  </a:lnTo>
                  <a:lnTo>
                    <a:pt x="27" y="397"/>
                  </a:lnTo>
                  <a:lnTo>
                    <a:pt x="45" y="344"/>
                  </a:lnTo>
                  <a:lnTo>
                    <a:pt x="69" y="295"/>
                  </a:lnTo>
                  <a:lnTo>
                    <a:pt x="97" y="249"/>
                  </a:lnTo>
                  <a:lnTo>
                    <a:pt x="130" y="206"/>
                  </a:lnTo>
                  <a:lnTo>
                    <a:pt x="166" y="166"/>
                  </a:lnTo>
                  <a:lnTo>
                    <a:pt x="206" y="129"/>
                  </a:lnTo>
                  <a:lnTo>
                    <a:pt x="250" y="96"/>
                  </a:lnTo>
                  <a:lnTo>
                    <a:pt x="296" y="68"/>
                  </a:lnTo>
                  <a:lnTo>
                    <a:pt x="345" y="44"/>
                  </a:lnTo>
                  <a:lnTo>
                    <a:pt x="398" y="25"/>
                  </a:lnTo>
                  <a:lnTo>
                    <a:pt x="452" y="11"/>
                  </a:lnTo>
                  <a:lnTo>
                    <a:pt x="508" y="3"/>
                  </a:lnTo>
                  <a:lnTo>
                    <a:pt x="565" y="0"/>
                  </a:lnTo>
                  <a:lnTo>
                    <a:pt x="619" y="2"/>
                  </a:lnTo>
                  <a:lnTo>
                    <a:pt x="672" y="9"/>
                  </a:lnTo>
                  <a:lnTo>
                    <a:pt x="721" y="21"/>
                  </a:lnTo>
                  <a:lnTo>
                    <a:pt x="770" y="36"/>
                  </a:lnTo>
                  <a:lnTo>
                    <a:pt x="817" y="54"/>
                  </a:lnTo>
                  <a:lnTo>
                    <a:pt x="862" y="75"/>
                  </a:lnTo>
                  <a:lnTo>
                    <a:pt x="915" y="105"/>
                  </a:lnTo>
                  <a:lnTo>
                    <a:pt x="964" y="138"/>
                  </a:lnTo>
                  <a:lnTo>
                    <a:pt x="1011" y="174"/>
                  </a:lnTo>
                  <a:lnTo>
                    <a:pt x="1058" y="212"/>
                  </a:lnTo>
                  <a:lnTo>
                    <a:pt x="1102" y="252"/>
                  </a:lnTo>
                  <a:lnTo>
                    <a:pt x="1173" y="322"/>
                  </a:lnTo>
                  <a:lnTo>
                    <a:pt x="1242" y="395"/>
                  </a:lnTo>
                  <a:lnTo>
                    <a:pt x="1244" y="396"/>
                  </a:lnTo>
                  <a:lnTo>
                    <a:pt x="1251" y="387"/>
                  </a:lnTo>
                  <a:lnTo>
                    <a:pt x="1301" y="336"/>
                  </a:lnTo>
                  <a:lnTo>
                    <a:pt x="1350" y="285"/>
                  </a:lnTo>
                  <a:lnTo>
                    <a:pt x="1402" y="237"/>
                  </a:lnTo>
                  <a:lnTo>
                    <a:pt x="1455" y="190"/>
                  </a:lnTo>
                  <a:lnTo>
                    <a:pt x="1511" y="147"/>
                  </a:lnTo>
                  <a:lnTo>
                    <a:pt x="1553" y="118"/>
                  </a:lnTo>
                  <a:lnTo>
                    <a:pt x="1596" y="92"/>
                  </a:lnTo>
                  <a:lnTo>
                    <a:pt x="1641" y="68"/>
                  </a:lnTo>
                  <a:lnTo>
                    <a:pt x="1687" y="47"/>
                  </a:lnTo>
                  <a:lnTo>
                    <a:pt x="1731" y="31"/>
                  </a:lnTo>
                  <a:lnTo>
                    <a:pt x="1777" y="18"/>
                  </a:lnTo>
                  <a:lnTo>
                    <a:pt x="1824" y="8"/>
                  </a:lnTo>
                  <a:lnTo>
                    <a:pt x="1872" y="2"/>
                  </a:lnTo>
                  <a:lnTo>
                    <a:pt x="1923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36" name="Group 369">
            <a:extLst>
              <a:ext uri="{FF2B5EF4-FFF2-40B4-BE49-F238E27FC236}">
                <a16:creationId xmlns:a16="http://schemas.microsoft.com/office/drawing/2014/main" id="{C9876C38-2CB3-4FEC-BB4A-F4762455D8C2}"/>
              </a:ext>
            </a:extLst>
          </p:cNvPr>
          <p:cNvGrpSpPr>
            <a:grpSpLocks/>
          </p:cNvGrpSpPr>
          <p:nvPr/>
        </p:nvGrpSpPr>
        <p:grpSpPr bwMode="gray">
          <a:xfrm>
            <a:off x="9013585" y="4938232"/>
            <a:ext cx="943671" cy="407988"/>
            <a:chOff x="7913666" y="2513969"/>
            <a:chExt cx="943671" cy="407988"/>
          </a:xfrm>
          <a:solidFill>
            <a:schemeClr val="tx2"/>
          </a:solidFill>
        </p:grpSpPr>
        <p:sp>
          <p:nvSpPr>
            <p:cNvPr id="137" name="Freeform 92">
              <a:extLst>
                <a:ext uri="{FF2B5EF4-FFF2-40B4-BE49-F238E27FC236}">
                  <a16:creationId xmlns:a16="http://schemas.microsoft.com/office/drawing/2014/main" id="{2C589733-F9CF-4F12-AB01-BB469B14F2F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13666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8" name="Freeform 92">
              <a:extLst>
                <a:ext uri="{FF2B5EF4-FFF2-40B4-BE49-F238E27FC236}">
                  <a16:creationId xmlns:a16="http://schemas.microsoft.com/office/drawing/2014/main" id="{C0D2A8CE-08E6-4D49-839E-AB202C9B64C5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8449349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2" name="Gruppieren 221">
            <a:extLst>
              <a:ext uri="{FF2B5EF4-FFF2-40B4-BE49-F238E27FC236}">
                <a16:creationId xmlns:a16="http://schemas.microsoft.com/office/drawing/2014/main" id="{14723B59-C8C4-4F24-AADD-6841C819ED98}"/>
              </a:ext>
            </a:extLst>
          </p:cNvPr>
          <p:cNvGrpSpPr>
            <a:grpSpLocks/>
          </p:cNvGrpSpPr>
          <p:nvPr/>
        </p:nvGrpSpPr>
        <p:grpSpPr bwMode="gray">
          <a:xfrm>
            <a:off x="5308514" y="4988910"/>
            <a:ext cx="396000" cy="396000"/>
            <a:chOff x="10306594" y="5486751"/>
            <a:chExt cx="396000" cy="396000"/>
          </a:xfrm>
        </p:grpSpPr>
        <p:sp>
          <p:nvSpPr>
            <p:cNvPr id="140" name="Freeform 104">
              <a:extLst>
                <a:ext uri="{FF2B5EF4-FFF2-40B4-BE49-F238E27FC236}">
                  <a16:creationId xmlns:a16="http://schemas.microsoft.com/office/drawing/2014/main" id="{66FDA7D0-D777-4083-8486-D08E4108E2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306594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20" name="Gruppieren 219">
              <a:extLst>
                <a:ext uri="{FF2B5EF4-FFF2-40B4-BE49-F238E27FC236}">
                  <a16:creationId xmlns:a16="http://schemas.microsoft.com/office/drawing/2014/main" id="{DD711EF7-79DA-4736-AF52-77EFC92E38F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0476040" y="5575489"/>
              <a:ext cx="57110" cy="218525"/>
              <a:chOff x="10481439" y="5582689"/>
              <a:chExt cx="57110" cy="218525"/>
            </a:xfrm>
            <a:solidFill>
              <a:schemeClr val="bg1"/>
            </a:solidFill>
          </p:grpSpPr>
          <p:sp>
            <p:nvSpPr>
              <p:cNvPr id="141" name="Freeform 105">
                <a:extLst>
                  <a:ext uri="{FF2B5EF4-FFF2-40B4-BE49-F238E27FC236}">
                    <a16:creationId xmlns:a16="http://schemas.microsoft.com/office/drawing/2014/main" id="{7079FCBB-2CC1-4C5D-BE02-2A6382913F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4953" y="5582689"/>
                <a:ext cx="50081" cy="144795"/>
              </a:xfrm>
              <a:custGeom>
                <a:avLst/>
                <a:gdLst>
                  <a:gd name="T0" fmla="*/ 0 w 456"/>
                  <a:gd name="T1" fmla="*/ 0 h 1298"/>
                  <a:gd name="T2" fmla="*/ 456 w 456"/>
                  <a:gd name="T3" fmla="*/ 0 h 1298"/>
                  <a:gd name="T4" fmla="*/ 393 w 456"/>
                  <a:gd name="T5" fmla="*/ 1298 h 1298"/>
                  <a:gd name="T6" fmla="*/ 65 w 456"/>
                  <a:gd name="T7" fmla="*/ 1298 h 1298"/>
                  <a:gd name="T8" fmla="*/ 0 w 456"/>
                  <a:gd name="T9" fmla="*/ 0 h 1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6" h="1298">
                    <a:moveTo>
                      <a:pt x="0" y="0"/>
                    </a:moveTo>
                    <a:lnTo>
                      <a:pt x="456" y="0"/>
                    </a:lnTo>
                    <a:lnTo>
                      <a:pt x="393" y="1298"/>
                    </a:lnTo>
                    <a:lnTo>
                      <a:pt x="65" y="129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2" name="Freeform 106">
                <a:extLst>
                  <a:ext uri="{FF2B5EF4-FFF2-40B4-BE49-F238E27FC236}">
                    <a16:creationId xmlns:a16="http://schemas.microsoft.com/office/drawing/2014/main" id="{1C263118-AD48-4B85-86D9-C591B47A5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1439" y="5743473"/>
                <a:ext cx="57110" cy="57741"/>
              </a:xfrm>
              <a:custGeom>
                <a:avLst/>
                <a:gdLst>
                  <a:gd name="T0" fmla="*/ 258 w 514"/>
                  <a:gd name="T1" fmla="*/ 0 h 521"/>
                  <a:gd name="T2" fmla="*/ 299 w 514"/>
                  <a:gd name="T3" fmla="*/ 3 h 521"/>
                  <a:gd name="T4" fmla="*/ 336 w 514"/>
                  <a:gd name="T5" fmla="*/ 10 h 521"/>
                  <a:gd name="T6" fmla="*/ 370 w 514"/>
                  <a:gd name="T7" fmla="*/ 23 h 521"/>
                  <a:gd name="T8" fmla="*/ 402 w 514"/>
                  <a:gd name="T9" fmla="*/ 40 h 521"/>
                  <a:gd name="T10" fmla="*/ 430 w 514"/>
                  <a:gd name="T11" fmla="*/ 61 h 521"/>
                  <a:gd name="T12" fmla="*/ 453 w 514"/>
                  <a:gd name="T13" fmla="*/ 87 h 521"/>
                  <a:gd name="T14" fmla="*/ 475 w 514"/>
                  <a:gd name="T15" fmla="*/ 116 h 521"/>
                  <a:gd name="T16" fmla="*/ 490 w 514"/>
                  <a:gd name="T17" fmla="*/ 147 h 521"/>
                  <a:gd name="T18" fmla="*/ 503 w 514"/>
                  <a:gd name="T19" fmla="*/ 183 h 521"/>
                  <a:gd name="T20" fmla="*/ 511 w 514"/>
                  <a:gd name="T21" fmla="*/ 220 h 521"/>
                  <a:gd name="T22" fmla="*/ 514 w 514"/>
                  <a:gd name="T23" fmla="*/ 261 h 521"/>
                  <a:gd name="T24" fmla="*/ 512 w 514"/>
                  <a:gd name="T25" fmla="*/ 300 h 521"/>
                  <a:gd name="T26" fmla="*/ 504 w 514"/>
                  <a:gd name="T27" fmla="*/ 337 h 521"/>
                  <a:gd name="T28" fmla="*/ 493 w 514"/>
                  <a:gd name="T29" fmla="*/ 373 h 521"/>
                  <a:gd name="T30" fmla="*/ 476 w 514"/>
                  <a:gd name="T31" fmla="*/ 405 h 521"/>
                  <a:gd name="T32" fmla="*/ 456 w 514"/>
                  <a:gd name="T33" fmla="*/ 434 h 521"/>
                  <a:gd name="T34" fmla="*/ 432 w 514"/>
                  <a:gd name="T35" fmla="*/ 460 h 521"/>
                  <a:gd name="T36" fmla="*/ 404 w 514"/>
                  <a:gd name="T37" fmla="*/ 481 h 521"/>
                  <a:gd name="T38" fmla="*/ 373 w 514"/>
                  <a:gd name="T39" fmla="*/ 498 h 521"/>
                  <a:gd name="T40" fmla="*/ 338 w 514"/>
                  <a:gd name="T41" fmla="*/ 511 h 521"/>
                  <a:gd name="T42" fmla="*/ 300 w 514"/>
                  <a:gd name="T43" fmla="*/ 519 h 521"/>
                  <a:gd name="T44" fmla="*/ 258 w 514"/>
                  <a:gd name="T45" fmla="*/ 521 h 521"/>
                  <a:gd name="T46" fmla="*/ 218 w 514"/>
                  <a:gd name="T47" fmla="*/ 519 h 521"/>
                  <a:gd name="T48" fmla="*/ 180 w 514"/>
                  <a:gd name="T49" fmla="*/ 511 h 521"/>
                  <a:gd name="T50" fmla="*/ 144 w 514"/>
                  <a:gd name="T51" fmla="*/ 498 h 521"/>
                  <a:gd name="T52" fmla="*/ 112 w 514"/>
                  <a:gd name="T53" fmla="*/ 481 h 521"/>
                  <a:gd name="T54" fmla="*/ 84 w 514"/>
                  <a:gd name="T55" fmla="*/ 460 h 521"/>
                  <a:gd name="T56" fmla="*/ 59 w 514"/>
                  <a:gd name="T57" fmla="*/ 434 h 521"/>
                  <a:gd name="T58" fmla="*/ 38 w 514"/>
                  <a:gd name="T59" fmla="*/ 405 h 521"/>
                  <a:gd name="T60" fmla="*/ 22 w 514"/>
                  <a:gd name="T61" fmla="*/ 373 h 521"/>
                  <a:gd name="T62" fmla="*/ 10 w 514"/>
                  <a:gd name="T63" fmla="*/ 337 h 521"/>
                  <a:gd name="T64" fmla="*/ 2 w 514"/>
                  <a:gd name="T65" fmla="*/ 300 h 521"/>
                  <a:gd name="T66" fmla="*/ 0 w 514"/>
                  <a:gd name="T67" fmla="*/ 261 h 521"/>
                  <a:gd name="T68" fmla="*/ 2 w 514"/>
                  <a:gd name="T69" fmla="*/ 220 h 521"/>
                  <a:gd name="T70" fmla="*/ 10 w 514"/>
                  <a:gd name="T71" fmla="*/ 183 h 521"/>
                  <a:gd name="T72" fmla="*/ 22 w 514"/>
                  <a:gd name="T73" fmla="*/ 147 h 521"/>
                  <a:gd name="T74" fmla="*/ 39 w 514"/>
                  <a:gd name="T75" fmla="*/ 116 h 521"/>
                  <a:gd name="T76" fmla="*/ 61 w 514"/>
                  <a:gd name="T77" fmla="*/ 87 h 521"/>
                  <a:gd name="T78" fmla="*/ 85 w 514"/>
                  <a:gd name="T79" fmla="*/ 61 h 521"/>
                  <a:gd name="T80" fmla="*/ 113 w 514"/>
                  <a:gd name="T81" fmla="*/ 40 h 521"/>
                  <a:gd name="T82" fmla="*/ 146 w 514"/>
                  <a:gd name="T83" fmla="*/ 23 h 521"/>
                  <a:gd name="T84" fmla="*/ 181 w 514"/>
                  <a:gd name="T85" fmla="*/ 10 h 521"/>
                  <a:gd name="T86" fmla="*/ 218 w 514"/>
                  <a:gd name="T87" fmla="*/ 3 h 521"/>
                  <a:gd name="T88" fmla="*/ 258 w 514"/>
                  <a:gd name="T89" fmla="*/ 0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14" h="521">
                    <a:moveTo>
                      <a:pt x="258" y="0"/>
                    </a:moveTo>
                    <a:lnTo>
                      <a:pt x="299" y="3"/>
                    </a:lnTo>
                    <a:lnTo>
                      <a:pt x="336" y="10"/>
                    </a:lnTo>
                    <a:lnTo>
                      <a:pt x="370" y="23"/>
                    </a:lnTo>
                    <a:lnTo>
                      <a:pt x="402" y="40"/>
                    </a:lnTo>
                    <a:lnTo>
                      <a:pt x="430" y="61"/>
                    </a:lnTo>
                    <a:lnTo>
                      <a:pt x="453" y="87"/>
                    </a:lnTo>
                    <a:lnTo>
                      <a:pt x="475" y="116"/>
                    </a:lnTo>
                    <a:lnTo>
                      <a:pt x="490" y="147"/>
                    </a:lnTo>
                    <a:lnTo>
                      <a:pt x="503" y="183"/>
                    </a:lnTo>
                    <a:lnTo>
                      <a:pt x="511" y="220"/>
                    </a:lnTo>
                    <a:lnTo>
                      <a:pt x="514" y="261"/>
                    </a:lnTo>
                    <a:lnTo>
                      <a:pt x="512" y="300"/>
                    </a:lnTo>
                    <a:lnTo>
                      <a:pt x="504" y="337"/>
                    </a:lnTo>
                    <a:lnTo>
                      <a:pt x="493" y="373"/>
                    </a:lnTo>
                    <a:lnTo>
                      <a:pt x="476" y="405"/>
                    </a:lnTo>
                    <a:lnTo>
                      <a:pt x="456" y="434"/>
                    </a:lnTo>
                    <a:lnTo>
                      <a:pt x="432" y="460"/>
                    </a:lnTo>
                    <a:lnTo>
                      <a:pt x="404" y="481"/>
                    </a:lnTo>
                    <a:lnTo>
                      <a:pt x="373" y="498"/>
                    </a:lnTo>
                    <a:lnTo>
                      <a:pt x="338" y="511"/>
                    </a:lnTo>
                    <a:lnTo>
                      <a:pt x="300" y="519"/>
                    </a:lnTo>
                    <a:lnTo>
                      <a:pt x="258" y="521"/>
                    </a:lnTo>
                    <a:lnTo>
                      <a:pt x="218" y="519"/>
                    </a:lnTo>
                    <a:lnTo>
                      <a:pt x="180" y="511"/>
                    </a:lnTo>
                    <a:lnTo>
                      <a:pt x="144" y="498"/>
                    </a:lnTo>
                    <a:lnTo>
                      <a:pt x="112" y="481"/>
                    </a:lnTo>
                    <a:lnTo>
                      <a:pt x="84" y="460"/>
                    </a:lnTo>
                    <a:lnTo>
                      <a:pt x="59" y="434"/>
                    </a:lnTo>
                    <a:lnTo>
                      <a:pt x="38" y="405"/>
                    </a:lnTo>
                    <a:lnTo>
                      <a:pt x="22" y="373"/>
                    </a:lnTo>
                    <a:lnTo>
                      <a:pt x="10" y="337"/>
                    </a:lnTo>
                    <a:lnTo>
                      <a:pt x="2" y="300"/>
                    </a:lnTo>
                    <a:lnTo>
                      <a:pt x="0" y="261"/>
                    </a:lnTo>
                    <a:lnTo>
                      <a:pt x="2" y="220"/>
                    </a:lnTo>
                    <a:lnTo>
                      <a:pt x="10" y="183"/>
                    </a:lnTo>
                    <a:lnTo>
                      <a:pt x="22" y="147"/>
                    </a:lnTo>
                    <a:lnTo>
                      <a:pt x="39" y="116"/>
                    </a:lnTo>
                    <a:lnTo>
                      <a:pt x="61" y="87"/>
                    </a:lnTo>
                    <a:lnTo>
                      <a:pt x="85" y="61"/>
                    </a:lnTo>
                    <a:lnTo>
                      <a:pt x="113" y="40"/>
                    </a:lnTo>
                    <a:lnTo>
                      <a:pt x="146" y="23"/>
                    </a:lnTo>
                    <a:lnTo>
                      <a:pt x="181" y="10"/>
                    </a:lnTo>
                    <a:lnTo>
                      <a:pt x="218" y="3"/>
                    </a:lnTo>
                    <a:lnTo>
                      <a:pt x="25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1" name="Gruppieren 220">
            <a:extLst>
              <a:ext uri="{FF2B5EF4-FFF2-40B4-BE49-F238E27FC236}">
                <a16:creationId xmlns:a16="http://schemas.microsoft.com/office/drawing/2014/main" id="{1BC95896-0C3A-40E1-9FD2-56C658DFBA2C}"/>
              </a:ext>
            </a:extLst>
          </p:cNvPr>
          <p:cNvGrpSpPr>
            <a:grpSpLocks/>
          </p:cNvGrpSpPr>
          <p:nvPr/>
        </p:nvGrpSpPr>
        <p:grpSpPr bwMode="gray">
          <a:xfrm>
            <a:off x="5308909" y="5546662"/>
            <a:ext cx="396000" cy="396000"/>
            <a:chOff x="10887835" y="5486751"/>
            <a:chExt cx="396000" cy="396000"/>
          </a:xfrm>
        </p:grpSpPr>
        <p:sp>
          <p:nvSpPr>
            <p:cNvPr id="145" name="Freeform 104">
              <a:extLst>
                <a:ext uri="{FF2B5EF4-FFF2-40B4-BE49-F238E27FC236}">
                  <a16:creationId xmlns:a16="http://schemas.microsoft.com/office/drawing/2014/main" id="{EF654BCE-24D3-4BBB-926C-D0168A8AB4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87835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4" name="Group 266">
              <a:extLst>
                <a:ext uri="{FF2B5EF4-FFF2-40B4-BE49-F238E27FC236}">
                  <a16:creationId xmlns:a16="http://schemas.microsoft.com/office/drawing/2014/main" id="{50665108-431B-47E5-B4A7-1F74D28682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1022305" y="5589653"/>
              <a:ext cx="127060" cy="190195"/>
              <a:chOff x="8129588" y="2579688"/>
              <a:chExt cx="255588" cy="382587"/>
            </a:xfrm>
            <a:solidFill>
              <a:schemeClr val="bg1"/>
            </a:solidFill>
          </p:grpSpPr>
          <p:sp>
            <p:nvSpPr>
              <p:cNvPr id="146" name="Rectangle 97">
                <a:extLst>
                  <a:ext uri="{FF2B5EF4-FFF2-40B4-BE49-F238E27FC236}">
                    <a16:creationId xmlns:a16="http://schemas.microsoft.com/office/drawing/2014/main" id="{3C8203BF-F8DF-4009-9377-69D60DDDF9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224838" y="2898775"/>
                <a:ext cx="63500" cy="63500"/>
              </a:xfrm>
              <a:prstGeom prst="rect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7" name="Freeform 99">
                <a:extLst>
                  <a:ext uri="{FF2B5EF4-FFF2-40B4-BE49-F238E27FC236}">
                    <a16:creationId xmlns:a16="http://schemas.microsoft.com/office/drawing/2014/main" id="{9DE507F9-08E1-47FC-ABB0-C2B51113F4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29588" y="2579688"/>
                <a:ext cx="255588" cy="287338"/>
              </a:xfrm>
              <a:custGeom>
                <a:avLst/>
                <a:gdLst>
                  <a:gd name="T0" fmla="*/ 811 w 1448"/>
                  <a:gd name="T1" fmla="*/ 6 h 1632"/>
                  <a:gd name="T2" fmla="*/ 934 w 1448"/>
                  <a:gd name="T3" fmla="*/ 31 h 1632"/>
                  <a:gd name="T4" fmla="*/ 1048 w 1448"/>
                  <a:gd name="T5" fmla="*/ 77 h 1632"/>
                  <a:gd name="T6" fmla="*/ 1154 w 1448"/>
                  <a:gd name="T7" fmla="*/ 141 h 1632"/>
                  <a:gd name="T8" fmla="*/ 1247 w 1448"/>
                  <a:gd name="T9" fmla="*/ 224 h 1632"/>
                  <a:gd name="T10" fmla="*/ 1325 w 1448"/>
                  <a:gd name="T11" fmla="*/ 321 h 1632"/>
                  <a:gd name="T12" fmla="*/ 1387 w 1448"/>
                  <a:gd name="T13" fmla="*/ 432 h 1632"/>
                  <a:gd name="T14" fmla="*/ 1429 w 1448"/>
                  <a:gd name="T15" fmla="*/ 556 h 1632"/>
                  <a:gd name="T16" fmla="*/ 1447 w 1448"/>
                  <a:gd name="T17" fmla="*/ 683 h 1632"/>
                  <a:gd name="T18" fmla="*/ 1444 w 1448"/>
                  <a:gd name="T19" fmla="*/ 809 h 1632"/>
                  <a:gd name="T20" fmla="*/ 1419 w 1448"/>
                  <a:gd name="T21" fmla="*/ 930 h 1632"/>
                  <a:gd name="T22" fmla="*/ 1375 w 1448"/>
                  <a:gd name="T23" fmla="*/ 1044 h 1632"/>
                  <a:gd name="T24" fmla="*/ 1311 w 1448"/>
                  <a:gd name="T25" fmla="*/ 1148 h 1632"/>
                  <a:gd name="T26" fmla="*/ 1231 w 1448"/>
                  <a:gd name="T27" fmla="*/ 1242 h 1632"/>
                  <a:gd name="T28" fmla="*/ 1137 w 1448"/>
                  <a:gd name="T29" fmla="*/ 1320 h 1632"/>
                  <a:gd name="T30" fmla="*/ 1026 w 1448"/>
                  <a:gd name="T31" fmla="*/ 1383 h 1632"/>
                  <a:gd name="T32" fmla="*/ 905 w 1448"/>
                  <a:gd name="T33" fmla="*/ 1426 h 1632"/>
                  <a:gd name="T34" fmla="*/ 543 w 1448"/>
                  <a:gd name="T35" fmla="*/ 1632 h 1632"/>
                  <a:gd name="T36" fmla="*/ 547 w 1448"/>
                  <a:gd name="T37" fmla="*/ 1218 h 1632"/>
                  <a:gd name="T38" fmla="*/ 571 w 1448"/>
                  <a:gd name="T39" fmla="*/ 1160 h 1632"/>
                  <a:gd name="T40" fmla="*/ 614 w 1448"/>
                  <a:gd name="T41" fmla="*/ 1116 h 1632"/>
                  <a:gd name="T42" fmla="*/ 671 w 1448"/>
                  <a:gd name="T43" fmla="*/ 1092 h 1632"/>
                  <a:gd name="T44" fmla="*/ 754 w 1448"/>
                  <a:gd name="T45" fmla="*/ 1088 h 1632"/>
                  <a:gd name="T46" fmla="*/ 848 w 1448"/>
                  <a:gd name="T47" fmla="*/ 1067 h 1632"/>
                  <a:gd name="T48" fmla="*/ 931 w 1448"/>
                  <a:gd name="T49" fmla="*/ 1023 h 1632"/>
                  <a:gd name="T50" fmla="*/ 1001 w 1448"/>
                  <a:gd name="T51" fmla="*/ 960 h 1632"/>
                  <a:gd name="T52" fmla="*/ 1054 w 1448"/>
                  <a:gd name="T53" fmla="*/ 882 h 1632"/>
                  <a:gd name="T54" fmla="*/ 1086 w 1448"/>
                  <a:gd name="T55" fmla="*/ 789 h 1632"/>
                  <a:gd name="T56" fmla="*/ 1081 w 1448"/>
                  <a:gd name="T57" fmla="*/ 692 h 1632"/>
                  <a:gd name="T58" fmla="*/ 1052 w 1448"/>
                  <a:gd name="T59" fmla="*/ 602 h 1632"/>
                  <a:gd name="T60" fmla="*/ 1002 w 1448"/>
                  <a:gd name="T61" fmla="*/ 524 h 1632"/>
                  <a:gd name="T62" fmla="*/ 934 w 1448"/>
                  <a:gd name="T63" fmla="*/ 461 h 1632"/>
                  <a:gd name="T64" fmla="*/ 850 w 1448"/>
                  <a:gd name="T65" fmla="*/ 418 h 1632"/>
                  <a:gd name="T66" fmla="*/ 755 w 1448"/>
                  <a:gd name="T67" fmla="*/ 397 h 1632"/>
                  <a:gd name="T68" fmla="*/ 657 w 1448"/>
                  <a:gd name="T69" fmla="*/ 401 h 1632"/>
                  <a:gd name="T70" fmla="*/ 568 w 1448"/>
                  <a:gd name="T71" fmla="*/ 430 h 1632"/>
                  <a:gd name="T72" fmla="*/ 489 w 1448"/>
                  <a:gd name="T73" fmla="*/ 481 h 1632"/>
                  <a:gd name="T74" fmla="*/ 427 w 1448"/>
                  <a:gd name="T75" fmla="*/ 549 h 1632"/>
                  <a:gd name="T76" fmla="*/ 384 w 1448"/>
                  <a:gd name="T77" fmla="*/ 633 h 1632"/>
                  <a:gd name="T78" fmla="*/ 361 w 1448"/>
                  <a:gd name="T79" fmla="*/ 727 h 1632"/>
                  <a:gd name="T80" fmla="*/ 2 w 1448"/>
                  <a:gd name="T81" fmla="*/ 661 h 1632"/>
                  <a:gd name="T82" fmla="*/ 25 w 1448"/>
                  <a:gd name="T83" fmla="*/ 532 h 1632"/>
                  <a:gd name="T84" fmla="*/ 70 w 1448"/>
                  <a:gd name="T85" fmla="*/ 412 h 1632"/>
                  <a:gd name="T86" fmla="*/ 135 w 1448"/>
                  <a:gd name="T87" fmla="*/ 302 h 1632"/>
                  <a:gd name="T88" fmla="*/ 218 w 1448"/>
                  <a:gd name="T89" fmla="*/ 206 h 1632"/>
                  <a:gd name="T90" fmla="*/ 317 w 1448"/>
                  <a:gd name="T91" fmla="*/ 126 h 1632"/>
                  <a:gd name="T92" fmla="*/ 430 w 1448"/>
                  <a:gd name="T93" fmla="*/ 63 h 1632"/>
                  <a:gd name="T94" fmla="*/ 556 w 1448"/>
                  <a:gd name="T95" fmla="*/ 20 h 1632"/>
                  <a:gd name="T96" fmla="*/ 685 w 1448"/>
                  <a:gd name="T97" fmla="*/ 1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448" h="1632">
                    <a:moveTo>
                      <a:pt x="748" y="0"/>
                    </a:moveTo>
                    <a:lnTo>
                      <a:pt x="811" y="6"/>
                    </a:lnTo>
                    <a:lnTo>
                      <a:pt x="873" y="16"/>
                    </a:lnTo>
                    <a:lnTo>
                      <a:pt x="934" y="31"/>
                    </a:lnTo>
                    <a:lnTo>
                      <a:pt x="992" y="52"/>
                    </a:lnTo>
                    <a:lnTo>
                      <a:pt x="1048" y="77"/>
                    </a:lnTo>
                    <a:lnTo>
                      <a:pt x="1102" y="107"/>
                    </a:lnTo>
                    <a:lnTo>
                      <a:pt x="1154" y="141"/>
                    </a:lnTo>
                    <a:lnTo>
                      <a:pt x="1202" y="181"/>
                    </a:lnTo>
                    <a:lnTo>
                      <a:pt x="1247" y="224"/>
                    </a:lnTo>
                    <a:lnTo>
                      <a:pt x="1288" y="270"/>
                    </a:lnTo>
                    <a:lnTo>
                      <a:pt x="1325" y="321"/>
                    </a:lnTo>
                    <a:lnTo>
                      <a:pt x="1358" y="375"/>
                    </a:lnTo>
                    <a:lnTo>
                      <a:pt x="1387" y="432"/>
                    </a:lnTo>
                    <a:lnTo>
                      <a:pt x="1410" y="493"/>
                    </a:lnTo>
                    <a:lnTo>
                      <a:pt x="1429" y="556"/>
                    </a:lnTo>
                    <a:lnTo>
                      <a:pt x="1441" y="619"/>
                    </a:lnTo>
                    <a:lnTo>
                      <a:pt x="1447" y="683"/>
                    </a:lnTo>
                    <a:lnTo>
                      <a:pt x="1448" y="746"/>
                    </a:lnTo>
                    <a:lnTo>
                      <a:pt x="1444" y="809"/>
                    </a:lnTo>
                    <a:lnTo>
                      <a:pt x="1434" y="871"/>
                    </a:lnTo>
                    <a:lnTo>
                      <a:pt x="1419" y="930"/>
                    </a:lnTo>
                    <a:lnTo>
                      <a:pt x="1399" y="989"/>
                    </a:lnTo>
                    <a:lnTo>
                      <a:pt x="1375" y="1044"/>
                    </a:lnTo>
                    <a:lnTo>
                      <a:pt x="1345" y="1098"/>
                    </a:lnTo>
                    <a:lnTo>
                      <a:pt x="1311" y="1148"/>
                    </a:lnTo>
                    <a:lnTo>
                      <a:pt x="1273" y="1197"/>
                    </a:lnTo>
                    <a:lnTo>
                      <a:pt x="1231" y="1242"/>
                    </a:lnTo>
                    <a:lnTo>
                      <a:pt x="1185" y="1283"/>
                    </a:lnTo>
                    <a:lnTo>
                      <a:pt x="1137" y="1320"/>
                    </a:lnTo>
                    <a:lnTo>
                      <a:pt x="1084" y="1353"/>
                    </a:lnTo>
                    <a:lnTo>
                      <a:pt x="1026" y="1383"/>
                    </a:lnTo>
                    <a:lnTo>
                      <a:pt x="968" y="1406"/>
                    </a:lnTo>
                    <a:lnTo>
                      <a:pt x="905" y="1426"/>
                    </a:lnTo>
                    <a:lnTo>
                      <a:pt x="905" y="1632"/>
                    </a:lnTo>
                    <a:lnTo>
                      <a:pt x="543" y="1632"/>
                    </a:lnTo>
                    <a:lnTo>
                      <a:pt x="543" y="1251"/>
                    </a:lnTo>
                    <a:lnTo>
                      <a:pt x="547" y="1218"/>
                    </a:lnTo>
                    <a:lnTo>
                      <a:pt x="556" y="1188"/>
                    </a:lnTo>
                    <a:lnTo>
                      <a:pt x="571" y="1160"/>
                    </a:lnTo>
                    <a:lnTo>
                      <a:pt x="590" y="1136"/>
                    </a:lnTo>
                    <a:lnTo>
                      <a:pt x="614" y="1116"/>
                    </a:lnTo>
                    <a:lnTo>
                      <a:pt x="642" y="1102"/>
                    </a:lnTo>
                    <a:lnTo>
                      <a:pt x="671" y="1092"/>
                    </a:lnTo>
                    <a:lnTo>
                      <a:pt x="704" y="1089"/>
                    </a:lnTo>
                    <a:lnTo>
                      <a:pt x="754" y="1088"/>
                    </a:lnTo>
                    <a:lnTo>
                      <a:pt x="801" y="1080"/>
                    </a:lnTo>
                    <a:lnTo>
                      <a:pt x="848" y="1067"/>
                    </a:lnTo>
                    <a:lnTo>
                      <a:pt x="891" y="1047"/>
                    </a:lnTo>
                    <a:lnTo>
                      <a:pt x="931" y="1023"/>
                    </a:lnTo>
                    <a:lnTo>
                      <a:pt x="968" y="994"/>
                    </a:lnTo>
                    <a:lnTo>
                      <a:pt x="1001" y="960"/>
                    </a:lnTo>
                    <a:lnTo>
                      <a:pt x="1030" y="922"/>
                    </a:lnTo>
                    <a:lnTo>
                      <a:pt x="1054" y="882"/>
                    </a:lnTo>
                    <a:lnTo>
                      <a:pt x="1073" y="836"/>
                    </a:lnTo>
                    <a:lnTo>
                      <a:pt x="1086" y="789"/>
                    </a:lnTo>
                    <a:lnTo>
                      <a:pt x="1087" y="740"/>
                    </a:lnTo>
                    <a:lnTo>
                      <a:pt x="1081" y="692"/>
                    </a:lnTo>
                    <a:lnTo>
                      <a:pt x="1069" y="646"/>
                    </a:lnTo>
                    <a:lnTo>
                      <a:pt x="1052" y="602"/>
                    </a:lnTo>
                    <a:lnTo>
                      <a:pt x="1030" y="561"/>
                    </a:lnTo>
                    <a:lnTo>
                      <a:pt x="1002" y="524"/>
                    </a:lnTo>
                    <a:lnTo>
                      <a:pt x="970" y="491"/>
                    </a:lnTo>
                    <a:lnTo>
                      <a:pt x="934" y="461"/>
                    </a:lnTo>
                    <a:lnTo>
                      <a:pt x="893" y="437"/>
                    </a:lnTo>
                    <a:lnTo>
                      <a:pt x="850" y="418"/>
                    </a:lnTo>
                    <a:lnTo>
                      <a:pt x="804" y="403"/>
                    </a:lnTo>
                    <a:lnTo>
                      <a:pt x="755" y="397"/>
                    </a:lnTo>
                    <a:lnTo>
                      <a:pt x="705" y="396"/>
                    </a:lnTo>
                    <a:lnTo>
                      <a:pt x="657" y="401"/>
                    </a:lnTo>
                    <a:lnTo>
                      <a:pt x="612" y="412"/>
                    </a:lnTo>
                    <a:lnTo>
                      <a:pt x="568" y="430"/>
                    </a:lnTo>
                    <a:lnTo>
                      <a:pt x="527" y="453"/>
                    </a:lnTo>
                    <a:lnTo>
                      <a:pt x="489" y="481"/>
                    </a:lnTo>
                    <a:lnTo>
                      <a:pt x="456" y="513"/>
                    </a:lnTo>
                    <a:lnTo>
                      <a:pt x="427" y="549"/>
                    </a:lnTo>
                    <a:lnTo>
                      <a:pt x="402" y="589"/>
                    </a:lnTo>
                    <a:lnTo>
                      <a:pt x="384" y="633"/>
                    </a:lnTo>
                    <a:lnTo>
                      <a:pt x="369" y="679"/>
                    </a:lnTo>
                    <a:lnTo>
                      <a:pt x="361" y="727"/>
                    </a:lnTo>
                    <a:lnTo>
                      <a:pt x="0" y="727"/>
                    </a:lnTo>
                    <a:lnTo>
                      <a:pt x="2" y="661"/>
                    </a:lnTo>
                    <a:lnTo>
                      <a:pt x="11" y="595"/>
                    </a:lnTo>
                    <a:lnTo>
                      <a:pt x="25" y="532"/>
                    </a:lnTo>
                    <a:lnTo>
                      <a:pt x="45" y="471"/>
                    </a:lnTo>
                    <a:lnTo>
                      <a:pt x="70" y="412"/>
                    </a:lnTo>
                    <a:lnTo>
                      <a:pt x="100" y="356"/>
                    </a:lnTo>
                    <a:lnTo>
                      <a:pt x="135" y="302"/>
                    </a:lnTo>
                    <a:lnTo>
                      <a:pt x="174" y="253"/>
                    </a:lnTo>
                    <a:lnTo>
                      <a:pt x="218" y="206"/>
                    </a:lnTo>
                    <a:lnTo>
                      <a:pt x="266" y="163"/>
                    </a:lnTo>
                    <a:lnTo>
                      <a:pt x="317" y="126"/>
                    </a:lnTo>
                    <a:lnTo>
                      <a:pt x="371" y="92"/>
                    </a:lnTo>
                    <a:lnTo>
                      <a:pt x="430" y="63"/>
                    </a:lnTo>
                    <a:lnTo>
                      <a:pt x="492" y="39"/>
                    </a:lnTo>
                    <a:lnTo>
                      <a:pt x="556" y="20"/>
                    </a:lnTo>
                    <a:lnTo>
                      <a:pt x="621" y="8"/>
                    </a:lnTo>
                    <a:lnTo>
                      <a:pt x="685" y="1"/>
                    </a:lnTo>
                    <a:lnTo>
                      <a:pt x="74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mc:AlternateContent xmlns:mc="http://schemas.openxmlformats.org/markup-compatibility/2006" xmlns:p14="http://schemas.microsoft.com/office/powerpoint/2010/main">
        <mc:Choice Requires="p14">
          <p:contentPart p14:bwMode="gray" r:id="rId7">
            <p14:nvContentPartPr>
              <p14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14:cNvPr>
              <p14:cNvContentPartPr/>
              <p14:nvPr/>
            </p14:nvContentPartPr>
            <p14:xfrm>
              <a:off x="3032773" y="3118642"/>
              <a:ext cx="763011" cy="338788"/>
            </p14:xfrm>
          </p:contentPart>
        </mc:Choice>
        <mc:Fallback xmlns="">
          <p:pic>
            <p:nvPicPr>
              <p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020170" y="3106041"/>
                <a:ext cx="788217" cy="363990"/>
              </a:xfrm>
              <a:prstGeom prst="rect">
                <a:avLst/>
              </a:prstGeom>
            </p:spPr>
          </p:pic>
        </mc:Fallback>
      </mc:AlternateContent>
      <p:sp>
        <p:nvSpPr>
          <p:cNvPr id="149" name="Freeform 120">
            <a:extLst>
              <a:ext uri="{FF2B5EF4-FFF2-40B4-BE49-F238E27FC236}">
                <a16:creationId xmlns:a16="http://schemas.microsoft.com/office/drawing/2014/main" id="{1CFD1689-381E-47C4-9FCD-892FBB4E2B13}"/>
              </a:ext>
            </a:extLst>
          </p:cNvPr>
          <p:cNvSpPr>
            <a:spLocks noEditPoints="1"/>
          </p:cNvSpPr>
          <p:nvPr/>
        </p:nvSpPr>
        <p:spPr bwMode="gray">
          <a:xfrm>
            <a:off x="4129651" y="3074770"/>
            <a:ext cx="628441" cy="460754"/>
          </a:xfrm>
          <a:custGeom>
            <a:avLst/>
            <a:gdLst>
              <a:gd name="T0" fmla="*/ 168 w 3357"/>
              <a:gd name="T1" fmla="*/ 168 h 3238"/>
              <a:gd name="T2" fmla="*/ 168 w 3357"/>
              <a:gd name="T3" fmla="*/ 2467 h 3238"/>
              <a:gd name="T4" fmla="*/ 1211 w 3357"/>
              <a:gd name="T5" fmla="*/ 2467 h 3238"/>
              <a:gd name="T6" fmla="*/ 1230 w 3357"/>
              <a:gd name="T7" fmla="*/ 2469 h 3238"/>
              <a:gd name="T8" fmla="*/ 1248 w 3357"/>
              <a:gd name="T9" fmla="*/ 2476 h 3238"/>
              <a:gd name="T10" fmla="*/ 1265 w 3357"/>
              <a:gd name="T11" fmla="*/ 2486 h 3238"/>
              <a:gd name="T12" fmla="*/ 1278 w 3357"/>
              <a:gd name="T13" fmla="*/ 2501 h 3238"/>
              <a:gd name="T14" fmla="*/ 1668 w 3357"/>
              <a:gd name="T15" fmla="*/ 3018 h 3238"/>
              <a:gd name="T16" fmla="*/ 2086 w 3357"/>
              <a:gd name="T17" fmla="*/ 2499 h 3238"/>
              <a:gd name="T18" fmla="*/ 2099 w 3357"/>
              <a:gd name="T19" fmla="*/ 2485 h 3238"/>
              <a:gd name="T20" fmla="*/ 2115 w 3357"/>
              <a:gd name="T21" fmla="*/ 2475 h 3238"/>
              <a:gd name="T22" fmla="*/ 2132 w 3357"/>
              <a:gd name="T23" fmla="*/ 2469 h 3238"/>
              <a:gd name="T24" fmla="*/ 2151 w 3357"/>
              <a:gd name="T25" fmla="*/ 2467 h 3238"/>
              <a:gd name="T26" fmla="*/ 3188 w 3357"/>
              <a:gd name="T27" fmla="*/ 2467 h 3238"/>
              <a:gd name="T28" fmla="*/ 3188 w 3357"/>
              <a:gd name="T29" fmla="*/ 168 h 3238"/>
              <a:gd name="T30" fmla="*/ 168 w 3357"/>
              <a:gd name="T31" fmla="*/ 168 h 3238"/>
              <a:gd name="T32" fmla="*/ 85 w 3357"/>
              <a:gd name="T33" fmla="*/ 0 h 3238"/>
              <a:gd name="T34" fmla="*/ 3272 w 3357"/>
              <a:gd name="T35" fmla="*/ 0 h 3238"/>
              <a:gd name="T36" fmla="*/ 3295 w 3357"/>
              <a:gd name="T37" fmla="*/ 3 h 3238"/>
              <a:gd name="T38" fmla="*/ 3315 w 3357"/>
              <a:gd name="T39" fmla="*/ 11 h 3238"/>
              <a:gd name="T40" fmla="*/ 3331 w 3357"/>
              <a:gd name="T41" fmla="*/ 24 h 3238"/>
              <a:gd name="T42" fmla="*/ 3345 w 3357"/>
              <a:gd name="T43" fmla="*/ 42 h 3238"/>
              <a:gd name="T44" fmla="*/ 3354 w 3357"/>
              <a:gd name="T45" fmla="*/ 62 h 3238"/>
              <a:gd name="T46" fmla="*/ 3357 w 3357"/>
              <a:gd name="T47" fmla="*/ 85 h 3238"/>
              <a:gd name="T48" fmla="*/ 3357 w 3357"/>
              <a:gd name="T49" fmla="*/ 2551 h 3238"/>
              <a:gd name="T50" fmla="*/ 3354 w 3357"/>
              <a:gd name="T51" fmla="*/ 2573 h 3238"/>
              <a:gd name="T52" fmla="*/ 3345 w 3357"/>
              <a:gd name="T53" fmla="*/ 2593 h 3238"/>
              <a:gd name="T54" fmla="*/ 3331 w 3357"/>
              <a:gd name="T55" fmla="*/ 2611 h 3238"/>
              <a:gd name="T56" fmla="*/ 3315 w 3357"/>
              <a:gd name="T57" fmla="*/ 2624 h 3238"/>
              <a:gd name="T58" fmla="*/ 3295 w 3357"/>
              <a:gd name="T59" fmla="*/ 2632 h 3238"/>
              <a:gd name="T60" fmla="*/ 3272 w 3357"/>
              <a:gd name="T61" fmla="*/ 2635 h 3238"/>
              <a:gd name="T62" fmla="*/ 2191 w 3357"/>
              <a:gd name="T63" fmla="*/ 2635 h 3238"/>
              <a:gd name="T64" fmla="*/ 1731 w 3357"/>
              <a:gd name="T65" fmla="*/ 3206 h 3238"/>
              <a:gd name="T66" fmla="*/ 1718 w 3357"/>
              <a:gd name="T67" fmla="*/ 3220 h 3238"/>
              <a:gd name="T68" fmla="*/ 1701 w 3357"/>
              <a:gd name="T69" fmla="*/ 3230 h 3238"/>
              <a:gd name="T70" fmla="*/ 1684 w 3357"/>
              <a:gd name="T71" fmla="*/ 3236 h 3238"/>
              <a:gd name="T72" fmla="*/ 1666 w 3357"/>
              <a:gd name="T73" fmla="*/ 3238 h 3238"/>
              <a:gd name="T74" fmla="*/ 1665 w 3357"/>
              <a:gd name="T75" fmla="*/ 3238 h 3238"/>
              <a:gd name="T76" fmla="*/ 1645 w 3357"/>
              <a:gd name="T77" fmla="*/ 3235 h 3238"/>
              <a:gd name="T78" fmla="*/ 1627 w 3357"/>
              <a:gd name="T79" fmla="*/ 3229 h 3238"/>
              <a:gd name="T80" fmla="*/ 1612 w 3357"/>
              <a:gd name="T81" fmla="*/ 3217 h 3238"/>
              <a:gd name="T82" fmla="*/ 1599 w 3357"/>
              <a:gd name="T83" fmla="*/ 3204 h 3238"/>
              <a:gd name="T84" fmla="*/ 1169 w 3357"/>
              <a:gd name="T85" fmla="*/ 2635 h 3238"/>
              <a:gd name="T86" fmla="*/ 85 w 3357"/>
              <a:gd name="T87" fmla="*/ 2635 h 3238"/>
              <a:gd name="T88" fmla="*/ 62 w 3357"/>
              <a:gd name="T89" fmla="*/ 2632 h 3238"/>
              <a:gd name="T90" fmla="*/ 42 w 3357"/>
              <a:gd name="T91" fmla="*/ 2624 h 3238"/>
              <a:gd name="T92" fmla="*/ 24 w 3357"/>
              <a:gd name="T93" fmla="*/ 2611 h 3238"/>
              <a:gd name="T94" fmla="*/ 11 w 3357"/>
              <a:gd name="T95" fmla="*/ 2593 h 3238"/>
              <a:gd name="T96" fmla="*/ 3 w 3357"/>
              <a:gd name="T97" fmla="*/ 2573 h 3238"/>
              <a:gd name="T98" fmla="*/ 0 w 3357"/>
              <a:gd name="T99" fmla="*/ 2551 h 3238"/>
              <a:gd name="T100" fmla="*/ 0 w 3357"/>
              <a:gd name="T101" fmla="*/ 85 h 3238"/>
              <a:gd name="T102" fmla="*/ 3 w 3357"/>
              <a:gd name="T103" fmla="*/ 62 h 3238"/>
              <a:gd name="T104" fmla="*/ 11 w 3357"/>
              <a:gd name="T105" fmla="*/ 42 h 3238"/>
              <a:gd name="T106" fmla="*/ 24 w 3357"/>
              <a:gd name="T107" fmla="*/ 24 h 3238"/>
              <a:gd name="T108" fmla="*/ 42 w 3357"/>
              <a:gd name="T109" fmla="*/ 11 h 3238"/>
              <a:gd name="T110" fmla="*/ 62 w 3357"/>
              <a:gd name="T111" fmla="*/ 3 h 3238"/>
              <a:gd name="T112" fmla="*/ 85 w 3357"/>
              <a:gd name="T113" fmla="*/ 0 h 3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57" h="3238">
                <a:moveTo>
                  <a:pt x="168" y="168"/>
                </a:moveTo>
                <a:lnTo>
                  <a:pt x="168" y="2467"/>
                </a:lnTo>
                <a:lnTo>
                  <a:pt x="1211" y="2467"/>
                </a:lnTo>
                <a:lnTo>
                  <a:pt x="1230" y="2469"/>
                </a:lnTo>
                <a:lnTo>
                  <a:pt x="1248" y="2476"/>
                </a:lnTo>
                <a:lnTo>
                  <a:pt x="1265" y="2486"/>
                </a:lnTo>
                <a:lnTo>
                  <a:pt x="1278" y="2501"/>
                </a:lnTo>
                <a:lnTo>
                  <a:pt x="1668" y="3018"/>
                </a:lnTo>
                <a:lnTo>
                  <a:pt x="2086" y="2499"/>
                </a:lnTo>
                <a:lnTo>
                  <a:pt x="2099" y="2485"/>
                </a:lnTo>
                <a:lnTo>
                  <a:pt x="2115" y="2475"/>
                </a:lnTo>
                <a:lnTo>
                  <a:pt x="2132" y="2469"/>
                </a:lnTo>
                <a:lnTo>
                  <a:pt x="2151" y="2467"/>
                </a:lnTo>
                <a:lnTo>
                  <a:pt x="3188" y="2467"/>
                </a:lnTo>
                <a:lnTo>
                  <a:pt x="3188" y="168"/>
                </a:lnTo>
                <a:lnTo>
                  <a:pt x="168" y="168"/>
                </a:lnTo>
                <a:close/>
                <a:moveTo>
                  <a:pt x="85" y="0"/>
                </a:moveTo>
                <a:lnTo>
                  <a:pt x="3272" y="0"/>
                </a:lnTo>
                <a:lnTo>
                  <a:pt x="3295" y="3"/>
                </a:lnTo>
                <a:lnTo>
                  <a:pt x="3315" y="11"/>
                </a:lnTo>
                <a:lnTo>
                  <a:pt x="3331" y="24"/>
                </a:lnTo>
                <a:lnTo>
                  <a:pt x="3345" y="42"/>
                </a:lnTo>
                <a:lnTo>
                  <a:pt x="3354" y="62"/>
                </a:lnTo>
                <a:lnTo>
                  <a:pt x="3357" y="85"/>
                </a:lnTo>
                <a:lnTo>
                  <a:pt x="3357" y="2551"/>
                </a:lnTo>
                <a:lnTo>
                  <a:pt x="3354" y="2573"/>
                </a:lnTo>
                <a:lnTo>
                  <a:pt x="3345" y="2593"/>
                </a:lnTo>
                <a:lnTo>
                  <a:pt x="3331" y="2611"/>
                </a:lnTo>
                <a:lnTo>
                  <a:pt x="3315" y="2624"/>
                </a:lnTo>
                <a:lnTo>
                  <a:pt x="3295" y="2632"/>
                </a:lnTo>
                <a:lnTo>
                  <a:pt x="3272" y="2635"/>
                </a:lnTo>
                <a:lnTo>
                  <a:pt x="2191" y="2635"/>
                </a:lnTo>
                <a:lnTo>
                  <a:pt x="1731" y="3206"/>
                </a:lnTo>
                <a:lnTo>
                  <a:pt x="1718" y="3220"/>
                </a:lnTo>
                <a:lnTo>
                  <a:pt x="1701" y="3230"/>
                </a:lnTo>
                <a:lnTo>
                  <a:pt x="1684" y="3236"/>
                </a:lnTo>
                <a:lnTo>
                  <a:pt x="1666" y="3238"/>
                </a:lnTo>
                <a:lnTo>
                  <a:pt x="1665" y="3238"/>
                </a:lnTo>
                <a:lnTo>
                  <a:pt x="1645" y="3235"/>
                </a:lnTo>
                <a:lnTo>
                  <a:pt x="1627" y="3229"/>
                </a:lnTo>
                <a:lnTo>
                  <a:pt x="1612" y="3217"/>
                </a:lnTo>
                <a:lnTo>
                  <a:pt x="1599" y="3204"/>
                </a:lnTo>
                <a:lnTo>
                  <a:pt x="1169" y="2635"/>
                </a:lnTo>
                <a:lnTo>
                  <a:pt x="85" y="2635"/>
                </a:lnTo>
                <a:lnTo>
                  <a:pt x="62" y="2632"/>
                </a:lnTo>
                <a:lnTo>
                  <a:pt x="42" y="2624"/>
                </a:lnTo>
                <a:lnTo>
                  <a:pt x="24" y="2611"/>
                </a:lnTo>
                <a:lnTo>
                  <a:pt x="11" y="2593"/>
                </a:lnTo>
                <a:lnTo>
                  <a:pt x="3" y="2573"/>
                </a:lnTo>
                <a:lnTo>
                  <a:pt x="0" y="2551"/>
                </a:lnTo>
                <a:lnTo>
                  <a:pt x="0" y="85"/>
                </a:lnTo>
                <a:lnTo>
                  <a:pt x="3" y="62"/>
                </a:lnTo>
                <a:lnTo>
                  <a:pt x="11" y="42"/>
                </a:lnTo>
                <a:lnTo>
                  <a:pt x="24" y="24"/>
                </a:lnTo>
                <a:lnTo>
                  <a:pt x="42" y="11"/>
                </a:lnTo>
                <a:lnTo>
                  <a:pt x="62" y="3"/>
                </a:lnTo>
                <a:lnTo>
                  <a:pt x="85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1" name="Freeform 129">
            <a:extLst>
              <a:ext uri="{FF2B5EF4-FFF2-40B4-BE49-F238E27FC236}">
                <a16:creationId xmlns:a16="http://schemas.microsoft.com/office/drawing/2014/main" id="{098DEF57-51F7-4A3D-9FD4-69A6CEF01FDC}"/>
              </a:ext>
            </a:extLst>
          </p:cNvPr>
          <p:cNvSpPr>
            <a:spLocks noEditPoints="1"/>
          </p:cNvSpPr>
          <p:nvPr/>
        </p:nvSpPr>
        <p:spPr bwMode="gray">
          <a:xfrm>
            <a:off x="5053459" y="3029641"/>
            <a:ext cx="545713" cy="482443"/>
          </a:xfrm>
          <a:custGeom>
            <a:avLst/>
            <a:gdLst>
              <a:gd name="T0" fmla="*/ 1395 w 3379"/>
              <a:gd name="T1" fmla="*/ 194 h 2987"/>
              <a:gd name="T2" fmla="*/ 1034 w 3379"/>
              <a:gd name="T3" fmla="*/ 299 h 2987"/>
              <a:gd name="T4" fmla="*/ 718 w 3379"/>
              <a:gd name="T5" fmla="*/ 475 h 2987"/>
              <a:gd name="T6" fmla="*/ 463 w 3379"/>
              <a:gd name="T7" fmla="*/ 712 h 2987"/>
              <a:gd name="T8" fmla="*/ 280 w 3379"/>
              <a:gd name="T9" fmla="*/ 998 h 2987"/>
              <a:gd name="T10" fmla="*/ 182 w 3379"/>
              <a:gd name="T11" fmla="*/ 1321 h 2987"/>
              <a:gd name="T12" fmla="*/ 182 w 3379"/>
              <a:gd name="T13" fmla="*/ 1666 h 2987"/>
              <a:gd name="T14" fmla="*/ 280 w 3379"/>
              <a:gd name="T15" fmla="*/ 1990 h 2987"/>
              <a:gd name="T16" fmla="*/ 463 w 3379"/>
              <a:gd name="T17" fmla="*/ 2275 h 2987"/>
              <a:gd name="T18" fmla="*/ 718 w 3379"/>
              <a:gd name="T19" fmla="*/ 2512 h 2987"/>
              <a:gd name="T20" fmla="*/ 1034 w 3379"/>
              <a:gd name="T21" fmla="*/ 2688 h 2987"/>
              <a:gd name="T22" fmla="*/ 1395 w 3379"/>
              <a:gd name="T23" fmla="*/ 2793 h 2987"/>
              <a:gd name="T24" fmla="*/ 1788 w 3379"/>
              <a:gd name="T25" fmla="*/ 2815 h 2987"/>
              <a:gd name="T26" fmla="*/ 2169 w 3379"/>
              <a:gd name="T27" fmla="*/ 2751 h 2987"/>
              <a:gd name="T28" fmla="*/ 2520 w 3379"/>
              <a:gd name="T29" fmla="*/ 2603 h 2987"/>
              <a:gd name="T30" fmla="*/ 2577 w 3379"/>
              <a:gd name="T31" fmla="*/ 2593 h 2987"/>
              <a:gd name="T32" fmla="*/ 2722 w 3379"/>
              <a:gd name="T33" fmla="*/ 2661 h 2987"/>
              <a:gd name="T34" fmla="*/ 2989 w 3379"/>
              <a:gd name="T35" fmla="*/ 2713 h 2987"/>
              <a:gd name="T36" fmla="*/ 2944 w 3379"/>
              <a:gd name="T37" fmla="*/ 2576 h 2987"/>
              <a:gd name="T38" fmla="*/ 2854 w 3379"/>
              <a:gd name="T39" fmla="*/ 2390 h 2987"/>
              <a:gd name="T40" fmla="*/ 2876 w 3379"/>
              <a:gd name="T41" fmla="*/ 2322 h 2987"/>
              <a:gd name="T42" fmla="*/ 3073 w 3379"/>
              <a:gd name="T43" fmla="*/ 2045 h 2987"/>
              <a:gd name="T44" fmla="*/ 3185 w 3379"/>
              <a:gd name="T45" fmla="*/ 1737 h 2987"/>
              <a:gd name="T46" fmla="*/ 3207 w 3379"/>
              <a:gd name="T47" fmla="*/ 1406 h 2987"/>
              <a:gd name="T48" fmla="*/ 3133 w 3379"/>
              <a:gd name="T49" fmla="*/ 1076 h 2987"/>
              <a:gd name="T50" fmla="*/ 2970 w 3379"/>
              <a:gd name="T51" fmla="*/ 780 h 2987"/>
              <a:gd name="T52" fmla="*/ 2731 w 3379"/>
              <a:gd name="T53" fmla="*/ 529 h 2987"/>
              <a:gd name="T54" fmla="*/ 2429 w 3379"/>
              <a:gd name="T55" fmla="*/ 336 h 2987"/>
              <a:gd name="T56" fmla="*/ 2078 w 3379"/>
              <a:gd name="T57" fmla="*/ 213 h 2987"/>
              <a:gd name="T58" fmla="*/ 1689 w 3379"/>
              <a:gd name="T59" fmla="*/ 169 h 2987"/>
              <a:gd name="T60" fmla="*/ 2004 w 3379"/>
              <a:gd name="T61" fmla="*/ 26 h 2987"/>
              <a:gd name="T62" fmla="*/ 2392 w 3379"/>
              <a:gd name="T63" fmla="*/ 135 h 2987"/>
              <a:gd name="T64" fmla="*/ 2735 w 3379"/>
              <a:gd name="T65" fmla="*/ 321 h 2987"/>
              <a:gd name="T66" fmla="*/ 3016 w 3379"/>
              <a:gd name="T67" fmla="*/ 570 h 2987"/>
              <a:gd name="T68" fmla="*/ 3225 w 3379"/>
              <a:gd name="T69" fmla="*/ 872 h 2987"/>
              <a:gd name="T70" fmla="*/ 3349 w 3379"/>
              <a:gd name="T71" fmla="*/ 1215 h 2987"/>
              <a:gd name="T72" fmla="*/ 3376 w 3379"/>
              <a:gd name="T73" fmla="*/ 1582 h 2987"/>
              <a:gd name="T74" fmla="*/ 3305 w 3379"/>
              <a:gd name="T75" fmla="*/ 1928 h 2987"/>
              <a:gd name="T76" fmla="*/ 3146 w 3379"/>
              <a:gd name="T77" fmla="*/ 2249 h 2987"/>
              <a:gd name="T78" fmla="*/ 3089 w 3379"/>
              <a:gd name="T79" fmla="*/ 2490 h 2987"/>
              <a:gd name="T80" fmla="*/ 3239 w 3379"/>
              <a:gd name="T81" fmla="*/ 2636 h 2987"/>
              <a:gd name="T82" fmla="*/ 3295 w 3379"/>
              <a:gd name="T83" fmla="*/ 2720 h 2987"/>
              <a:gd name="T84" fmla="*/ 3273 w 3379"/>
              <a:gd name="T85" fmla="*/ 2820 h 2987"/>
              <a:gd name="T86" fmla="*/ 3187 w 3379"/>
              <a:gd name="T87" fmla="*/ 2871 h 2987"/>
              <a:gd name="T88" fmla="*/ 2883 w 3379"/>
              <a:gd name="T89" fmla="*/ 2873 h 2987"/>
              <a:gd name="T90" fmla="*/ 2621 w 3379"/>
              <a:gd name="T91" fmla="*/ 2802 h 2987"/>
              <a:gd name="T92" fmla="*/ 2287 w 3379"/>
              <a:gd name="T93" fmla="*/ 2890 h 2987"/>
              <a:gd name="T94" fmla="*/ 1894 w 3379"/>
              <a:gd name="T95" fmla="*/ 2977 h 2987"/>
              <a:gd name="T96" fmla="*/ 1478 w 3379"/>
              <a:gd name="T97" fmla="*/ 2975 h 2987"/>
              <a:gd name="T98" fmla="*/ 1080 w 3379"/>
              <a:gd name="T99" fmla="*/ 2886 h 2987"/>
              <a:gd name="T100" fmla="*/ 725 w 3379"/>
              <a:gd name="T101" fmla="*/ 2719 h 2987"/>
              <a:gd name="T102" fmla="*/ 427 w 3379"/>
              <a:gd name="T103" fmla="*/ 2485 h 2987"/>
              <a:gd name="T104" fmla="*/ 199 w 3379"/>
              <a:gd name="T105" fmla="*/ 2195 h 2987"/>
              <a:gd name="T106" fmla="*/ 51 w 3379"/>
              <a:gd name="T107" fmla="*/ 1861 h 2987"/>
              <a:gd name="T108" fmla="*/ 0 w 3379"/>
              <a:gd name="T109" fmla="*/ 1493 h 2987"/>
              <a:gd name="T110" fmla="*/ 51 w 3379"/>
              <a:gd name="T111" fmla="*/ 1126 h 2987"/>
              <a:gd name="T112" fmla="*/ 198 w 3379"/>
              <a:gd name="T113" fmla="*/ 792 h 2987"/>
              <a:gd name="T114" fmla="*/ 427 w 3379"/>
              <a:gd name="T115" fmla="*/ 503 h 2987"/>
              <a:gd name="T116" fmla="*/ 724 w 3379"/>
              <a:gd name="T117" fmla="*/ 268 h 2987"/>
              <a:gd name="T118" fmla="*/ 1079 w 3379"/>
              <a:gd name="T119" fmla="*/ 101 h 2987"/>
              <a:gd name="T120" fmla="*/ 1477 w 3379"/>
              <a:gd name="T121" fmla="*/ 11 h 2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79" h="2987">
                <a:moveTo>
                  <a:pt x="1689" y="169"/>
                </a:moveTo>
                <a:lnTo>
                  <a:pt x="1590" y="172"/>
                </a:lnTo>
                <a:lnTo>
                  <a:pt x="1492" y="181"/>
                </a:lnTo>
                <a:lnTo>
                  <a:pt x="1395" y="194"/>
                </a:lnTo>
                <a:lnTo>
                  <a:pt x="1301" y="213"/>
                </a:lnTo>
                <a:lnTo>
                  <a:pt x="1210" y="237"/>
                </a:lnTo>
                <a:lnTo>
                  <a:pt x="1121" y="266"/>
                </a:lnTo>
                <a:lnTo>
                  <a:pt x="1034" y="299"/>
                </a:lnTo>
                <a:lnTo>
                  <a:pt x="950" y="336"/>
                </a:lnTo>
                <a:lnTo>
                  <a:pt x="870" y="378"/>
                </a:lnTo>
                <a:lnTo>
                  <a:pt x="792" y="426"/>
                </a:lnTo>
                <a:lnTo>
                  <a:pt x="718" y="475"/>
                </a:lnTo>
                <a:lnTo>
                  <a:pt x="649" y="529"/>
                </a:lnTo>
                <a:lnTo>
                  <a:pt x="583" y="587"/>
                </a:lnTo>
                <a:lnTo>
                  <a:pt x="520" y="648"/>
                </a:lnTo>
                <a:lnTo>
                  <a:pt x="463" y="712"/>
                </a:lnTo>
                <a:lnTo>
                  <a:pt x="410" y="780"/>
                </a:lnTo>
                <a:lnTo>
                  <a:pt x="362" y="849"/>
                </a:lnTo>
                <a:lnTo>
                  <a:pt x="318" y="922"/>
                </a:lnTo>
                <a:lnTo>
                  <a:pt x="280" y="998"/>
                </a:lnTo>
                <a:lnTo>
                  <a:pt x="247" y="1076"/>
                </a:lnTo>
                <a:lnTo>
                  <a:pt x="219" y="1155"/>
                </a:lnTo>
                <a:lnTo>
                  <a:pt x="198" y="1237"/>
                </a:lnTo>
                <a:lnTo>
                  <a:pt x="182" y="1321"/>
                </a:lnTo>
                <a:lnTo>
                  <a:pt x="172" y="1406"/>
                </a:lnTo>
                <a:lnTo>
                  <a:pt x="169" y="1493"/>
                </a:lnTo>
                <a:lnTo>
                  <a:pt x="172" y="1581"/>
                </a:lnTo>
                <a:lnTo>
                  <a:pt x="182" y="1666"/>
                </a:lnTo>
                <a:lnTo>
                  <a:pt x="198" y="1750"/>
                </a:lnTo>
                <a:lnTo>
                  <a:pt x="219" y="1832"/>
                </a:lnTo>
                <a:lnTo>
                  <a:pt x="247" y="1912"/>
                </a:lnTo>
                <a:lnTo>
                  <a:pt x="280" y="1990"/>
                </a:lnTo>
                <a:lnTo>
                  <a:pt x="318" y="2065"/>
                </a:lnTo>
                <a:lnTo>
                  <a:pt x="362" y="2138"/>
                </a:lnTo>
                <a:lnTo>
                  <a:pt x="410" y="2208"/>
                </a:lnTo>
                <a:lnTo>
                  <a:pt x="463" y="2275"/>
                </a:lnTo>
                <a:lnTo>
                  <a:pt x="520" y="2340"/>
                </a:lnTo>
                <a:lnTo>
                  <a:pt x="583" y="2400"/>
                </a:lnTo>
                <a:lnTo>
                  <a:pt x="649" y="2458"/>
                </a:lnTo>
                <a:lnTo>
                  <a:pt x="718" y="2512"/>
                </a:lnTo>
                <a:lnTo>
                  <a:pt x="792" y="2562"/>
                </a:lnTo>
                <a:lnTo>
                  <a:pt x="870" y="2608"/>
                </a:lnTo>
                <a:lnTo>
                  <a:pt x="950" y="2650"/>
                </a:lnTo>
                <a:lnTo>
                  <a:pt x="1034" y="2688"/>
                </a:lnTo>
                <a:lnTo>
                  <a:pt x="1121" y="2722"/>
                </a:lnTo>
                <a:lnTo>
                  <a:pt x="1210" y="2751"/>
                </a:lnTo>
                <a:lnTo>
                  <a:pt x="1301" y="2774"/>
                </a:lnTo>
                <a:lnTo>
                  <a:pt x="1395" y="2793"/>
                </a:lnTo>
                <a:lnTo>
                  <a:pt x="1492" y="2807"/>
                </a:lnTo>
                <a:lnTo>
                  <a:pt x="1590" y="2815"/>
                </a:lnTo>
                <a:lnTo>
                  <a:pt x="1689" y="2819"/>
                </a:lnTo>
                <a:lnTo>
                  <a:pt x="1788" y="2815"/>
                </a:lnTo>
                <a:lnTo>
                  <a:pt x="1885" y="2807"/>
                </a:lnTo>
                <a:lnTo>
                  <a:pt x="1981" y="2794"/>
                </a:lnTo>
                <a:lnTo>
                  <a:pt x="2076" y="2774"/>
                </a:lnTo>
                <a:lnTo>
                  <a:pt x="2169" y="2751"/>
                </a:lnTo>
                <a:lnTo>
                  <a:pt x="2260" y="2721"/>
                </a:lnTo>
                <a:lnTo>
                  <a:pt x="2349" y="2687"/>
                </a:lnTo>
                <a:lnTo>
                  <a:pt x="2436" y="2647"/>
                </a:lnTo>
                <a:lnTo>
                  <a:pt x="2520" y="2603"/>
                </a:lnTo>
                <a:lnTo>
                  <a:pt x="2534" y="2597"/>
                </a:lnTo>
                <a:lnTo>
                  <a:pt x="2547" y="2593"/>
                </a:lnTo>
                <a:lnTo>
                  <a:pt x="2562" y="2592"/>
                </a:lnTo>
                <a:lnTo>
                  <a:pt x="2577" y="2593"/>
                </a:lnTo>
                <a:lnTo>
                  <a:pt x="2592" y="2597"/>
                </a:lnTo>
                <a:lnTo>
                  <a:pt x="2605" y="2603"/>
                </a:lnTo>
                <a:lnTo>
                  <a:pt x="2663" y="2635"/>
                </a:lnTo>
                <a:lnTo>
                  <a:pt x="2722" y="2661"/>
                </a:lnTo>
                <a:lnTo>
                  <a:pt x="2786" y="2681"/>
                </a:lnTo>
                <a:lnTo>
                  <a:pt x="2851" y="2697"/>
                </a:lnTo>
                <a:lnTo>
                  <a:pt x="2919" y="2708"/>
                </a:lnTo>
                <a:lnTo>
                  <a:pt x="2989" y="2713"/>
                </a:lnTo>
                <a:lnTo>
                  <a:pt x="3061" y="2713"/>
                </a:lnTo>
                <a:lnTo>
                  <a:pt x="3018" y="2671"/>
                </a:lnTo>
                <a:lnTo>
                  <a:pt x="2979" y="2626"/>
                </a:lnTo>
                <a:lnTo>
                  <a:pt x="2944" y="2576"/>
                </a:lnTo>
                <a:lnTo>
                  <a:pt x="2912" y="2524"/>
                </a:lnTo>
                <a:lnTo>
                  <a:pt x="2883" y="2468"/>
                </a:lnTo>
                <a:lnTo>
                  <a:pt x="2858" y="2408"/>
                </a:lnTo>
                <a:lnTo>
                  <a:pt x="2854" y="2390"/>
                </a:lnTo>
                <a:lnTo>
                  <a:pt x="2853" y="2371"/>
                </a:lnTo>
                <a:lnTo>
                  <a:pt x="2857" y="2354"/>
                </a:lnTo>
                <a:lnTo>
                  <a:pt x="2865" y="2336"/>
                </a:lnTo>
                <a:lnTo>
                  <a:pt x="2876" y="2322"/>
                </a:lnTo>
                <a:lnTo>
                  <a:pt x="2933" y="2255"/>
                </a:lnTo>
                <a:lnTo>
                  <a:pt x="2985" y="2188"/>
                </a:lnTo>
                <a:lnTo>
                  <a:pt x="3032" y="2117"/>
                </a:lnTo>
                <a:lnTo>
                  <a:pt x="3073" y="2045"/>
                </a:lnTo>
                <a:lnTo>
                  <a:pt x="3109" y="1970"/>
                </a:lnTo>
                <a:lnTo>
                  <a:pt x="3140" y="1894"/>
                </a:lnTo>
                <a:lnTo>
                  <a:pt x="3165" y="1817"/>
                </a:lnTo>
                <a:lnTo>
                  <a:pt x="3185" y="1737"/>
                </a:lnTo>
                <a:lnTo>
                  <a:pt x="3199" y="1657"/>
                </a:lnTo>
                <a:lnTo>
                  <a:pt x="3208" y="1576"/>
                </a:lnTo>
                <a:lnTo>
                  <a:pt x="3211" y="1493"/>
                </a:lnTo>
                <a:lnTo>
                  <a:pt x="3207" y="1406"/>
                </a:lnTo>
                <a:lnTo>
                  <a:pt x="3198" y="1321"/>
                </a:lnTo>
                <a:lnTo>
                  <a:pt x="3182" y="1237"/>
                </a:lnTo>
                <a:lnTo>
                  <a:pt x="3161" y="1155"/>
                </a:lnTo>
                <a:lnTo>
                  <a:pt x="3133" y="1076"/>
                </a:lnTo>
                <a:lnTo>
                  <a:pt x="3100" y="998"/>
                </a:lnTo>
                <a:lnTo>
                  <a:pt x="3061" y="922"/>
                </a:lnTo>
                <a:lnTo>
                  <a:pt x="3018" y="849"/>
                </a:lnTo>
                <a:lnTo>
                  <a:pt x="2970" y="780"/>
                </a:lnTo>
                <a:lnTo>
                  <a:pt x="2917" y="712"/>
                </a:lnTo>
                <a:lnTo>
                  <a:pt x="2860" y="648"/>
                </a:lnTo>
                <a:lnTo>
                  <a:pt x="2797" y="587"/>
                </a:lnTo>
                <a:lnTo>
                  <a:pt x="2731" y="529"/>
                </a:lnTo>
                <a:lnTo>
                  <a:pt x="2661" y="475"/>
                </a:lnTo>
                <a:lnTo>
                  <a:pt x="2587" y="426"/>
                </a:lnTo>
                <a:lnTo>
                  <a:pt x="2510" y="378"/>
                </a:lnTo>
                <a:lnTo>
                  <a:pt x="2429" y="336"/>
                </a:lnTo>
                <a:lnTo>
                  <a:pt x="2346" y="299"/>
                </a:lnTo>
                <a:lnTo>
                  <a:pt x="2259" y="266"/>
                </a:lnTo>
                <a:lnTo>
                  <a:pt x="2170" y="237"/>
                </a:lnTo>
                <a:lnTo>
                  <a:pt x="2078" y="213"/>
                </a:lnTo>
                <a:lnTo>
                  <a:pt x="1984" y="194"/>
                </a:lnTo>
                <a:lnTo>
                  <a:pt x="1888" y="181"/>
                </a:lnTo>
                <a:lnTo>
                  <a:pt x="1790" y="172"/>
                </a:lnTo>
                <a:lnTo>
                  <a:pt x="1689" y="169"/>
                </a:lnTo>
                <a:close/>
                <a:moveTo>
                  <a:pt x="1689" y="0"/>
                </a:moveTo>
                <a:lnTo>
                  <a:pt x="1796" y="3"/>
                </a:lnTo>
                <a:lnTo>
                  <a:pt x="1901" y="11"/>
                </a:lnTo>
                <a:lnTo>
                  <a:pt x="2004" y="26"/>
                </a:lnTo>
                <a:lnTo>
                  <a:pt x="2104" y="46"/>
                </a:lnTo>
                <a:lnTo>
                  <a:pt x="2203" y="71"/>
                </a:lnTo>
                <a:lnTo>
                  <a:pt x="2299" y="101"/>
                </a:lnTo>
                <a:lnTo>
                  <a:pt x="2392" y="135"/>
                </a:lnTo>
                <a:lnTo>
                  <a:pt x="2482" y="175"/>
                </a:lnTo>
                <a:lnTo>
                  <a:pt x="2570" y="219"/>
                </a:lnTo>
                <a:lnTo>
                  <a:pt x="2654" y="268"/>
                </a:lnTo>
                <a:lnTo>
                  <a:pt x="2735" y="321"/>
                </a:lnTo>
                <a:lnTo>
                  <a:pt x="2810" y="377"/>
                </a:lnTo>
                <a:lnTo>
                  <a:pt x="2883" y="438"/>
                </a:lnTo>
                <a:lnTo>
                  <a:pt x="2952" y="503"/>
                </a:lnTo>
                <a:lnTo>
                  <a:pt x="3016" y="570"/>
                </a:lnTo>
                <a:lnTo>
                  <a:pt x="3076" y="641"/>
                </a:lnTo>
                <a:lnTo>
                  <a:pt x="3131" y="715"/>
                </a:lnTo>
                <a:lnTo>
                  <a:pt x="3180" y="792"/>
                </a:lnTo>
                <a:lnTo>
                  <a:pt x="3225" y="872"/>
                </a:lnTo>
                <a:lnTo>
                  <a:pt x="3265" y="954"/>
                </a:lnTo>
                <a:lnTo>
                  <a:pt x="3299" y="1039"/>
                </a:lnTo>
                <a:lnTo>
                  <a:pt x="3328" y="1126"/>
                </a:lnTo>
                <a:lnTo>
                  <a:pt x="3349" y="1215"/>
                </a:lnTo>
                <a:lnTo>
                  <a:pt x="3366" y="1307"/>
                </a:lnTo>
                <a:lnTo>
                  <a:pt x="3376" y="1399"/>
                </a:lnTo>
                <a:lnTo>
                  <a:pt x="3379" y="1493"/>
                </a:lnTo>
                <a:lnTo>
                  <a:pt x="3376" y="1582"/>
                </a:lnTo>
                <a:lnTo>
                  <a:pt x="3367" y="1670"/>
                </a:lnTo>
                <a:lnTo>
                  <a:pt x="3352" y="1757"/>
                </a:lnTo>
                <a:lnTo>
                  <a:pt x="3332" y="1843"/>
                </a:lnTo>
                <a:lnTo>
                  <a:pt x="3305" y="1928"/>
                </a:lnTo>
                <a:lnTo>
                  <a:pt x="3274" y="2011"/>
                </a:lnTo>
                <a:lnTo>
                  <a:pt x="3237" y="2092"/>
                </a:lnTo>
                <a:lnTo>
                  <a:pt x="3195" y="2172"/>
                </a:lnTo>
                <a:lnTo>
                  <a:pt x="3146" y="2249"/>
                </a:lnTo>
                <a:lnTo>
                  <a:pt x="3094" y="2324"/>
                </a:lnTo>
                <a:lnTo>
                  <a:pt x="3036" y="2396"/>
                </a:lnTo>
                <a:lnTo>
                  <a:pt x="3061" y="2445"/>
                </a:lnTo>
                <a:lnTo>
                  <a:pt x="3089" y="2490"/>
                </a:lnTo>
                <a:lnTo>
                  <a:pt x="3122" y="2532"/>
                </a:lnTo>
                <a:lnTo>
                  <a:pt x="3157" y="2570"/>
                </a:lnTo>
                <a:lnTo>
                  <a:pt x="3196" y="2605"/>
                </a:lnTo>
                <a:lnTo>
                  <a:pt x="3239" y="2636"/>
                </a:lnTo>
                <a:lnTo>
                  <a:pt x="3259" y="2653"/>
                </a:lnTo>
                <a:lnTo>
                  <a:pt x="3275" y="2673"/>
                </a:lnTo>
                <a:lnTo>
                  <a:pt x="3288" y="2695"/>
                </a:lnTo>
                <a:lnTo>
                  <a:pt x="3295" y="2720"/>
                </a:lnTo>
                <a:lnTo>
                  <a:pt x="3297" y="2747"/>
                </a:lnTo>
                <a:lnTo>
                  <a:pt x="3294" y="2772"/>
                </a:lnTo>
                <a:lnTo>
                  <a:pt x="3286" y="2798"/>
                </a:lnTo>
                <a:lnTo>
                  <a:pt x="3273" y="2820"/>
                </a:lnTo>
                <a:lnTo>
                  <a:pt x="3256" y="2838"/>
                </a:lnTo>
                <a:lnTo>
                  <a:pt x="3236" y="2853"/>
                </a:lnTo>
                <a:lnTo>
                  <a:pt x="3213" y="2865"/>
                </a:lnTo>
                <a:lnTo>
                  <a:pt x="3187" y="2871"/>
                </a:lnTo>
                <a:lnTo>
                  <a:pt x="3106" y="2879"/>
                </a:lnTo>
                <a:lnTo>
                  <a:pt x="3025" y="2882"/>
                </a:lnTo>
                <a:lnTo>
                  <a:pt x="2954" y="2880"/>
                </a:lnTo>
                <a:lnTo>
                  <a:pt x="2883" y="2873"/>
                </a:lnTo>
                <a:lnTo>
                  <a:pt x="2814" y="2862"/>
                </a:lnTo>
                <a:lnTo>
                  <a:pt x="2748" y="2846"/>
                </a:lnTo>
                <a:lnTo>
                  <a:pt x="2683" y="2826"/>
                </a:lnTo>
                <a:lnTo>
                  <a:pt x="2621" y="2802"/>
                </a:lnTo>
                <a:lnTo>
                  <a:pt x="2561" y="2772"/>
                </a:lnTo>
                <a:lnTo>
                  <a:pt x="2472" y="2818"/>
                </a:lnTo>
                <a:lnTo>
                  <a:pt x="2381" y="2857"/>
                </a:lnTo>
                <a:lnTo>
                  <a:pt x="2287" y="2890"/>
                </a:lnTo>
                <a:lnTo>
                  <a:pt x="2192" y="2920"/>
                </a:lnTo>
                <a:lnTo>
                  <a:pt x="2093" y="2944"/>
                </a:lnTo>
                <a:lnTo>
                  <a:pt x="1995" y="2962"/>
                </a:lnTo>
                <a:lnTo>
                  <a:pt x="1894" y="2977"/>
                </a:lnTo>
                <a:lnTo>
                  <a:pt x="1792" y="2985"/>
                </a:lnTo>
                <a:lnTo>
                  <a:pt x="1689" y="2987"/>
                </a:lnTo>
                <a:lnTo>
                  <a:pt x="1583" y="2984"/>
                </a:lnTo>
                <a:lnTo>
                  <a:pt x="1478" y="2975"/>
                </a:lnTo>
                <a:lnTo>
                  <a:pt x="1375" y="2961"/>
                </a:lnTo>
                <a:lnTo>
                  <a:pt x="1275" y="2942"/>
                </a:lnTo>
                <a:lnTo>
                  <a:pt x="1176" y="2916"/>
                </a:lnTo>
                <a:lnTo>
                  <a:pt x="1080" y="2886"/>
                </a:lnTo>
                <a:lnTo>
                  <a:pt x="987" y="2851"/>
                </a:lnTo>
                <a:lnTo>
                  <a:pt x="896" y="2811"/>
                </a:lnTo>
                <a:lnTo>
                  <a:pt x="809" y="2767"/>
                </a:lnTo>
                <a:lnTo>
                  <a:pt x="725" y="2719"/>
                </a:lnTo>
                <a:lnTo>
                  <a:pt x="644" y="2667"/>
                </a:lnTo>
                <a:lnTo>
                  <a:pt x="569" y="2609"/>
                </a:lnTo>
                <a:lnTo>
                  <a:pt x="496" y="2549"/>
                </a:lnTo>
                <a:lnTo>
                  <a:pt x="427" y="2485"/>
                </a:lnTo>
                <a:lnTo>
                  <a:pt x="363" y="2418"/>
                </a:lnTo>
                <a:lnTo>
                  <a:pt x="303" y="2346"/>
                </a:lnTo>
                <a:lnTo>
                  <a:pt x="248" y="2272"/>
                </a:lnTo>
                <a:lnTo>
                  <a:pt x="199" y="2195"/>
                </a:lnTo>
                <a:lnTo>
                  <a:pt x="154" y="2115"/>
                </a:lnTo>
                <a:lnTo>
                  <a:pt x="114" y="2033"/>
                </a:lnTo>
                <a:lnTo>
                  <a:pt x="80" y="1948"/>
                </a:lnTo>
                <a:lnTo>
                  <a:pt x="51" y="1861"/>
                </a:lnTo>
                <a:lnTo>
                  <a:pt x="30" y="1771"/>
                </a:lnTo>
                <a:lnTo>
                  <a:pt x="13" y="1681"/>
                </a:lnTo>
                <a:lnTo>
                  <a:pt x="3" y="1588"/>
                </a:lnTo>
                <a:lnTo>
                  <a:pt x="0" y="1493"/>
                </a:lnTo>
                <a:lnTo>
                  <a:pt x="3" y="1399"/>
                </a:lnTo>
                <a:lnTo>
                  <a:pt x="13" y="1307"/>
                </a:lnTo>
                <a:lnTo>
                  <a:pt x="30" y="1215"/>
                </a:lnTo>
                <a:lnTo>
                  <a:pt x="51" y="1126"/>
                </a:lnTo>
                <a:lnTo>
                  <a:pt x="80" y="1039"/>
                </a:lnTo>
                <a:lnTo>
                  <a:pt x="114" y="954"/>
                </a:lnTo>
                <a:lnTo>
                  <a:pt x="154" y="872"/>
                </a:lnTo>
                <a:lnTo>
                  <a:pt x="198" y="792"/>
                </a:lnTo>
                <a:lnTo>
                  <a:pt x="248" y="715"/>
                </a:lnTo>
                <a:lnTo>
                  <a:pt x="303" y="641"/>
                </a:lnTo>
                <a:lnTo>
                  <a:pt x="363" y="570"/>
                </a:lnTo>
                <a:lnTo>
                  <a:pt x="427" y="503"/>
                </a:lnTo>
                <a:lnTo>
                  <a:pt x="495" y="438"/>
                </a:lnTo>
                <a:lnTo>
                  <a:pt x="568" y="377"/>
                </a:lnTo>
                <a:lnTo>
                  <a:pt x="644" y="321"/>
                </a:lnTo>
                <a:lnTo>
                  <a:pt x="724" y="268"/>
                </a:lnTo>
                <a:lnTo>
                  <a:pt x="808" y="219"/>
                </a:lnTo>
                <a:lnTo>
                  <a:pt x="895" y="175"/>
                </a:lnTo>
                <a:lnTo>
                  <a:pt x="986" y="135"/>
                </a:lnTo>
                <a:lnTo>
                  <a:pt x="1079" y="101"/>
                </a:lnTo>
                <a:lnTo>
                  <a:pt x="1175" y="71"/>
                </a:lnTo>
                <a:lnTo>
                  <a:pt x="1274" y="46"/>
                </a:lnTo>
                <a:lnTo>
                  <a:pt x="1375" y="26"/>
                </a:lnTo>
                <a:lnTo>
                  <a:pt x="1477" y="11"/>
                </a:lnTo>
                <a:lnTo>
                  <a:pt x="1583" y="3"/>
                </a:lnTo>
                <a:lnTo>
                  <a:pt x="1689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2" name="Rounded Rectangle 337">
            <a:extLst>
              <a:ext uri="{FF2B5EF4-FFF2-40B4-BE49-F238E27FC236}">
                <a16:creationId xmlns:a16="http://schemas.microsoft.com/office/drawing/2014/main" id="{B35C4448-88CC-425A-B94F-35DBBE736CDC}"/>
              </a:ext>
            </a:extLst>
          </p:cNvPr>
          <p:cNvSpPr>
            <a:spLocks/>
          </p:cNvSpPr>
          <p:nvPr/>
        </p:nvSpPr>
        <p:spPr bwMode="gray">
          <a:xfrm>
            <a:off x="2965411" y="4003683"/>
            <a:ext cx="883435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BACK-UP</a:t>
            </a:r>
          </a:p>
        </p:txBody>
      </p:sp>
      <p:sp>
        <p:nvSpPr>
          <p:cNvPr id="153" name="Rounded Rectangle 338">
            <a:extLst>
              <a:ext uri="{FF2B5EF4-FFF2-40B4-BE49-F238E27FC236}">
                <a16:creationId xmlns:a16="http://schemas.microsoft.com/office/drawing/2014/main" id="{104909C0-9B96-4054-B275-2F243B04D7C3}"/>
              </a:ext>
            </a:extLst>
          </p:cNvPr>
          <p:cNvSpPr>
            <a:spLocks/>
          </p:cNvSpPr>
          <p:nvPr/>
        </p:nvSpPr>
        <p:spPr bwMode="gray">
          <a:xfrm>
            <a:off x="3952414" y="4003683"/>
            <a:ext cx="1108653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EEP DIVE</a:t>
            </a:r>
          </a:p>
        </p:txBody>
      </p:sp>
      <p:sp>
        <p:nvSpPr>
          <p:cNvPr id="154" name="Rounded Rectangle 339">
            <a:extLst>
              <a:ext uri="{FF2B5EF4-FFF2-40B4-BE49-F238E27FC236}">
                <a16:creationId xmlns:a16="http://schemas.microsoft.com/office/drawing/2014/main" id="{08399510-7CC0-4A9D-9FEE-24AE4A2D916B}"/>
              </a:ext>
            </a:extLst>
          </p:cNvPr>
          <p:cNvSpPr>
            <a:spLocks/>
          </p:cNvSpPr>
          <p:nvPr/>
        </p:nvSpPr>
        <p:spPr bwMode="gray">
          <a:xfrm>
            <a:off x="5164634" y="4003683"/>
            <a:ext cx="1524384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FOR DISCUSSION</a:t>
            </a:r>
          </a:p>
        </p:txBody>
      </p:sp>
      <p:sp>
        <p:nvSpPr>
          <p:cNvPr id="155" name="Rounded Rectangle 340">
            <a:extLst>
              <a:ext uri="{FF2B5EF4-FFF2-40B4-BE49-F238E27FC236}">
                <a16:creationId xmlns:a16="http://schemas.microsoft.com/office/drawing/2014/main" id="{DC7D037D-96EE-48A9-891E-A45EE14A3210}"/>
              </a:ext>
            </a:extLst>
          </p:cNvPr>
          <p:cNvSpPr>
            <a:spLocks/>
          </p:cNvSpPr>
          <p:nvPr/>
        </p:nvSpPr>
        <p:spPr bwMode="gray">
          <a:xfrm>
            <a:off x="6792586" y="4003683"/>
            <a:ext cx="1335836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ERSTER STAND</a:t>
            </a:r>
          </a:p>
        </p:txBody>
      </p:sp>
      <p:sp>
        <p:nvSpPr>
          <p:cNvPr id="156" name="Text Box 119">
            <a:extLst>
              <a:ext uri="{FF2B5EF4-FFF2-40B4-BE49-F238E27FC236}">
                <a16:creationId xmlns:a16="http://schemas.microsoft.com/office/drawing/2014/main" id="{B294EAD9-5788-4D53-AEBF-EFBFA9C715E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65411" y="2458008"/>
            <a:ext cx="4550032" cy="21422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>
              <a:lnSpc>
                <a:spcPts val="1600"/>
              </a:lnSpc>
            </a:pPr>
            <a:r>
              <a:rPr lang="de-DE" sz="2000" dirty="0">
                <a:sym typeface="Symbol" pitchFamily="18" charset="2"/>
              </a:rPr>
              <a:t>£              </a:t>
            </a:r>
            <a:r>
              <a:rPr lang="de-DE" sz="2000" dirty="0"/>
              <a:t>≙ </a:t>
            </a:r>
            <a:r>
              <a:rPr lang="de-DE" sz="2000" dirty="0">
                <a:sym typeface="Wingdings" pitchFamily="2" charset="2"/>
              </a:rPr>
              <a:t>  </a:t>
            </a:r>
            <a:r>
              <a:rPr lang="de-DE" sz="2000" dirty="0">
                <a:sym typeface="Symbol" pitchFamily="18" charset="2"/>
              </a:rPr>
              <a:t> </a:t>
            </a:r>
            <a:r>
              <a:rPr lang="de-DE" sz="2000" dirty="0">
                <a:sym typeface="Wingdings 3"/>
              </a:rPr>
              <a:t></a:t>
            </a:r>
            <a:r>
              <a:rPr lang="de-DE" sz="2000" dirty="0">
                <a:sym typeface="Wingdings" pitchFamily="2" charset="2"/>
              </a:rPr>
              <a:t>  </a:t>
            </a:r>
            <a:r>
              <a:rPr lang="de-DE" sz="2000" dirty="0">
                <a:sym typeface="Symbol" pitchFamily="18" charset="2"/>
              </a:rPr>
              <a:t> </a:t>
            </a:r>
            <a:r>
              <a:rPr lang="de-DE" sz="2000" dirty="0">
                <a:sym typeface="Wingdings 2"/>
              </a:rPr>
              <a:t> </a:t>
            </a:r>
            <a:r>
              <a:rPr lang="de-DE" sz="2000" dirty="0">
                <a:sym typeface="Symbol" pitchFamily="18" charset="2"/>
              </a:rPr>
              <a:t>  ×</a:t>
            </a:r>
          </a:p>
        </p:txBody>
      </p:sp>
      <p:sp>
        <p:nvSpPr>
          <p:cNvPr id="157" name="Rectangle 5">
            <a:extLst>
              <a:ext uri="{FF2B5EF4-FFF2-40B4-BE49-F238E27FC236}">
                <a16:creationId xmlns:a16="http://schemas.microsoft.com/office/drawing/2014/main" id="{E1D9356E-B6FC-4B7D-96D0-A032016C39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65411" y="2020435"/>
            <a:ext cx="5083884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e-DE" altLang="de-DE" dirty="0">
                <a:latin typeface="+mj-lt"/>
              </a:rPr>
              <a:t>Häufige Sonderzeichen (siehe auch Schrift: Ω) </a:t>
            </a:r>
          </a:p>
        </p:txBody>
      </p:sp>
      <p:sp>
        <p:nvSpPr>
          <p:cNvPr id="158" name="Rounded Rectangle 344">
            <a:extLst>
              <a:ext uri="{FF2B5EF4-FFF2-40B4-BE49-F238E27FC236}">
                <a16:creationId xmlns:a16="http://schemas.microsoft.com/office/drawing/2014/main" id="{10E8F717-23CA-4E06-B48A-7086CAC33251}"/>
              </a:ext>
            </a:extLst>
          </p:cNvPr>
          <p:cNvSpPr/>
          <p:nvPr/>
        </p:nvSpPr>
        <p:spPr bwMode="gray">
          <a:xfrm>
            <a:off x="6792584" y="3558992"/>
            <a:ext cx="1335837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UMMY</a:t>
            </a:r>
          </a:p>
        </p:txBody>
      </p:sp>
      <p:sp>
        <p:nvSpPr>
          <p:cNvPr id="165" name="Oval 354">
            <a:extLst>
              <a:ext uri="{FF2B5EF4-FFF2-40B4-BE49-F238E27FC236}">
                <a16:creationId xmlns:a16="http://schemas.microsoft.com/office/drawing/2014/main" id="{1D235CBC-FB74-49BE-82B2-7623ACD02586}"/>
              </a:ext>
            </a:extLst>
          </p:cNvPr>
          <p:cNvSpPr>
            <a:spLocks/>
          </p:cNvSpPr>
          <p:nvPr/>
        </p:nvSpPr>
        <p:spPr bwMode="gray">
          <a:xfrm>
            <a:off x="5894243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166" name="Oval 355">
            <a:extLst>
              <a:ext uri="{FF2B5EF4-FFF2-40B4-BE49-F238E27FC236}">
                <a16:creationId xmlns:a16="http://schemas.microsoft.com/office/drawing/2014/main" id="{CADBF4AC-8207-456D-A09C-9EE28EDE51BD}"/>
              </a:ext>
            </a:extLst>
          </p:cNvPr>
          <p:cNvSpPr>
            <a:spLocks/>
          </p:cNvSpPr>
          <p:nvPr/>
        </p:nvSpPr>
        <p:spPr bwMode="gray">
          <a:xfrm>
            <a:off x="6477757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2</a:t>
            </a:r>
          </a:p>
        </p:txBody>
      </p:sp>
      <p:sp>
        <p:nvSpPr>
          <p:cNvPr id="167" name="Oval 356">
            <a:extLst>
              <a:ext uri="{FF2B5EF4-FFF2-40B4-BE49-F238E27FC236}">
                <a16:creationId xmlns:a16="http://schemas.microsoft.com/office/drawing/2014/main" id="{70EA25E7-63CA-4C0C-A8A8-698A9A7F9895}"/>
              </a:ext>
            </a:extLst>
          </p:cNvPr>
          <p:cNvSpPr>
            <a:spLocks/>
          </p:cNvSpPr>
          <p:nvPr/>
        </p:nvSpPr>
        <p:spPr bwMode="gray">
          <a:xfrm>
            <a:off x="7061271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3</a:t>
            </a:r>
          </a:p>
        </p:txBody>
      </p:sp>
      <p:sp>
        <p:nvSpPr>
          <p:cNvPr id="168" name="Oval 357">
            <a:extLst>
              <a:ext uri="{FF2B5EF4-FFF2-40B4-BE49-F238E27FC236}">
                <a16:creationId xmlns:a16="http://schemas.microsoft.com/office/drawing/2014/main" id="{BC66B075-CA7F-4D7D-A8EC-29F6CA3F3966}"/>
              </a:ext>
            </a:extLst>
          </p:cNvPr>
          <p:cNvSpPr>
            <a:spLocks/>
          </p:cNvSpPr>
          <p:nvPr/>
        </p:nvSpPr>
        <p:spPr bwMode="gray">
          <a:xfrm>
            <a:off x="7644785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4</a:t>
            </a:r>
          </a:p>
        </p:txBody>
      </p:sp>
      <p:sp>
        <p:nvSpPr>
          <p:cNvPr id="169" name="Oval 358">
            <a:extLst>
              <a:ext uri="{FF2B5EF4-FFF2-40B4-BE49-F238E27FC236}">
                <a16:creationId xmlns:a16="http://schemas.microsoft.com/office/drawing/2014/main" id="{96C102E5-8E7A-43F9-AF91-0B26A5D34E57}"/>
              </a:ext>
            </a:extLst>
          </p:cNvPr>
          <p:cNvSpPr>
            <a:spLocks/>
          </p:cNvSpPr>
          <p:nvPr/>
        </p:nvSpPr>
        <p:spPr bwMode="gray">
          <a:xfrm>
            <a:off x="8228299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5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72DFF04-AA0F-4DF5-A3AD-1FE19FB69B5D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3276641"/>
            <a:ext cx="558000" cy="550800"/>
            <a:chOff x="629659" y="3276641"/>
            <a:chExt cx="558000" cy="550800"/>
          </a:xfrm>
        </p:grpSpPr>
        <p:sp>
          <p:nvSpPr>
            <p:cNvPr id="119" name="Freeform 70">
              <a:extLst>
                <a:ext uri="{FF2B5EF4-FFF2-40B4-BE49-F238E27FC236}">
                  <a16:creationId xmlns:a16="http://schemas.microsoft.com/office/drawing/2014/main" id="{20AECAEF-B78F-478C-8AEE-8B35A18243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3276641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0" name="Freeform 87">
              <a:extLst>
                <a:ext uri="{FF2B5EF4-FFF2-40B4-BE49-F238E27FC236}">
                  <a16:creationId xmlns:a16="http://schemas.microsoft.com/office/drawing/2014/main" id="{BA5496B6-6BA1-48DC-9E37-4D7EAD4059E2}"/>
                </a:ext>
              </a:extLst>
            </p:cNvPr>
            <p:cNvSpPr>
              <a:spLocks/>
            </p:cNvSpPr>
            <p:nvPr/>
          </p:nvSpPr>
          <p:spPr bwMode="gray">
            <a:xfrm>
              <a:off x="759906" y="3497778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0D1919B-BBA9-4099-BAB0-0D80D7D6426C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4003683"/>
            <a:ext cx="558000" cy="550800"/>
            <a:chOff x="629659" y="4003683"/>
            <a:chExt cx="558000" cy="550800"/>
          </a:xfrm>
        </p:grpSpPr>
        <p:sp>
          <p:nvSpPr>
            <p:cNvPr id="101" name="Freeform 70">
              <a:extLst>
                <a:ext uri="{FF2B5EF4-FFF2-40B4-BE49-F238E27FC236}">
                  <a16:creationId xmlns:a16="http://schemas.microsoft.com/office/drawing/2014/main" id="{236C307E-8834-4E72-940E-23E9BC00741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" name="Freeform 80">
              <a:extLst>
                <a:ext uri="{FF2B5EF4-FFF2-40B4-BE49-F238E27FC236}">
                  <a16:creationId xmlns:a16="http://schemas.microsoft.com/office/drawing/2014/main" id="{F20FA81C-8BFE-4364-9EE2-44706DBE90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98" name="Gruppieren 197">
            <a:extLst>
              <a:ext uri="{FF2B5EF4-FFF2-40B4-BE49-F238E27FC236}">
                <a16:creationId xmlns:a16="http://schemas.microsoft.com/office/drawing/2014/main" id="{6E8943F7-9B2D-4451-8C24-496664D1EE32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4003683"/>
            <a:ext cx="558000" cy="550800"/>
            <a:chOff x="629659" y="4003683"/>
            <a:chExt cx="558000" cy="550800"/>
          </a:xfrm>
        </p:grpSpPr>
        <p:sp>
          <p:nvSpPr>
            <p:cNvPr id="199" name="Freeform 70">
              <a:extLst>
                <a:ext uri="{FF2B5EF4-FFF2-40B4-BE49-F238E27FC236}">
                  <a16:creationId xmlns:a16="http://schemas.microsoft.com/office/drawing/2014/main" id="{7E642232-2BB2-4696-9930-29F9472F36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0" name="Freeform 80">
              <a:extLst>
                <a:ext uri="{FF2B5EF4-FFF2-40B4-BE49-F238E27FC236}">
                  <a16:creationId xmlns:a16="http://schemas.microsoft.com/office/drawing/2014/main" id="{0299271B-65FA-4C89-9947-C13805BFE00E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3276641"/>
            <a:ext cx="558000" cy="550800"/>
            <a:chOff x="1407731" y="3276641"/>
            <a:chExt cx="558000" cy="550800"/>
          </a:xfrm>
        </p:grpSpPr>
        <p:sp>
          <p:nvSpPr>
            <p:cNvPr id="195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2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6C3C5BFD-38B3-4C9A-AB00-C322A3C4E922}"/>
              </a:ext>
            </a:extLst>
          </p:cNvPr>
          <p:cNvGrpSpPr/>
          <p:nvPr/>
        </p:nvGrpSpPr>
        <p:grpSpPr bwMode="gray">
          <a:xfrm>
            <a:off x="623887" y="1812214"/>
            <a:ext cx="558000" cy="550800"/>
            <a:chOff x="623887" y="1812214"/>
            <a:chExt cx="558000" cy="550800"/>
          </a:xfrm>
        </p:grpSpPr>
        <p:sp>
          <p:nvSpPr>
            <p:cNvPr id="175" name="Freeform 70">
              <a:extLst>
                <a:ext uri="{FF2B5EF4-FFF2-40B4-BE49-F238E27FC236}">
                  <a16:creationId xmlns:a16="http://schemas.microsoft.com/office/drawing/2014/main" id="{324E4975-A792-480F-A62F-EFBB8E429EF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1812214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6947FD43-E6D6-46C0-A6B0-00654C5ED8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738748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7" name="Gruppieren 226">
            <a:extLst>
              <a:ext uri="{FF2B5EF4-FFF2-40B4-BE49-F238E27FC236}">
                <a16:creationId xmlns:a16="http://schemas.microsoft.com/office/drawing/2014/main" id="{77034571-6756-495C-8138-7063E7FF745E}"/>
              </a:ext>
            </a:extLst>
          </p:cNvPr>
          <p:cNvGrpSpPr/>
          <p:nvPr/>
        </p:nvGrpSpPr>
        <p:grpSpPr bwMode="gray">
          <a:xfrm>
            <a:off x="1407731" y="1812214"/>
            <a:ext cx="558000" cy="550800"/>
            <a:chOff x="1407731" y="1812214"/>
            <a:chExt cx="558000" cy="550800"/>
          </a:xfrm>
        </p:grpSpPr>
        <p:sp>
          <p:nvSpPr>
            <p:cNvPr id="186" name="Freeform 70">
              <a:extLst>
                <a:ext uri="{FF2B5EF4-FFF2-40B4-BE49-F238E27FC236}">
                  <a16:creationId xmlns:a16="http://schemas.microsoft.com/office/drawing/2014/main" id="{82C8425A-1150-4781-A3F8-37AEBD90D4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01" name="Grafik 200">
              <a:extLst>
                <a:ext uri="{FF2B5EF4-FFF2-40B4-BE49-F238E27FC236}">
                  <a16:creationId xmlns:a16="http://schemas.microsoft.com/office/drawing/2014/main" id="{93429088-C288-419B-A4C9-DAEEA00C7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9" name="Gruppieren 228">
            <a:extLst>
              <a:ext uri="{FF2B5EF4-FFF2-40B4-BE49-F238E27FC236}">
                <a16:creationId xmlns:a16="http://schemas.microsoft.com/office/drawing/2014/main" id="{E30E3A15-4D80-4733-942B-F3ECD65886E5}"/>
              </a:ext>
            </a:extLst>
          </p:cNvPr>
          <p:cNvGrpSpPr/>
          <p:nvPr/>
        </p:nvGrpSpPr>
        <p:grpSpPr bwMode="gray">
          <a:xfrm>
            <a:off x="623887" y="2539256"/>
            <a:ext cx="558000" cy="550800"/>
            <a:chOff x="623887" y="2539256"/>
            <a:chExt cx="558000" cy="550800"/>
          </a:xfrm>
        </p:grpSpPr>
        <p:sp>
          <p:nvSpPr>
            <p:cNvPr id="178" name="Freeform 70">
              <a:extLst>
                <a:ext uri="{FF2B5EF4-FFF2-40B4-BE49-F238E27FC236}">
                  <a16:creationId xmlns:a16="http://schemas.microsoft.com/office/drawing/2014/main" id="{40382DD0-DB88-443B-B508-F258C337B4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2539256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AE0646ED-30D1-40D4-B760-707BBB6C2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776374" y="2686379"/>
              <a:ext cx="257175" cy="257175"/>
            </a:xfrm>
            <a:prstGeom prst="rect">
              <a:avLst/>
            </a:prstGeom>
          </p:spPr>
        </p:pic>
      </p:grp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/>
          <p:nvPr/>
        </p:nvGrpSpPr>
        <p:grpSpPr bwMode="gray">
          <a:xfrm>
            <a:off x="1407731" y="2539256"/>
            <a:ext cx="558000" cy="550800"/>
            <a:chOff x="1407731" y="2539256"/>
            <a:chExt cx="558000" cy="550800"/>
          </a:xfrm>
        </p:grpSpPr>
        <p:sp>
          <p:nvSpPr>
            <p:cNvPr id="18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15" name="Grafik 214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143" name="Oval 354">
            <a:extLst>
              <a:ext uri="{FF2B5EF4-FFF2-40B4-BE49-F238E27FC236}">
                <a16:creationId xmlns:a16="http://schemas.microsoft.com/office/drawing/2014/main" id="{B8E56A18-7173-4B4D-9F15-8C6D38322807}"/>
              </a:ext>
            </a:extLst>
          </p:cNvPr>
          <p:cNvSpPr>
            <a:spLocks/>
          </p:cNvSpPr>
          <p:nvPr/>
        </p:nvSpPr>
        <p:spPr bwMode="gray">
          <a:xfrm>
            <a:off x="147349" y="666161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233" name="Textfeld 232">
            <a:extLst>
              <a:ext uri="{FF2B5EF4-FFF2-40B4-BE49-F238E27FC236}">
                <a16:creationId xmlns:a16="http://schemas.microsoft.com/office/drawing/2014/main" id="{B1501E98-B125-480B-92CC-0F1CB25A7A33}"/>
              </a:ext>
            </a:extLst>
          </p:cNvPr>
          <p:cNvSpPr txBox="1"/>
          <p:nvPr/>
        </p:nvSpPr>
        <p:spPr bwMode="gray">
          <a:xfrm>
            <a:off x="623888" y="288099"/>
            <a:ext cx="58538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>
                <a:latin typeface="+mj-lt"/>
              </a:rPr>
              <a:t>Durchführerposition</a:t>
            </a:r>
            <a:r>
              <a:rPr lang="de-DE" sz="1400" dirty="0"/>
              <a:t> bei Bedarf kopieren und auf den entsprechenden Seiten einsetzen</a:t>
            </a:r>
          </a:p>
        </p:txBody>
      </p:sp>
      <p:sp>
        <p:nvSpPr>
          <p:cNvPr id="236" name="Freihandform: Form 235">
            <a:extLst>
              <a:ext uri="{FF2B5EF4-FFF2-40B4-BE49-F238E27FC236}">
                <a16:creationId xmlns:a16="http://schemas.microsoft.com/office/drawing/2014/main" id="{80BE9D1C-DDD5-47DA-BBE7-033DAA2CEAB9}"/>
              </a:ext>
            </a:extLst>
          </p:cNvPr>
          <p:cNvSpPr/>
          <p:nvPr/>
        </p:nvSpPr>
        <p:spPr bwMode="gray">
          <a:xfrm>
            <a:off x="348961" y="395287"/>
            <a:ext cx="201902" cy="234873"/>
          </a:xfrm>
          <a:custGeom>
            <a:avLst/>
            <a:gdLst>
              <a:gd name="connsiteX0" fmla="*/ 342900 w 342900"/>
              <a:gd name="connsiteY0" fmla="*/ 0 h 295275"/>
              <a:gd name="connsiteX1" fmla="*/ 0 w 342900"/>
              <a:gd name="connsiteY1" fmla="*/ 0 h 295275"/>
              <a:gd name="connsiteX2" fmla="*/ 0 w 342900"/>
              <a:gd name="connsiteY2" fmla="*/ 295275 h 29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" h="295275">
                <a:moveTo>
                  <a:pt x="342900" y="0"/>
                </a:moveTo>
                <a:lnTo>
                  <a:pt x="0" y="0"/>
                </a:lnTo>
                <a:lnTo>
                  <a:pt x="0" y="295275"/>
                </a:lnTo>
              </a:path>
            </a:pathLst>
          </a:custGeom>
          <a:noFill/>
          <a:ln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241" name="Gruppieren 240">
            <a:extLst>
              <a:ext uri="{FF2B5EF4-FFF2-40B4-BE49-F238E27FC236}">
                <a16:creationId xmlns:a16="http://schemas.microsoft.com/office/drawing/2014/main" id="{8A20FC6B-CFC2-4CE2-B9DA-B539182FA6D4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4988910"/>
            <a:ext cx="396000" cy="396000"/>
            <a:chOff x="2965411" y="4988910"/>
            <a:chExt cx="396000" cy="396000"/>
          </a:xfrm>
        </p:grpSpPr>
        <p:sp>
          <p:nvSpPr>
            <p:cNvPr id="160" name="Freeform 8">
              <a:extLst>
                <a:ext uri="{FF2B5EF4-FFF2-40B4-BE49-F238E27FC236}">
                  <a16:creationId xmlns:a16="http://schemas.microsoft.com/office/drawing/2014/main" id="{7F43079C-92E3-483E-AC0C-90489F26EF5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1" name="Gruppieren 160">
              <a:extLst>
                <a:ext uri="{FF2B5EF4-FFF2-40B4-BE49-F238E27FC236}">
                  <a16:creationId xmlns:a16="http://schemas.microsoft.com/office/drawing/2014/main" id="{AA2741DD-D39A-4EB4-B116-51C307736039}"/>
                </a:ext>
              </a:extLst>
            </p:cNvPr>
            <p:cNvGrpSpPr>
              <a:grpSpLocks/>
            </p:cNvGrpSpPr>
            <p:nvPr/>
          </p:nvGrpSpPr>
          <p:grpSpPr bwMode="gray">
            <a:xfrm rot="2700000">
              <a:off x="3086440" y="511016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62" name="Freeform 6">
                <a:extLst>
                  <a:ext uri="{FF2B5EF4-FFF2-40B4-BE49-F238E27FC236}">
                    <a16:creationId xmlns:a16="http://schemas.microsoft.com/office/drawing/2014/main" id="{BE89C2FB-6741-4D1E-83CC-9D8A5385AA9C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63" name="Freeform 7">
                <a:extLst>
                  <a:ext uri="{FF2B5EF4-FFF2-40B4-BE49-F238E27FC236}">
                    <a16:creationId xmlns:a16="http://schemas.microsoft.com/office/drawing/2014/main" id="{49843992-7F05-4E80-9C86-EA19892B20A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2" name="Gruppieren 241">
            <a:extLst>
              <a:ext uri="{FF2B5EF4-FFF2-40B4-BE49-F238E27FC236}">
                <a16:creationId xmlns:a16="http://schemas.microsoft.com/office/drawing/2014/main" id="{79904F27-B10A-4CB6-B23C-31B2036DEA2A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4988910"/>
            <a:ext cx="396000" cy="396000"/>
            <a:chOff x="3550015" y="4988910"/>
            <a:chExt cx="396000" cy="396000"/>
          </a:xfrm>
        </p:grpSpPr>
        <p:sp>
          <p:nvSpPr>
            <p:cNvPr id="180" name="Freeform 8">
              <a:extLst>
                <a:ext uri="{FF2B5EF4-FFF2-40B4-BE49-F238E27FC236}">
                  <a16:creationId xmlns:a16="http://schemas.microsoft.com/office/drawing/2014/main" id="{47E40F60-F97D-4A4D-BB8F-3F335B25E0A3}"/>
                </a:ext>
              </a:extLst>
            </p:cNvPr>
            <p:cNvSpPr>
              <a:spLocks noEditPoints="1"/>
            </p:cNvSpPr>
            <p:nvPr/>
          </p:nvSpPr>
          <p:spPr bwMode="gray">
            <a:xfrm rot="16200000">
              <a:off x="355001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2" name="Gruppieren 181">
              <a:extLst>
                <a:ext uri="{FF2B5EF4-FFF2-40B4-BE49-F238E27FC236}">
                  <a16:creationId xmlns:a16="http://schemas.microsoft.com/office/drawing/2014/main" id="{7DCDE62C-A7A5-4A40-AAAE-B91DEFD45AF5}"/>
                </a:ext>
              </a:extLst>
            </p:cNvPr>
            <p:cNvGrpSpPr>
              <a:grpSpLocks/>
            </p:cNvGrpSpPr>
            <p:nvPr/>
          </p:nvGrpSpPr>
          <p:grpSpPr bwMode="gray">
            <a:xfrm rot="18900000">
              <a:off x="3628177" y="5114923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3" name="Freeform 6">
                <a:extLst>
                  <a:ext uri="{FF2B5EF4-FFF2-40B4-BE49-F238E27FC236}">
                    <a16:creationId xmlns:a16="http://schemas.microsoft.com/office/drawing/2014/main" id="{2891228F-5281-4AB5-BA91-8B94265AF066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84" name="Freeform 7">
                <a:extLst>
                  <a:ext uri="{FF2B5EF4-FFF2-40B4-BE49-F238E27FC236}">
                    <a16:creationId xmlns:a16="http://schemas.microsoft.com/office/drawing/2014/main" id="{036BDD73-2CD1-4D67-87B1-FA07FEC536F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3" name="Gruppieren 242">
            <a:extLst>
              <a:ext uri="{FF2B5EF4-FFF2-40B4-BE49-F238E27FC236}">
                <a16:creationId xmlns:a16="http://schemas.microsoft.com/office/drawing/2014/main" id="{1FF57E9D-9EB7-42E5-9E25-67F7169330B4}"/>
              </a:ext>
            </a:extLst>
          </p:cNvPr>
          <p:cNvGrpSpPr>
            <a:grpSpLocks/>
          </p:cNvGrpSpPr>
          <p:nvPr/>
        </p:nvGrpSpPr>
        <p:grpSpPr bwMode="gray">
          <a:xfrm>
            <a:off x="4134619" y="4988910"/>
            <a:ext cx="396000" cy="396000"/>
            <a:chOff x="4134619" y="4988910"/>
            <a:chExt cx="396000" cy="396000"/>
          </a:xfrm>
        </p:grpSpPr>
        <p:sp>
          <p:nvSpPr>
            <p:cNvPr id="187" name="Freeform 8">
              <a:extLst>
                <a:ext uri="{FF2B5EF4-FFF2-40B4-BE49-F238E27FC236}">
                  <a16:creationId xmlns:a16="http://schemas.microsoft.com/office/drawing/2014/main" id="{051D3902-8782-44F0-9765-C16F8213F96F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4134619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8" name="Gruppieren 187">
              <a:extLst>
                <a:ext uri="{FF2B5EF4-FFF2-40B4-BE49-F238E27FC236}">
                  <a16:creationId xmlns:a16="http://schemas.microsoft.com/office/drawing/2014/main" id="{AAF90AE4-0916-4E81-AE2B-0625A5843243}"/>
                </a:ext>
              </a:extLst>
            </p:cNvPr>
            <p:cNvGrpSpPr>
              <a:grpSpLocks/>
            </p:cNvGrpSpPr>
            <p:nvPr/>
          </p:nvGrpSpPr>
          <p:grpSpPr bwMode="gray">
            <a:xfrm rot="13500000">
              <a:off x="4217544" y="515779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9" name="Freeform 6">
                <a:extLst>
                  <a:ext uri="{FF2B5EF4-FFF2-40B4-BE49-F238E27FC236}">
                    <a16:creationId xmlns:a16="http://schemas.microsoft.com/office/drawing/2014/main" id="{D7F0A2CB-BF86-40A4-8A1A-B6822DE80D6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0" name="Freeform 7">
                <a:extLst>
                  <a:ext uri="{FF2B5EF4-FFF2-40B4-BE49-F238E27FC236}">
                    <a16:creationId xmlns:a16="http://schemas.microsoft.com/office/drawing/2014/main" id="{75988098-4E56-46C4-A32D-5FC77BB11A4B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4" name="Gruppieren 243">
            <a:extLst>
              <a:ext uri="{FF2B5EF4-FFF2-40B4-BE49-F238E27FC236}">
                <a16:creationId xmlns:a16="http://schemas.microsoft.com/office/drawing/2014/main" id="{6E5A1761-F33C-45FF-9CCA-B5C7F1745C2D}"/>
              </a:ext>
            </a:extLst>
          </p:cNvPr>
          <p:cNvGrpSpPr>
            <a:grpSpLocks/>
          </p:cNvGrpSpPr>
          <p:nvPr/>
        </p:nvGrpSpPr>
        <p:grpSpPr bwMode="gray">
          <a:xfrm>
            <a:off x="4719223" y="4988910"/>
            <a:ext cx="396000" cy="396000"/>
            <a:chOff x="4719223" y="4988910"/>
            <a:chExt cx="396000" cy="396000"/>
          </a:xfrm>
        </p:grpSpPr>
        <p:sp>
          <p:nvSpPr>
            <p:cNvPr id="192" name="Freeform 8">
              <a:extLst>
                <a:ext uri="{FF2B5EF4-FFF2-40B4-BE49-F238E27FC236}">
                  <a16:creationId xmlns:a16="http://schemas.microsoft.com/office/drawing/2014/main" id="{193D8F0F-9D54-400F-8CC7-2255A5F5FF7C}"/>
                </a:ext>
              </a:extLst>
            </p:cNvPr>
            <p:cNvSpPr>
              <a:spLocks noEditPoints="1"/>
            </p:cNvSpPr>
            <p:nvPr/>
          </p:nvSpPr>
          <p:spPr bwMode="gray">
            <a:xfrm rot="5400000">
              <a:off x="471922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93" name="Gruppieren 192">
              <a:extLst>
                <a:ext uri="{FF2B5EF4-FFF2-40B4-BE49-F238E27FC236}">
                  <a16:creationId xmlns:a16="http://schemas.microsoft.com/office/drawing/2014/main" id="{12E3D567-5C46-4F1F-815D-EF762198EA2E}"/>
                </a:ext>
              </a:extLst>
            </p:cNvPr>
            <p:cNvGrpSpPr>
              <a:grpSpLocks/>
            </p:cNvGrpSpPr>
            <p:nvPr/>
          </p:nvGrpSpPr>
          <p:grpSpPr bwMode="gray">
            <a:xfrm rot="8100000">
              <a:off x="4845015" y="5153027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94" name="Freeform 6">
                <a:extLst>
                  <a:ext uri="{FF2B5EF4-FFF2-40B4-BE49-F238E27FC236}">
                    <a16:creationId xmlns:a16="http://schemas.microsoft.com/office/drawing/2014/main" id="{FF8A3B60-1FE1-47E5-A998-16505AC2A58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6" name="Freeform 7">
                <a:extLst>
                  <a:ext uri="{FF2B5EF4-FFF2-40B4-BE49-F238E27FC236}">
                    <a16:creationId xmlns:a16="http://schemas.microsoft.com/office/drawing/2014/main" id="{B8E5E33F-59D9-4AC7-A368-8FD4C5DA96D5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FFDDEDD-E7EB-492C-8446-C0630CC7667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8065580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E1E4013-F63C-4406-AB7E-91007D7B58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9526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3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E1E4013-F63C-4406-AB7E-91007D7B5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12D9ED-8929-4689-A027-E75055C3844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1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8E4FD39-CC75-4B19-A864-44E6A80D38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enera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B4F6F7-0B0F-4C5F-8A84-5387B7F71E8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4249EBD-0C5B-4D79-A30F-B472A159A1D9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308B505-0014-43C8-962F-E169EFFB307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9</a:t>
            </a:fld>
            <a:endParaRPr lang="de-DE" dirty="0"/>
          </a:p>
        </p:txBody>
      </p:sp>
      <p:sp>
        <p:nvSpPr>
          <p:cNvPr id="23" name="Shape 2525">
            <a:extLst>
              <a:ext uri="{FF2B5EF4-FFF2-40B4-BE49-F238E27FC236}">
                <a16:creationId xmlns:a16="http://schemas.microsoft.com/office/drawing/2014/main" id="{CAC925DC-9E5B-4C2A-A7A1-7544CAF7AF72}"/>
              </a:ext>
            </a:extLst>
          </p:cNvPr>
          <p:cNvSpPr/>
          <p:nvPr/>
        </p:nvSpPr>
        <p:spPr bwMode="gray">
          <a:xfrm>
            <a:off x="637821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526">
            <a:extLst>
              <a:ext uri="{FF2B5EF4-FFF2-40B4-BE49-F238E27FC236}">
                <a16:creationId xmlns:a16="http://schemas.microsoft.com/office/drawing/2014/main" id="{A075599E-671F-473D-A8AA-758B010E76CE}"/>
              </a:ext>
            </a:extLst>
          </p:cNvPr>
          <p:cNvSpPr/>
          <p:nvPr/>
        </p:nvSpPr>
        <p:spPr bwMode="gray">
          <a:xfrm>
            <a:off x="1189845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4236" y="16752"/>
                </a:moveTo>
                <a:cubicBezTo>
                  <a:pt x="14001" y="16887"/>
                  <a:pt x="13921" y="17188"/>
                  <a:pt x="14057" y="17422"/>
                </a:cubicBezTo>
                <a:cubicBezTo>
                  <a:pt x="14192" y="17658"/>
                  <a:pt x="14493" y="17738"/>
                  <a:pt x="14727" y="17602"/>
                </a:cubicBezTo>
                <a:cubicBezTo>
                  <a:pt x="14962" y="17467"/>
                  <a:pt x="15042" y="17167"/>
                  <a:pt x="14907" y="16932"/>
                </a:cubicBezTo>
                <a:cubicBezTo>
                  <a:pt x="14771" y="16697"/>
                  <a:pt x="14472" y="16617"/>
                  <a:pt x="14236" y="16752"/>
                </a:cubicBezTo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5218" y="10309"/>
                </a:moveTo>
                <a:lnTo>
                  <a:pt x="12694" y="10309"/>
                </a:lnTo>
                <a:cubicBezTo>
                  <a:pt x="12515" y="9624"/>
                  <a:pt x="11978" y="9084"/>
                  <a:pt x="11291" y="8906"/>
                </a:cubicBezTo>
                <a:lnTo>
                  <a:pt x="11291" y="3436"/>
                </a:lnTo>
                <a:cubicBezTo>
                  <a:pt x="11291" y="3166"/>
                  <a:pt x="11071" y="2945"/>
                  <a:pt x="10800" y="2945"/>
                </a:cubicBezTo>
                <a:cubicBezTo>
                  <a:pt x="10529" y="2945"/>
                  <a:pt x="10309" y="3166"/>
                  <a:pt x="10309" y="3436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5218" y="11291"/>
                </a:lnTo>
                <a:cubicBezTo>
                  <a:pt x="15489" y="11291"/>
                  <a:pt x="15709" y="11072"/>
                  <a:pt x="15709" y="10800"/>
                </a:cubicBezTo>
                <a:cubicBezTo>
                  <a:pt x="15709" y="10529"/>
                  <a:pt x="15489" y="10309"/>
                  <a:pt x="15218" y="10309"/>
                </a:cubicBezTo>
                <a:moveTo>
                  <a:pt x="16932" y="6693"/>
                </a:moveTo>
                <a:cubicBezTo>
                  <a:pt x="16697" y="6829"/>
                  <a:pt x="16616" y="7129"/>
                  <a:pt x="16752" y="7364"/>
                </a:cubicBezTo>
                <a:cubicBezTo>
                  <a:pt x="16887" y="7599"/>
                  <a:pt x="17188" y="7679"/>
                  <a:pt x="17422" y="7543"/>
                </a:cubicBezTo>
                <a:cubicBezTo>
                  <a:pt x="17657" y="7408"/>
                  <a:pt x="17737" y="7108"/>
                  <a:pt x="17602" y="6873"/>
                </a:cubicBezTo>
                <a:cubicBezTo>
                  <a:pt x="17467" y="6638"/>
                  <a:pt x="17166" y="6557"/>
                  <a:pt x="16932" y="6693"/>
                </a:cubicBezTo>
                <a:moveTo>
                  <a:pt x="10800" y="17673"/>
                </a:moveTo>
                <a:cubicBezTo>
                  <a:pt x="10529" y="17673"/>
                  <a:pt x="10309" y="17893"/>
                  <a:pt x="10309" y="18164"/>
                </a:cubicBezTo>
                <a:cubicBezTo>
                  <a:pt x="10309" y="18435"/>
                  <a:pt x="10529" y="18655"/>
                  <a:pt x="10800" y="18655"/>
                </a:cubicBezTo>
                <a:cubicBezTo>
                  <a:pt x="11071" y="18655"/>
                  <a:pt x="11291" y="18435"/>
                  <a:pt x="11291" y="18164"/>
                </a:cubicBezTo>
                <a:cubicBezTo>
                  <a:pt x="11291" y="17893"/>
                  <a:pt x="11071" y="17673"/>
                  <a:pt x="10800" y="17673"/>
                </a:cubicBezTo>
                <a:moveTo>
                  <a:pt x="17422" y="14057"/>
                </a:moveTo>
                <a:cubicBezTo>
                  <a:pt x="17188" y="13921"/>
                  <a:pt x="16887" y="14001"/>
                  <a:pt x="16752" y="14236"/>
                </a:cubicBezTo>
                <a:cubicBezTo>
                  <a:pt x="16616" y="14472"/>
                  <a:pt x="16697" y="14772"/>
                  <a:pt x="16932" y="14907"/>
                </a:cubicBezTo>
                <a:cubicBezTo>
                  <a:pt x="17166" y="15043"/>
                  <a:pt x="17467" y="14962"/>
                  <a:pt x="17602" y="14727"/>
                </a:cubicBezTo>
                <a:cubicBezTo>
                  <a:pt x="17737" y="14492"/>
                  <a:pt x="17657" y="14192"/>
                  <a:pt x="17422" y="14057"/>
                </a:cubicBezTo>
                <a:moveTo>
                  <a:pt x="4668" y="6693"/>
                </a:moveTo>
                <a:cubicBezTo>
                  <a:pt x="4433" y="6557"/>
                  <a:pt x="4133" y="6638"/>
                  <a:pt x="3998" y="6873"/>
                </a:cubicBezTo>
                <a:cubicBezTo>
                  <a:pt x="3863" y="7108"/>
                  <a:pt x="3942" y="7408"/>
                  <a:pt x="4178" y="7543"/>
                </a:cubicBezTo>
                <a:cubicBezTo>
                  <a:pt x="4412" y="7679"/>
                  <a:pt x="4713" y="7599"/>
                  <a:pt x="4848" y="7364"/>
                </a:cubicBezTo>
                <a:cubicBezTo>
                  <a:pt x="4984" y="7129"/>
                  <a:pt x="4903" y="6829"/>
                  <a:pt x="4668" y="6693"/>
                </a:cubicBezTo>
                <a:moveTo>
                  <a:pt x="14236" y="4848"/>
                </a:moveTo>
                <a:cubicBezTo>
                  <a:pt x="14472" y="4984"/>
                  <a:pt x="14771" y="4903"/>
                  <a:pt x="14907" y="4669"/>
                </a:cubicBezTo>
                <a:cubicBezTo>
                  <a:pt x="15042" y="4434"/>
                  <a:pt x="14962" y="4134"/>
                  <a:pt x="14727" y="3998"/>
                </a:cubicBezTo>
                <a:cubicBezTo>
                  <a:pt x="14493" y="3863"/>
                  <a:pt x="14192" y="3943"/>
                  <a:pt x="14057" y="4178"/>
                </a:cubicBezTo>
                <a:cubicBezTo>
                  <a:pt x="13921" y="4412"/>
                  <a:pt x="14001" y="4713"/>
                  <a:pt x="14236" y="4848"/>
                </a:cubicBezTo>
                <a:moveTo>
                  <a:pt x="3436" y="10309"/>
                </a:moveTo>
                <a:cubicBezTo>
                  <a:pt x="3166" y="10309"/>
                  <a:pt x="2945" y="10529"/>
                  <a:pt x="2945" y="10800"/>
                </a:cubicBezTo>
                <a:cubicBezTo>
                  <a:pt x="2945" y="11072"/>
                  <a:pt x="3166" y="11291"/>
                  <a:pt x="3436" y="11291"/>
                </a:cubicBezTo>
                <a:cubicBezTo>
                  <a:pt x="3707" y="11291"/>
                  <a:pt x="3927" y="11072"/>
                  <a:pt x="3927" y="10800"/>
                </a:cubicBezTo>
                <a:cubicBezTo>
                  <a:pt x="3927" y="10529"/>
                  <a:pt x="3707" y="10309"/>
                  <a:pt x="3436" y="10309"/>
                </a:cubicBezTo>
                <a:moveTo>
                  <a:pt x="6873" y="3998"/>
                </a:moveTo>
                <a:cubicBezTo>
                  <a:pt x="6638" y="4134"/>
                  <a:pt x="6558" y="4434"/>
                  <a:pt x="6693" y="4669"/>
                </a:cubicBezTo>
                <a:cubicBezTo>
                  <a:pt x="6829" y="4903"/>
                  <a:pt x="7129" y="4984"/>
                  <a:pt x="7364" y="4848"/>
                </a:cubicBezTo>
                <a:cubicBezTo>
                  <a:pt x="7599" y="4713"/>
                  <a:pt x="7679" y="4412"/>
                  <a:pt x="7543" y="4178"/>
                </a:cubicBezTo>
                <a:cubicBezTo>
                  <a:pt x="7408" y="3943"/>
                  <a:pt x="7108" y="3863"/>
                  <a:pt x="6873" y="3998"/>
                </a:cubicBezTo>
                <a:moveTo>
                  <a:pt x="4178" y="14057"/>
                </a:moveTo>
                <a:cubicBezTo>
                  <a:pt x="3942" y="14192"/>
                  <a:pt x="3863" y="14492"/>
                  <a:pt x="3998" y="14727"/>
                </a:cubicBezTo>
                <a:cubicBezTo>
                  <a:pt x="4133" y="14962"/>
                  <a:pt x="4433" y="15043"/>
                  <a:pt x="4668" y="14907"/>
                </a:cubicBezTo>
                <a:cubicBezTo>
                  <a:pt x="4903" y="14772"/>
                  <a:pt x="4984" y="14472"/>
                  <a:pt x="4848" y="14236"/>
                </a:cubicBezTo>
                <a:cubicBezTo>
                  <a:pt x="4713" y="14001"/>
                  <a:pt x="4412" y="13921"/>
                  <a:pt x="4178" y="14057"/>
                </a:cubicBezTo>
                <a:moveTo>
                  <a:pt x="7364" y="16752"/>
                </a:moveTo>
                <a:cubicBezTo>
                  <a:pt x="7129" y="16617"/>
                  <a:pt x="6829" y="16697"/>
                  <a:pt x="6693" y="16932"/>
                </a:cubicBezTo>
                <a:cubicBezTo>
                  <a:pt x="6558" y="17167"/>
                  <a:pt x="6638" y="17467"/>
                  <a:pt x="6873" y="17602"/>
                </a:cubicBezTo>
                <a:cubicBezTo>
                  <a:pt x="7108" y="17738"/>
                  <a:pt x="7408" y="17658"/>
                  <a:pt x="7543" y="17422"/>
                </a:cubicBezTo>
                <a:cubicBezTo>
                  <a:pt x="7679" y="17188"/>
                  <a:pt x="7599" y="16887"/>
                  <a:pt x="7364" y="16752"/>
                </a:cubicBezTo>
                <a:moveTo>
                  <a:pt x="18164" y="10309"/>
                </a:moveTo>
                <a:cubicBezTo>
                  <a:pt x="17893" y="10309"/>
                  <a:pt x="17673" y="10529"/>
                  <a:pt x="17673" y="10800"/>
                </a:cubicBezTo>
                <a:cubicBezTo>
                  <a:pt x="17673" y="11072"/>
                  <a:pt x="17893" y="11291"/>
                  <a:pt x="18164" y="11291"/>
                </a:cubicBezTo>
                <a:cubicBezTo>
                  <a:pt x="18434" y="11291"/>
                  <a:pt x="18655" y="11072"/>
                  <a:pt x="18655" y="10800"/>
                </a:cubicBezTo>
                <a:cubicBezTo>
                  <a:pt x="18655" y="10529"/>
                  <a:pt x="18434" y="10309"/>
                  <a:pt x="18164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527">
            <a:extLst>
              <a:ext uri="{FF2B5EF4-FFF2-40B4-BE49-F238E27FC236}">
                <a16:creationId xmlns:a16="http://schemas.microsoft.com/office/drawing/2014/main" id="{21C5C0A3-9853-4B27-8F22-EE97F2056610}"/>
              </a:ext>
            </a:extLst>
          </p:cNvPr>
          <p:cNvSpPr/>
          <p:nvPr/>
        </p:nvSpPr>
        <p:spPr bwMode="gray">
          <a:xfrm>
            <a:off x="1741870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4236" y="10309"/>
                </a:moveTo>
                <a:lnTo>
                  <a:pt x="12694" y="10309"/>
                </a:lnTo>
                <a:cubicBezTo>
                  <a:pt x="12516" y="9622"/>
                  <a:pt x="11979" y="9084"/>
                  <a:pt x="11291" y="8906"/>
                </a:cubicBezTo>
                <a:lnTo>
                  <a:pt x="11291" y="5400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0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4236" y="11291"/>
                </a:lnTo>
                <a:cubicBezTo>
                  <a:pt x="14507" y="11291"/>
                  <a:pt x="14727" y="11072"/>
                  <a:pt x="14727" y="10800"/>
                </a:cubicBezTo>
                <a:cubicBezTo>
                  <a:pt x="14727" y="10529"/>
                  <a:pt x="14507" y="10309"/>
                  <a:pt x="14236" y="103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8655"/>
                </a:moveTo>
                <a:cubicBezTo>
                  <a:pt x="6462" y="18655"/>
                  <a:pt x="2945" y="15138"/>
                  <a:pt x="2945" y="10800"/>
                </a:cubicBezTo>
                <a:cubicBezTo>
                  <a:pt x="2945" y="6462"/>
                  <a:pt x="6462" y="2945"/>
                  <a:pt x="10800" y="2945"/>
                </a:cubicBezTo>
                <a:cubicBezTo>
                  <a:pt x="15138" y="2945"/>
                  <a:pt x="18655" y="6462"/>
                  <a:pt x="18655" y="10800"/>
                </a:cubicBezTo>
                <a:cubicBezTo>
                  <a:pt x="18655" y="15138"/>
                  <a:pt x="15138" y="18655"/>
                  <a:pt x="10800" y="18655"/>
                </a:cubicBezTo>
                <a:moveTo>
                  <a:pt x="10800" y="1964"/>
                </a:moveTo>
                <a:cubicBezTo>
                  <a:pt x="5920" y="1964"/>
                  <a:pt x="1964" y="5920"/>
                  <a:pt x="1964" y="10800"/>
                </a:cubicBezTo>
                <a:cubicBezTo>
                  <a:pt x="1964" y="15680"/>
                  <a:pt x="5920" y="19636"/>
                  <a:pt x="10800" y="19636"/>
                </a:cubicBezTo>
                <a:cubicBezTo>
                  <a:pt x="15680" y="19636"/>
                  <a:pt x="19636" y="15680"/>
                  <a:pt x="19636" y="10800"/>
                </a:cubicBezTo>
                <a:cubicBezTo>
                  <a:pt x="19636" y="5920"/>
                  <a:pt x="15680" y="1964"/>
                  <a:pt x="10800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528">
            <a:extLst>
              <a:ext uri="{FF2B5EF4-FFF2-40B4-BE49-F238E27FC236}">
                <a16:creationId xmlns:a16="http://schemas.microsoft.com/office/drawing/2014/main" id="{BB86391D-2A7D-4136-BB4E-7B50690FA33A}"/>
              </a:ext>
            </a:extLst>
          </p:cNvPr>
          <p:cNvSpPr/>
          <p:nvPr/>
        </p:nvSpPr>
        <p:spPr bwMode="gray">
          <a:xfrm>
            <a:off x="2333325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8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8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4050" y="5891"/>
                </a:move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4050" y="8836"/>
                </a:lnTo>
                <a:cubicBezTo>
                  <a:pt x="4050" y="8836"/>
                  <a:pt x="4050" y="5891"/>
                  <a:pt x="4050" y="5891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  <a:moveTo>
                  <a:pt x="11475" y="15573"/>
                </a:moveTo>
                <a:lnTo>
                  <a:pt x="11475" y="16200"/>
                </a:lnTo>
                <a:cubicBezTo>
                  <a:pt x="11475" y="16472"/>
                  <a:pt x="11172" y="16691"/>
                  <a:pt x="10800" y="16691"/>
                </a:cubicBezTo>
                <a:cubicBezTo>
                  <a:pt x="10428" y="16691"/>
                  <a:pt x="10125" y="16472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6"/>
                  <a:pt x="10055" y="13745"/>
                  <a:pt x="10800" y="13745"/>
                </a:cubicBezTo>
                <a:cubicBezTo>
                  <a:pt x="11545" y="13745"/>
                  <a:pt x="12150" y="14186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7"/>
                  <a:pt x="8798" y="16034"/>
                </a:cubicBezTo>
                <a:cubicBezTo>
                  <a:pt x="8789" y="16089"/>
                  <a:pt x="8775" y="16144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4"/>
                  <a:pt x="12810" y="16089"/>
                  <a:pt x="12802" y="16034"/>
                </a:cubicBezTo>
                <a:cubicBezTo>
                  <a:pt x="13231" y="15686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529">
            <a:extLst>
              <a:ext uri="{FF2B5EF4-FFF2-40B4-BE49-F238E27FC236}">
                <a16:creationId xmlns:a16="http://schemas.microsoft.com/office/drawing/2014/main" id="{79418B8A-5BDE-4250-938B-E43D6981194C}"/>
              </a:ext>
            </a:extLst>
          </p:cNvPr>
          <p:cNvSpPr/>
          <p:nvPr/>
        </p:nvSpPr>
        <p:spPr bwMode="gray">
          <a:xfrm>
            <a:off x="2885349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475" y="15573"/>
                </a:moveTo>
                <a:lnTo>
                  <a:pt x="11475" y="16200"/>
                </a:lnTo>
                <a:cubicBezTo>
                  <a:pt x="11475" y="16471"/>
                  <a:pt x="11172" y="16691"/>
                  <a:pt x="10800" y="16691"/>
                </a:cubicBezTo>
                <a:cubicBezTo>
                  <a:pt x="10428" y="16691"/>
                  <a:pt x="10125" y="16471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5"/>
                  <a:pt x="10055" y="13745"/>
                  <a:pt x="10800" y="13745"/>
                </a:cubicBezTo>
                <a:cubicBezTo>
                  <a:pt x="11545" y="13745"/>
                  <a:pt x="12150" y="14185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6"/>
                  <a:pt x="8798" y="16034"/>
                </a:cubicBezTo>
                <a:cubicBezTo>
                  <a:pt x="8789" y="16089"/>
                  <a:pt x="8775" y="16143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3"/>
                  <a:pt x="12810" y="16089"/>
                  <a:pt x="12802" y="16034"/>
                </a:cubicBezTo>
                <a:cubicBezTo>
                  <a:pt x="13231" y="15687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9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cubicBezTo>
                  <a:pt x="2700" y="6162"/>
                  <a:pt x="3003" y="6382"/>
                  <a:pt x="3375" y="6382"/>
                </a:cubicBezTo>
                <a:cubicBezTo>
                  <a:pt x="3747" y="6382"/>
                  <a:pt x="4050" y="6162"/>
                  <a:pt x="4050" y="5891"/>
                </a:cubicBez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530">
            <a:extLst>
              <a:ext uri="{FF2B5EF4-FFF2-40B4-BE49-F238E27FC236}">
                <a16:creationId xmlns:a16="http://schemas.microsoft.com/office/drawing/2014/main" id="{FD20D594-1EF3-4649-87AB-925F4625B408}"/>
              </a:ext>
            </a:extLst>
          </p:cNvPr>
          <p:cNvSpPr/>
          <p:nvPr/>
        </p:nvSpPr>
        <p:spPr bwMode="gray">
          <a:xfrm>
            <a:off x="3424230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6000" y="20617"/>
                </a:lnTo>
                <a:lnTo>
                  <a:pt x="6000" y="982"/>
                </a:lnTo>
                <a:lnTo>
                  <a:pt x="13200" y="982"/>
                </a:lnTo>
                <a:lnTo>
                  <a:pt x="13200" y="6872"/>
                </a:lnTo>
                <a:lnTo>
                  <a:pt x="15600" y="4909"/>
                </a:lnTo>
                <a:lnTo>
                  <a:pt x="18000" y="6872"/>
                </a:lnTo>
                <a:lnTo>
                  <a:pt x="180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4800" y="20617"/>
                </a:move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4800" y="982"/>
                </a:lnTo>
                <a:cubicBezTo>
                  <a:pt x="4800" y="982"/>
                  <a:pt x="4800" y="20617"/>
                  <a:pt x="4800" y="20617"/>
                </a:cubicBezTo>
                <a:close/>
                <a:moveTo>
                  <a:pt x="14400" y="982"/>
                </a:moveTo>
                <a:lnTo>
                  <a:pt x="16800" y="982"/>
                </a:lnTo>
                <a:lnTo>
                  <a:pt x="16800" y="4418"/>
                </a:lnTo>
                <a:lnTo>
                  <a:pt x="15600" y="3436"/>
                </a:lnTo>
                <a:lnTo>
                  <a:pt x="14400" y="4418"/>
                </a:lnTo>
                <a:cubicBezTo>
                  <a:pt x="14400" y="4418"/>
                  <a:pt x="14400" y="982"/>
                  <a:pt x="14400" y="982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531">
            <a:extLst>
              <a:ext uri="{FF2B5EF4-FFF2-40B4-BE49-F238E27FC236}">
                <a16:creationId xmlns:a16="http://schemas.microsoft.com/office/drawing/2014/main" id="{D1B1607E-87A0-4CDE-B9A0-700642C97AE9}"/>
              </a:ext>
            </a:extLst>
          </p:cNvPr>
          <p:cNvSpPr/>
          <p:nvPr/>
        </p:nvSpPr>
        <p:spPr bwMode="gray">
          <a:xfrm>
            <a:off x="3976254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7200" y="20618"/>
                </a:lnTo>
                <a:lnTo>
                  <a:pt x="72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6000" y="20618"/>
                </a:moveTo>
                <a:lnTo>
                  <a:pt x="3600" y="20618"/>
                </a:lnTo>
                <a:cubicBezTo>
                  <a:pt x="2937" y="20618"/>
                  <a:pt x="2400" y="20179"/>
                  <a:pt x="2400" y="19636"/>
                </a:cubicBezTo>
                <a:lnTo>
                  <a:pt x="2400" y="18655"/>
                </a:lnTo>
                <a:lnTo>
                  <a:pt x="3000" y="18655"/>
                </a:lnTo>
                <a:cubicBezTo>
                  <a:pt x="3332" y="18655"/>
                  <a:pt x="3600" y="18435"/>
                  <a:pt x="3600" y="18164"/>
                </a:cubicBezTo>
                <a:cubicBezTo>
                  <a:pt x="3600" y="17893"/>
                  <a:pt x="3332" y="17673"/>
                  <a:pt x="3000" y="17673"/>
                </a:cubicBezTo>
                <a:lnTo>
                  <a:pt x="2400" y="17673"/>
                </a:lnTo>
                <a:lnTo>
                  <a:pt x="2400" y="15709"/>
                </a:lnTo>
                <a:lnTo>
                  <a:pt x="3000" y="15709"/>
                </a:lnTo>
                <a:cubicBezTo>
                  <a:pt x="3332" y="15709"/>
                  <a:pt x="3600" y="15490"/>
                  <a:pt x="3600" y="15218"/>
                </a:cubicBezTo>
                <a:cubicBezTo>
                  <a:pt x="3600" y="14947"/>
                  <a:pt x="3332" y="14727"/>
                  <a:pt x="3000" y="14727"/>
                </a:cubicBezTo>
                <a:lnTo>
                  <a:pt x="2400" y="14727"/>
                </a:lnTo>
                <a:lnTo>
                  <a:pt x="2400" y="12764"/>
                </a:lnTo>
                <a:lnTo>
                  <a:pt x="3000" y="12764"/>
                </a:lnTo>
                <a:cubicBezTo>
                  <a:pt x="3332" y="12764"/>
                  <a:pt x="3600" y="12544"/>
                  <a:pt x="3600" y="12273"/>
                </a:cubicBezTo>
                <a:cubicBezTo>
                  <a:pt x="3600" y="12002"/>
                  <a:pt x="3332" y="11782"/>
                  <a:pt x="3000" y="11782"/>
                </a:cubicBezTo>
                <a:lnTo>
                  <a:pt x="2400" y="11782"/>
                </a:lnTo>
                <a:lnTo>
                  <a:pt x="2400" y="9818"/>
                </a:lnTo>
                <a:lnTo>
                  <a:pt x="3000" y="9818"/>
                </a:lnTo>
                <a:cubicBezTo>
                  <a:pt x="3332" y="9818"/>
                  <a:pt x="3600" y="9599"/>
                  <a:pt x="3600" y="9327"/>
                </a:cubicBezTo>
                <a:cubicBezTo>
                  <a:pt x="3600" y="9056"/>
                  <a:pt x="3332" y="8836"/>
                  <a:pt x="3000" y="8836"/>
                </a:cubicBezTo>
                <a:lnTo>
                  <a:pt x="2400" y="8836"/>
                </a:lnTo>
                <a:lnTo>
                  <a:pt x="2400" y="6873"/>
                </a:lnTo>
                <a:lnTo>
                  <a:pt x="3000" y="6873"/>
                </a:lnTo>
                <a:cubicBezTo>
                  <a:pt x="3332" y="6873"/>
                  <a:pt x="3600" y="6653"/>
                  <a:pt x="3600" y="6382"/>
                </a:cubicBezTo>
                <a:cubicBezTo>
                  <a:pt x="3600" y="6111"/>
                  <a:pt x="3332" y="5891"/>
                  <a:pt x="3000" y="5891"/>
                </a:cubicBezTo>
                <a:lnTo>
                  <a:pt x="2400" y="5891"/>
                </a:lnTo>
                <a:lnTo>
                  <a:pt x="2400" y="3927"/>
                </a:lnTo>
                <a:lnTo>
                  <a:pt x="3000" y="3927"/>
                </a:lnTo>
                <a:cubicBezTo>
                  <a:pt x="3332" y="3927"/>
                  <a:pt x="3600" y="3708"/>
                  <a:pt x="3600" y="3436"/>
                </a:cubicBezTo>
                <a:cubicBezTo>
                  <a:pt x="3600" y="3166"/>
                  <a:pt x="3332" y="2945"/>
                  <a:pt x="3000" y="2945"/>
                </a:cubicBezTo>
                <a:lnTo>
                  <a:pt x="2400" y="2945"/>
                </a:lnTo>
                <a:lnTo>
                  <a:pt x="2400" y="1964"/>
                </a:lnTo>
                <a:cubicBezTo>
                  <a:pt x="2400" y="1422"/>
                  <a:pt x="2937" y="982"/>
                  <a:pt x="3600" y="982"/>
                </a:cubicBezTo>
                <a:lnTo>
                  <a:pt x="6000" y="982"/>
                </a:lnTo>
                <a:cubicBezTo>
                  <a:pt x="6000" y="982"/>
                  <a:pt x="6000" y="20618"/>
                  <a:pt x="6000" y="20618"/>
                </a:cubicBezTo>
                <a:close/>
                <a:moveTo>
                  <a:pt x="19200" y="0"/>
                </a:moveTo>
                <a:lnTo>
                  <a:pt x="3600" y="0"/>
                </a:lnTo>
                <a:cubicBezTo>
                  <a:pt x="2275" y="0"/>
                  <a:pt x="1200" y="879"/>
                  <a:pt x="1200" y="1964"/>
                </a:cubicBezTo>
                <a:lnTo>
                  <a:pt x="1200" y="2945"/>
                </a:lnTo>
                <a:lnTo>
                  <a:pt x="600" y="2945"/>
                </a:lnTo>
                <a:cubicBezTo>
                  <a:pt x="268" y="2945"/>
                  <a:pt x="0" y="3166"/>
                  <a:pt x="0" y="3436"/>
                </a:cubicBezTo>
                <a:cubicBezTo>
                  <a:pt x="0" y="3708"/>
                  <a:pt x="268" y="3927"/>
                  <a:pt x="600" y="3927"/>
                </a:cubicBezTo>
                <a:lnTo>
                  <a:pt x="1200" y="3927"/>
                </a:lnTo>
                <a:lnTo>
                  <a:pt x="1200" y="5891"/>
                </a:lnTo>
                <a:lnTo>
                  <a:pt x="600" y="5891"/>
                </a:lnTo>
                <a:cubicBezTo>
                  <a:pt x="268" y="5891"/>
                  <a:pt x="0" y="6111"/>
                  <a:pt x="0" y="6382"/>
                </a:cubicBezTo>
                <a:cubicBezTo>
                  <a:pt x="0" y="6653"/>
                  <a:pt x="268" y="6873"/>
                  <a:pt x="600" y="6873"/>
                </a:cubicBezTo>
                <a:lnTo>
                  <a:pt x="1200" y="6873"/>
                </a:lnTo>
                <a:lnTo>
                  <a:pt x="1200" y="8836"/>
                </a:lnTo>
                <a:lnTo>
                  <a:pt x="600" y="8836"/>
                </a:lnTo>
                <a:cubicBezTo>
                  <a:pt x="268" y="8836"/>
                  <a:pt x="0" y="9056"/>
                  <a:pt x="0" y="9327"/>
                </a:cubicBezTo>
                <a:cubicBezTo>
                  <a:pt x="0" y="9599"/>
                  <a:pt x="268" y="9818"/>
                  <a:pt x="600" y="9818"/>
                </a:cubicBezTo>
                <a:lnTo>
                  <a:pt x="1200" y="9818"/>
                </a:lnTo>
                <a:lnTo>
                  <a:pt x="1200" y="11782"/>
                </a:lnTo>
                <a:lnTo>
                  <a:pt x="600" y="11782"/>
                </a:lnTo>
                <a:cubicBezTo>
                  <a:pt x="268" y="11782"/>
                  <a:pt x="0" y="12002"/>
                  <a:pt x="0" y="12273"/>
                </a:cubicBezTo>
                <a:cubicBezTo>
                  <a:pt x="0" y="12544"/>
                  <a:pt x="268" y="12764"/>
                  <a:pt x="600" y="12764"/>
                </a:cubicBezTo>
                <a:lnTo>
                  <a:pt x="1200" y="12764"/>
                </a:lnTo>
                <a:lnTo>
                  <a:pt x="1200" y="14727"/>
                </a:lnTo>
                <a:lnTo>
                  <a:pt x="600" y="14727"/>
                </a:lnTo>
                <a:cubicBezTo>
                  <a:pt x="268" y="14727"/>
                  <a:pt x="0" y="14947"/>
                  <a:pt x="0" y="15218"/>
                </a:cubicBezTo>
                <a:cubicBezTo>
                  <a:pt x="0" y="15490"/>
                  <a:pt x="268" y="15709"/>
                  <a:pt x="600" y="15709"/>
                </a:cubicBezTo>
                <a:lnTo>
                  <a:pt x="1200" y="15709"/>
                </a:lnTo>
                <a:lnTo>
                  <a:pt x="1200" y="17673"/>
                </a:lnTo>
                <a:lnTo>
                  <a:pt x="600" y="17673"/>
                </a:lnTo>
                <a:cubicBezTo>
                  <a:pt x="268" y="17673"/>
                  <a:pt x="0" y="17893"/>
                  <a:pt x="0" y="18164"/>
                </a:cubicBezTo>
                <a:cubicBezTo>
                  <a:pt x="0" y="18435"/>
                  <a:pt x="268" y="18655"/>
                  <a:pt x="600" y="18655"/>
                </a:cubicBezTo>
                <a:lnTo>
                  <a:pt x="1200" y="18655"/>
                </a:lnTo>
                <a:lnTo>
                  <a:pt x="1200" y="19636"/>
                </a:lnTo>
                <a:cubicBezTo>
                  <a:pt x="1200" y="20721"/>
                  <a:pt x="2275" y="21600"/>
                  <a:pt x="36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532">
            <a:extLst>
              <a:ext uri="{FF2B5EF4-FFF2-40B4-BE49-F238E27FC236}">
                <a16:creationId xmlns:a16="http://schemas.microsoft.com/office/drawing/2014/main" id="{BBF011F4-DDA9-425B-9A6E-CAEB5D748E89}"/>
              </a:ext>
            </a:extLst>
          </p:cNvPr>
          <p:cNvSpPr/>
          <p:nvPr/>
        </p:nvSpPr>
        <p:spPr bwMode="gray">
          <a:xfrm>
            <a:off x="4528279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3"/>
                  <a:pt x="14400" y="6873"/>
                </a:cubicBezTo>
                <a:lnTo>
                  <a:pt x="20400" y="6873"/>
                </a:lnTo>
                <a:cubicBezTo>
                  <a:pt x="20400" y="6873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4800" y="8836"/>
                </a:moveTo>
                <a:cubicBezTo>
                  <a:pt x="4800" y="9108"/>
                  <a:pt x="5068" y="9327"/>
                  <a:pt x="5400" y="9327"/>
                </a:cubicBezTo>
                <a:lnTo>
                  <a:pt x="16200" y="9327"/>
                </a:lnTo>
                <a:cubicBezTo>
                  <a:pt x="16532" y="9327"/>
                  <a:pt x="16800" y="9108"/>
                  <a:pt x="16800" y="8836"/>
                </a:cubicBezTo>
                <a:cubicBezTo>
                  <a:pt x="16800" y="8566"/>
                  <a:pt x="16532" y="8345"/>
                  <a:pt x="16200" y="8345"/>
                </a:cubicBezTo>
                <a:lnTo>
                  <a:pt x="5400" y="8345"/>
                </a:lnTo>
                <a:cubicBezTo>
                  <a:pt x="5068" y="8345"/>
                  <a:pt x="4800" y="8566"/>
                  <a:pt x="4800" y="8836"/>
                </a:cubicBezTo>
                <a:moveTo>
                  <a:pt x="16200" y="12273"/>
                </a:moveTo>
                <a:lnTo>
                  <a:pt x="5400" y="12273"/>
                </a:lnTo>
                <a:cubicBezTo>
                  <a:pt x="5068" y="12273"/>
                  <a:pt x="4800" y="12493"/>
                  <a:pt x="4800" y="12764"/>
                </a:cubicBezTo>
                <a:cubicBezTo>
                  <a:pt x="4800" y="13035"/>
                  <a:pt x="5068" y="13255"/>
                  <a:pt x="5400" y="13255"/>
                </a:cubicBezTo>
                <a:lnTo>
                  <a:pt x="16200" y="13255"/>
                </a:lnTo>
                <a:cubicBezTo>
                  <a:pt x="16532" y="13255"/>
                  <a:pt x="16800" y="13035"/>
                  <a:pt x="16800" y="12764"/>
                </a:cubicBezTo>
                <a:cubicBezTo>
                  <a:pt x="16800" y="12493"/>
                  <a:pt x="16532" y="12273"/>
                  <a:pt x="16200" y="12273"/>
                </a:cubicBezTo>
                <a:moveTo>
                  <a:pt x="5400" y="5400"/>
                </a:moveTo>
                <a:lnTo>
                  <a:pt x="8400" y="5400"/>
                </a:lnTo>
                <a:cubicBezTo>
                  <a:pt x="8732" y="5400"/>
                  <a:pt x="9000" y="5181"/>
                  <a:pt x="9000" y="4909"/>
                </a:cubicBezTo>
                <a:cubicBezTo>
                  <a:pt x="9000" y="4638"/>
                  <a:pt x="8732" y="4418"/>
                  <a:pt x="8400" y="4418"/>
                </a:cubicBezTo>
                <a:lnTo>
                  <a:pt x="5400" y="4418"/>
                </a:lnTo>
                <a:cubicBezTo>
                  <a:pt x="5068" y="4418"/>
                  <a:pt x="4800" y="4638"/>
                  <a:pt x="4800" y="4909"/>
                </a:cubicBezTo>
                <a:cubicBezTo>
                  <a:pt x="4800" y="5181"/>
                  <a:pt x="5068" y="5400"/>
                  <a:pt x="5400" y="5400"/>
                </a:cubicBezTo>
                <a:moveTo>
                  <a:pt x="12600" y="16200"/>
                </a:moveTo>
                <a:lnTo>
                  <a:pt x="5400" y="16200"/>
                </a:lnTo>
                <a:cubicBezTo>
                  <a:pt x="5068" y="16200"/>
                  <a:pt x="4800" y="16420"/>
                  <a:pt x="4800" y="16691"/>
                </a:cubicBezTo>
                <a:cubicBezTo>
                  <a:pt x="4800" y="16962"/>
                  <a:pt x="5068" y="17182"/>
                  <a:pt x="5400" y="17182"/>
                </a:cubicBezTo>
                <a:lnTo>
                  <a:pt x="12600" y="17182"/>
                </a:lnTo>
                <a:cubicBezTo>
                  <a:pt x="12932" y="17182"/>
                  <a:pt x="13200" y="16962"/>
                  <a:pt x="13200" y="16691"/>
                </a:cubicBezTo>
                <a:cubicBezTo>
                  <a:pt x="13200" y="16420"/>
                  <a:pt x="12932" y="16200"/>
                  <a:pt x="12600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533">
            <a:extLst>
              <a:ext uri="{FF2B5EF4-FFF2-40B4-BE49-F238E27FC236}">
                <a16:creationId xmlns:a16="http://schemas.microsoft.com/office/drawing/2014/main" id="{F66D491B-EEE3-42AA-A6F3-B804C3A8F3D9}"/>
              </a:ext>
            </a:extLst>
          </p:cNvPr>
          <p:cNvSpPr/>
          <p:nvPr/>
        </p:nvSpPr>
        <p:spPr bwMode="gray">
          <a:xfrm>
            <a:off x="5080303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7"/>
                </a:lnTo>
                <a:lnTo>
                  <a:pt x="13929" y="8836"/>
                </a:lnTo>
                <a:cubicBezTo>
                  <a:pt x="13929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9"/>
                  <a:pt x="13862" y="20618"/>
                  <a:pt x="13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6873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3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1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9" y="3927"/>
                </a:lnTo>
                <a:cubicBezTo>
                  <a:pt x="19929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8" y="3927"/>
                  <a:pt x="6600" y="3927"/>
                </a:cubicBezTo>
                <a:cubicBezTo>
                  <a:pt x="6932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8" y="15709"/>
                  <a:pt x="16800" y="15929"/>
                  <a:pt x="16800" y="16200"/>
                </a:cubicBezTo>
                <a:cubicBezTo>
                  <a:pt x="16800" y="16472"/>
                  <a:pt x="17068" y="16691"/>
                  <a:pt x="17400" y="16691"/>
                </a:cubicBezTo>
                <a:lnTo>
                  <a:pt x="19200" y="16691"/>
                </a:lnTo>
                <a:cubicBezTo>
                  <a:pt x="20525" y="16691"/>
                  <a:pt x="21600" y="15812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  <a:moveTo>
                  <a:pt x="3600" y="12273"/>
                </a:moveTo>
                <a:cubicBezTo>
                  <a:pt x="3600" y="12544"/>
                  <a:pt x="3868" y="12764"/>
                  <a:pt x="4200" y="12764"/>
                </a:cubicBezTo>
                <a:lnTo>
                  <a:pt x="11400" y="12764"/>
                </a:lnTo>
                <a:cubicBezTo>
                  <a:pt x="11732" y="12764"/>
                  <a:pt x="12000" y="12544"/>
                  <a:pt x="12000" y="12273"/>
                </a:cubicBezTo>
                <a:cubicBezTo>
                  <a:pt x="12000" y="12002"/>
                  <a:pt x="11732" y="11782"/>
                  <a:pt x="11400" y="11782"/>
                </a:cubicBezTo>
                <a:lnTo>
                  <a:pt x="4200" y="11782"/>
                </a:lnTo>
                <a:cubicBezTo>
                  <a:pt x="3868" y="11782"/>
                  <a:pt x="3600" y="12002"/>
                  <a:pt x="3600" y="12273"/>
                </a:cubicBezTo>
                <a:moveTo>
                  <a:pt x="4200" y="9818"/>
                </a:moveTo>
                <a:lnTo>
                  <a:pt x="6600" y="9818"/>
                </a:lnTo>
                <a:cubicBezTo>
                  <a:pt x="6932" y="9818"/>
                  <a:pt x="7200" y="9599"/>
                  <a:pt x="7200" y="9327"/>
                </a:cubicBezTo>
                <a:cubicBezTo>
                  <a:pt x="7200" y="9056"/>
                  <a:pt x="6932" y="8836"/>
                  <a:pt x="6600" y="8836"/>
                </a:cubicBezTo>
                <a:lnTo>
                  <a:pt x="4200" y="8836"/>
                </a:lnTo>
                <a:cubicBezTo>
                  <a:pt x="3868" y="8836"/>
                  <a:pt x="3600" y="9056"/>
                  <a:pt x="3600" y="9327"/>
                </a:cubicBezTo>
                <a:cubicBezTo>
                  <a:pt x="3600" y="9599"/>
                  <a:pt x="3868" y="9818"/>
                  <a:pt x="4200" y="9818"/>
                </a:cubicBezTo>
                <a:moveTo>
                  <a:pt x="9000" y="17673"/>
                </a:moveTo>
                <a:lnTo>
                  <a:pt x="4200" y="17673"/>
                </a:lnTo>
                <a:cubicBezTo>
                  <a:pt x="3868" y="17673"/>
                  <a:pt x="3600" y="17893"/>
                  <a:pt x="3600" y="18164"/>
                </a:cubicBezTo>
                <a:cubicBezTo>
                  <a:pt x="3600" y="18435"/>
                  <a:pt x="3868" y="18655"/>
                  <a:pt x="4200" y="18655"/>
                </a:cubicBezTo>
                <a:lnTo>
                  <a:pt x="9000" y="18655"/>
                </a:lnTo>
                <a:cubicBezTo>
                  <a:pt x="9332" y="18655"/>
                  <a:pt x="9600" y="18435"/>
                  <a:pt x="9600" y="18164"/>
                </a:cubicBezTo>
                <a:cubicBezTo>
                  <a:pt x="9600" y="17893"/>
                  <a:pt x="9332" y="17673"/>
                  <a:pt x="9000" y="17673"/>
                </a:cubicBezTo>
                <a:moveTo>
                  <a:pt x="11400" y="14727"/>
                </a:moveTo>
                <a:lnTo>
                  <a:pt x="4200" y="14727"/>
                </a:lnTo>
                <a:cubicBezTo>
                  <a:pt x="3868" y="14727"/>
                  <a:pt x="3600" y="14947"/>
                  <a:pt x="3600" y="15218"/>
                </a:cubicBezTo>
                <a:cubicBezTo>
                  <a:pt x="3600" y="15490"/>
                  <a:pt x="3868" y="15709"/>
                  <a:pt x="4200" y="15709"/>
                </a:cubicBezTo>
                <a:lnTo>
                  <a:pt x="11400" y="15709"/>
                </a:lnTo>
                <a:cubicBezTo>
                  <a:pt x="11732" y="15709"/>
                  <a:pt x="12000" y="15490"/>
                  <a:pt x="12000" y="15218"/>
                </a:cubicBezTo>
                <a:cubicBezTo>
                  <a:pt x="12000" y="14947"/>
                  <a:pt x="11732" y="14727"/>
                  <a:pt x="11400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534">
            <a:extLst>
              <a:ext uri="{FF2B5EF4-FFF2-40B4-BE49-F238E27FC236}">
                <a16:creationId xmlns:a16="http://schemas.microsoft.com/office/drawing/2014/main" id="{89425B49-02C3-4581-B1AB-F95E9B2FB189}"/>
              </a:ext>
            </a:extLst>
          </p:cNvPr>
          <p:cNvSpPr/>
          <p:nvPr/>
        </p:nvSpPr>
        <p:spPr bwMode="gray">
          <a:xfrm>
            <a:off x="5632327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535">
            <a:extLst>
              <a:ext uri="{FF2B5EF4-FFF2-40B4-BE49-F238E27FC236}">
                <a16:creationId xmlns:a16="http://schemas.microsoft.com/office/drawing/2014/main" id="{1EA3E1EC-2EDA-489A-A9A7-A0216F07EE83}"/>
              </a:ext>
            </a:extLst>
          </p:cNvPr>
          <p:cNvSpPr/>
          <p:nvPr/>
        </p:nvSpPr>
        <p:spPr bwMode="gray">
          <a:xfrm>
            <a:off x="664108" y="2311069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6"/>
                </a:lnTo>
                <a:lnTo>
                  <a:pt x="13928" y="8836"/>
                </a:lnTo>
                <a:cubicBezTo>
                  <a:pt x="13928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8"/>
                  <a:pt x="13862" y="20617"/>
                  <a:pt x="13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6872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2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0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8" y="3927"/>
                </a:lnTo>
                <a:cubicBezTo>
                  <a:pt x="19928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9" y="3927"/>
                  <a:pt x="6600" y="3927"/>
                </a:cubicBezTo>
                <a:cubicBezTo>
                  <a:pt x="6931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9" y="15709"/>
                  <a:pt x="16800" y="15929"/>
                  <a:pt x="16800" y="16199"/>
                </a:cubicBezTo>
                <a:cubicBezTo>
                  <a:pt x="16800" y="16471"/>
                  <a:pt x="17069" y="16690"/>
                  <a:pt x="17400" y="16690"/>
                </a:cubicBezTo>
                <a:lnTo>
                  <a:pt x="19200" y="16690"/>
                </a:lnTo>
                <a:cubicBezTo>
                  <a:pt x="20525" y="16690"/>
                  <a:pt x="21600" y="15811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536">
            <a:extLst>
              <a:ext uri="{FF2B5EF4-FFF2-40B4-BE49-F238E27FC236}">
                <a16:creationId xmlns:a16="http://schemas.microsoft.com/office/drawing/2014/main" id="{9DE4E98D-48A3-452C-94FE-9471C7E9FA33}"/>
              </a:ext>
            </a:extLst>
          </p:cNvPr>
          <p:cNvSpPr/>
          <p:nvPr/>
        </p:nvSpPr>
        <p:spPr bwMode="gray">
          <a:xfrm>
            <a:off x="1189845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18" y="11782"/>
                </a:moveTo>
                <a:lnTo>
                  <a:pt x="14236" y="11782"/>
                </a:lnTo>
                <a:cubicBezTo>
                  <a:pt x="14507" y="11782"/>
                  <a:pt x="14727" y="11562"/>
                  <a:pt x="14727" y="11291"/>
                </a:cubicBezTo>
                <a:cubicBezTo>
                  <a:pt x="14727" y="11020"/>
                  <a:pt x="14507" y="10800"/>
                  <a:pt x="14236" y="10800"/>
                </a:cubicBezTo>
                <a:lnTo>
                  <a:pt x="4418" y="10800"/>
                </a:lnTo>
                <a:cubicBezTo>
                  <a:pt x="4147" y="10800"/>
                  <a:pt x="3927" y="11020"/>
                  <a:pt x="3927" y="11291"/>
                </a:cubicBezTo>
                <a:cubicBezTo>
                  <a:pt x="3927" y="11562"/>
                  <a:pt x="4147" y="11782"/>
                  <a:pt x="4418" y="11782"/>
                </a:cubicBezTo>
                <a:moveTo>
                  <a:pt x="20618" y="20618"/>
                </a:moveTo>
                <a:lnTo>
                  <a:pt x="5891" y="20618"/>
                </a:lnTo>
                <a:lnTo>
                  <a:pt x="5891" y="16200"/>
                </a:lnTo>
                <a:cubicBezTo>
                  <a:pt x="5891" y="15929"/>
                  <a:pt x="5671" y="15709"/>
                  <a:pt x="5400" y="15709"/>
                </a:cubicBezTo>
                <a:lnTo>
                  <a:pt x="982" y="157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0618"/>
                  <a:pt x="20618" y="20618"/>
                </a:cubicBezTo>
                <a:close/>
                <a:moveTo>
                  <a:pt x="4909" y="20127"/>
                </a:moveTo>
                <a:lnTo>
                  <a:pt x="1473" y="16691"/>
                </a:lnTo>
                <a:lnTo>
                  <a:pt x="4909" y="16691"/>
                </a:lnTo>
                <a:cubicBezTo>
                  <a:pt x="4909" y="16691"/>
                  <a:pt x="4909" y="20127"/>
                  <a:pt x="4909" y="20127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lnTo>
                  <a:pt x="4909" y="21600"/>
                </a:lnTo>
                <a:lnTo>
                  <a:pt x="20618" y="21600"/>
                </a:lnTo>
                <a:cubicBezTo>
                  <a:pt x="21160" y="21600"/>
                  <a:pt x="21600" y="21161"/>
                  <a:pt x="21600" y="20618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418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4418" y="7855"/>
                </a:lnTo>
                <a:cubicBezTo>
                  <a:pt x="4147" y="7855"/>
                  <a:pt x="3927" y="8075"/>
                  <a:pt x="3927" y="8345"/>
                </a:cubicBezTo>
                <a:cubicBezTo>
                  <a:pt x="3927" y="8617"/>
                  <a:pt x="4147" y="8836"/>
                  <a:pt x="4418" y="8836"/>
                </a:cubicBezTo>
                <a:moveTo>
                  <a:pt x="4418" y="5891"/>
                </a:moveTo>
                <a:lnTo>
                  <a:pt x="10309" y="5891"/>
                </a:lnTo>
                <a:cubicBezTo>
                  <a:pt x="10580" y="5891"/>
                  <a:pt x="10800" y="5672"/>
                  <a:pt x="10800" y="5400"/>
                </a:cubicBezTo>
                <a:cubicBezTo>
                  <a:pt x="10800" y="5129"/>
                  <a:pt x="10580" y="4909"/>
                  <a:pt x="10309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cubicBezTo>
                  <a:pt x="3927" y="5672"/>
                  <a:pt x="4147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537">
            <a:extLst>
              <a:ext uri="{FF2B5EF4-FFF2-40B4-BE49-F238E27FC236}">
                <a16:creationId xmlns:a16="http://schemas.microsoft.com/office/drawing/2014/main" id="{CAE19F22-CAB4-4770-88D0-758CB0BC4B6E}"/>
              </a:ext>
            </a:extLst>
          </p:cNvPr>
          <p:cNvSpPr/>
          <p:nvPr/>
        </p:nvSpPr>
        <p:spPr bwMode="gray">
          <a:xfrm>
            <a:off x="1768157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3600" y="13745"/>
                </a:lnTo>
                <a:cubicBezTo>
                  <a:pt x="3269" y="13745"/>
                  <a:pt x="3000" y="13966"/>
                  <a:pt x="3000" y="14236"/>
                </a:cubicBezTo>
                <a:cubicBezTo>
                  <a:pt x="3000" y="14508"/>
                  <a:pt x="3269" y="14727"/>
                  <a:pt x="3600" y="14727"/>
                </a:cubicBezTo>
                <a:lnTo>
                  <a:pt x="14400" y="14727"/>
                </a:lnTo>
                <a:cubicBezTo>
                  <a:pt x="14731" y="14727"/>
                  <a:pt x="15000" y="14508"/>
                  <a:pt x="15000" y="14236"/>
                </a:cubicBezTo>
                <a:cubicBezTo>
                  <a:pt x="15000" y="13966"/>
                  <a:pt x="14731" y="13745"/>
                  <a:pt x="14400" y="13745"/>
                </a:cubicBezTo>
                <a:moveTo>
                  <a:pt x="3000" y="11291"/>
                </a:moveTo>
                <a:cubicBezTo>
                  <a:pt x="3000" y="11562"/>
                  <a:pt x="3269" y="11782"/>
                  <a:pt x="3600" y="11782"/>
                </a:cubicBezTo>
                <a:lnTo>
                  <a:pt x="18000" y="11782"/>
                </a:lnTo>
                <a:cubicBezTo>
                  <a:pt x="18331" y="11782"/>
                  <a:pt x="18600" y="11562"/>
                  <a:pt x="18600" y="11291"/>
                </a:cubicBezTo>
                <a:cubicBezTo>
                  <a:pt x="18600" y="11020"/>
                  <a:pt x="18331" y="10800"/>
                  <a:pt x="18000" y="10800"/>
                </a:cubicBezTo>
                <a:lnTo>
                  <a:pt x="3600" y="10800"/>
                </a:lnTo>
                <a:cubicBezTo>
                  <a:pt x="3269" y="10800"/>
                  <a:pt x="3000" y="11020"/>
                  <a:pt x="3000" y="11291"/>
                </a:cubicBezTo>
                <a:moveTo>
                  <a:pt x="20400" y="20618"/>
                </a:moveTo>
                <a:lnTo>
                  <a:pt x="6600" y="20618"/>
                </a:lnTo>
                <a:lnTo>
                  <a:pt x="1200" y="16200"/>
                </a:lnTo>
                <a:lnTo>
                  <a:pt x="1200" y="2945"/>
                </a:lnTo>
                <a:lnTo>
                  <a:pt x="4200" y="2945"/>
                </a:lnTo>
                <a:lnTo>
                  <a:pt x="4200" y="4418"/>
                </a:lnTo>
                <a:cubicBezTo>
                  <a:pt x="4200" y="4690"/>
                  <a:pt x="4469" y="4909"/>
                  <a:pt x="4800" y="4909"/>
                </a:cubicBezTo>
                <a:cubicBezTo>
                  <a:pt x="5131" y="4909"/>
                  <a:pt x="5400" y="4690"/>
                  <a:pt x="5400" y="4418"/>
                </a:cubicBezTo>
                <a:lnTo>
                  <a:pt x="5400" y="2945"/>
                </a:lnTo>
                <a:lnTo>
                  <a:pt x="6600" y="2945"/>
                </a:lnTo>
                <a:lnTo>
                  <a:pt x="6600" y="4418"/>
                </a:lnTo>
                <a:cubicBezTo>
                  <a:pt x="6600" y="4690"/>
                  <a:pt x="6869" y="4909"/>
                  <a:pt x="7200" y="4909"/>
                </a:cubicBezTo>
                <a:cubicBezTo>
                  <a:pt x="7531" y="4909"/>
                  <a:pt x="7800" y="4690"/>
                  <a:pt x="7800" y="4418"/>
                </a:cubicBezTo>
                <a:lnTo>
                  <a:pt x="7800" y="2945"/>
                </a:lnTo>
                <a:lnTo>
                  <a:pt x="9000" y="2945"/>
                </a:lnTo>
                <a:lnTo>
                  <a:pt x="9000" y="4418"/>
                </a:lnTo>
                <a:cubicBezTo>
                  <a:pt x="9000" y="4690"/>
                  <a:pt x="9269" y="4909"/>
                  <a:pt x="9600" y="4909"/>
                </a:cubicBezTo>
                <a:cubicBezTo>
                  <a:pt x="9931" y="4909"/>
                  <a:pt x="10200" y="4690"/>
                  <a:pt x="10200" y="4418"/>
                </a:cubicBezTo>
                <a:lnTo>
                  <a:pt x="10200" y="2945"/>
                </a:lnTo>
                <a:lnTo>
                  <a:pt x="11400" y="2945"/>
                </a:lnTo>
                <a:lnTo>
                  <a:pt x="11400" y="4418"/>
                </a:lnTo>
                <a:cubicBezTo>
                  <a:pt x="11400" y="4690"/>
                  <a:pt x="11669" y="4909"/>
                  <a:pt x="12000" y="4909"/>
                </a:cubicBezTo>
                <a:cubicBezTo>
                  <a:pt x="12331" y="4909"/>
                  <a:pt x="12600" y="4690"/>
                  <a:pt x="12600" y="4418"/>
                </a:cubicBezTo>
                <a:lnTo>
                  <a:pt x="12600" y="2945"/>
                </a:lnTo>
                <a:lnTo>
                  <a:pt x="13800" y="2945"/>
                </a:lnTo>
                <a:lnTo>
                  <a:pt x="13800" y="4418"/>
                </a:lnTo>
                <a:cubicBezTo>
                  <a:pt x="13800" y="4690"/>
                  <a:pt x="14069" y="4909"/>
                  <a:pt x="14400" y="4909"/>
                </a:cubicBezTo>
                <a:cubicBezTo>
                  <a:pt x="14731" y="4909"/>
                  <a:pt x="15000" y="4690"/>
                  <a:pt x="15000" y="4418"/>
                </a:cubicBezTo>
                <a:lnTo>
                  <a:pt x="15000" y="2945"/>
                </a:lnTo>
                <a:lnTo>
                  <a:pt x="16200" y="2945"/>
                </a:lnTo>
                <a:lnTo>
                  <a:pt x="16200" y="4418"/>
                </a:lnTo>
                <a:cubicBezTo>
                  <a:pt x="16200" y="4690"/>
                  <a:pt x="16469" y="4909"/>
                  <a:pt x="16800" y="4909"/>
                </a:cubicBezTo>
                <a:cubicBezTo>
                  <a:pt x="17131" y="4909"/>
                  <a:pt x="17400" y="4690"/>
                  <a:pt x="17400" y="4418"/>
                </a:cubicBezTo>
                <a:lnTo>
                  <a:pt x="17400" y="2945"/>
                </a:lnTo>
                <a:lnTo>
                  <a:pt x="20400" y="2945"/>
                </a:lnTo>
                <a:cubicBezTo>
                  <a:pt x="20400" y="2945"/>
                  <a:pt x="20400" y="20618"/>
                  <a:pt x="20400" y="20618"/>
                </a:cubicBezTo>
                <a:close/>
                <a:moveTo>
                  <a:pt x="1200" y="20618"/>
                </a:moveTo>
                <a:lnTo>
                  <a:pt x="1200" y="17673"/>
                </a:lnTo>
                <a:lnTo>
                  <a:pt x="4800" y="20618"/>
                </a:lnTo>
                <a:cubicBezTo>
                  <a:pt x="4800" y="20618"/>
                  <a:pt x="1200" y="20618"/>
                  <a:pt x="1200" y="20618"/>
                </a:cubicBezTo>
                <a:close/>
                <a:moveTo>
                  <a:pt x="20400" y="1964"/>
                </a:moveTo>
                <a:lnTo>
                  <a:pt x="17400" y="1964"/>
                </a:lnTo>
                <a:lnTo>
                  <a:pt x="17400" y="491"/>
                </a:lnTo>
                <a:cubicBezTo>
                  <a:pt x="17400" y="220"/>
                  <a:pt x="17131" y="0"/>
                  <a:pt x="16800" y="0"/>
                </a:cubicBezTo>
                <a:cubicBezTo>
                  <a:pt x="16469" y="0"/>
                  <a:pt x="16200" y="220"/>
                  <a:pt x="16200" y="491"/>
                </a:cubicBezTo>
                <a:lnTo>
                  <a:pt x="16200" y="1964"/>
                </a:lnTo>
                <a:lnTo>
                  <a:pt x="15000" y="1964"/>
                </a:lnTo>
                <a:lnTo>
                  <a:pt x="15000" y="491"/>
                </a:lnTo>
                <a:cubicBezTo>
                  <a:pt x="15000" y="220"/>
                  <a:pt x="14731" y="0"/>
                  <a:pt x="14400" y="0"/>
                </a:cubicBezTo>
                <a:cubicBezTo>
                  <a:pt x="14069" y="0"/>
                  <a:pt x="13800" y="220"/>
                  <a:pt x="13800" y="491"/>
                </a:cubicBezTo>
                <a:lnTo>
                  <a:pt x="13800" y="1964"/>
                </a:lnTo>
                <a:lnTo>
                  <a:pt x="12600" y="1964"/>
                </a:lnTo>
                <a:lnTo>
                  <a:pt x="12600" y="491"/>
                </a:lnTo>
                <a:cubicBezTo>
                  <a:pt x="12600" y="220"/>
                  <a:pt x="12331" y="0"/>
                  <a:pt x="12000" y="0"/>
                </a:cubicBezTo>
                <a:cubicBezTo>
                  <a:pt x="11669" y="0"/>
                  <a:pt x="11400" y="220"/>
                  <a:pt x="11400" y="491"/>
                </a:cubicBezTo>
                <a:lnTo>
                  <a:pt x="11400" y="1964"/>
                </a:lnTo>
                <a:lnTo>
                  <a:pt x="10200" y="1964"/>
                </a:lnTo>
                <a:lnTo>
                  <a:pt x="10200" y="491"/>
                </a:lnTo>
                <a:cubicBezTo>
                  <a:pt x="10200" y="220"/>
                  <a:pt x="9931" y="0"/>
                  <a:pt x="9600" y="0"/>
                </a:cubicBezTo>
                <a:cubicBezTo>
                  <a:pt x="9269" y="0"/>
                  <a:pt x="9000" y="220"/>
                  <a:pt x="9000" y="491"/>
                </a:cubicBezTo>
                <a:lnTo>
                  <a:pt x="9000" y="1964"/>
                </a:lnTo>
                <a:lnTo>
                  <a:pt x="7800" y="1964"/>
                </a:lnTo>
                <a:lnTo>
                  <a:pt x="7800" y="491"/>
                </a:lnTo>
                <a:cubicBezTo>
                  <a:pt x="7800" y="220"/>
                  <a:pt x="7531" y="0"/>
                  <a:pt x="7200" y="0"/>
                </a:cubicBezTo>
                <a:cubicBezTo>
                  <a:pt x="6869" y="0"/>
                  <a:pt x="6600" y="220"/>
                  <a:pt x="6600" y="491"/>
                </a:cubicBezTo>
                <a:lnTo>
                  <a:pt x="6600" y="1964"/>
                </a:lnTo>
                <a:lnTo>
                  <a:pt x="5400" y="1964"/>
                </a:lnTo>
                <a:lnTo>
                  <a:pt x="5400" y="491"/>
                </a:lnTo>
                <a:cubicBezTo>
                  <a:pt x="5400" y="220"/>
                  <a:pt x="5131" y="0"/>
                  <a:pt x="4800" y="0"/>
                </a:cubicBezTo>
                <a:cubicBezTo>
                  <a:pt x="4469" y="0"/>
                  <a:pt x="4200" y="220"/>
                  <a:pt x="4200" y="491"/>
                </a:cubicBezTo>
                <a:lnTo>
                  <a:pt x="4200" y="1964"/>
                </a:lnTo>
                <a:lnTo>
                  <a:pt x="1200" y="1964"/>
                </a:lnTo>
                <a:cubicBezTo>
                  <a:pt x="538" y="1964"/>
                  <a:pt x="0" y="2404"/>
                  <a:pt x="0" y="2945"/>
                </a:cubicBezTo>
                <a:lnTo>
                  <a:pt x="0" y="20618"/>
                </a:lnTo>
                <a:cubicBezTo>
                  <a:pt x="0" y="21161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1"/>
                  <a:pt x="21600" y="20618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3600" y="8836"/>
                </a:moveTo>
                <a:lnTo>
                  <a:pt x="10800" y="8836"/>
                </a:lnTo>
                <a:cubicBezTo>
                  <a:pt x="11131" y="8836"/>
                  <a:pt x="11400" y="8617"/>
                  <a:pt x="11400" y="8345"/>
                </a:cubicBezTo>
                <a:cubicBezTo>
                  <a:pt x="11400" y="8075"/>
                  <a:pt x="11131" y="7855"/>
                  <a:pt x="10800" y="7855"/>
                </a:cubicBezTo>
                <a:lnTo>
                  <a:pt x="3600" y="7855"/>
                </a:lnTo>
                <a:cubicBezTo>
                  <a:pt x="3269" y="7855"/>
                  <a:pt x="3000" y="8075"/>
                  <a:pt x="3000" y="8345"/>
                </a:cubicBezTo>
                <a:cubicBezTo>
                  <a:pt x="3000" y="8617"/>
                  <a:pt x="3269" y="8836"/>
                  <a:pt x="36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538">
            <a:extLst>
              <a:ext uri="{FF2B5EF4-FFF2-40B4-BE49-F238E27FC236}">
                <a16:creationId xmlns:a16="http://schemas.microsoft.com/office/drawing/2014/main" id="{35D02FD5-FB0E-4517-89AB-DCCA10515D8F}"/>
              </a:ext>
            </a:extLst>
          </p:cNvPr>
          <p:cNvSpPr/>
          <p:nvPr/>
        </p:nvSpPr>
        <p:spPr bwMode="gray">
          <a:xfrm>
            <a:off x="2320181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5891"/>
                </a:moveTo>
                <a:lnTo>
                  <a:pt x="1200" y="5891"/>
                </a:lnTo>
                <a:lnTo>
                  <a:pt x="1200" y="3927"/>
                </a:lnTo>
                <a:lnTo>
                  <a:pt x="6000" y="3927"/>
                </a:lnTo>
                <a:cubicBezTo>
                  <a:pt x="6000" y="4469"/>
                  <a:pt x="6538" y="4909"/>
                  <a:pt x="7200" y="4909"/>
                </a:cubicBezTo>
                <a:lnTo>
                  <a:pt x="14400" y="4909"/>
                </a:lnTo>
                <a:cubicBezTo>
                  <a:pt x="15062" y="4909"/>
                  <a:pt x="15600" y="4469"/>
                  <a:pt x="15600" y="3927"/>
                </a:cubicBezTo>
                <a:lnTo>
                  <a:pt x="20400" y="3927"/>
                </a:lnTo>
                <a:cubicBezTo>
                  <a:pt x="20400" y="3927"/>
                  <a:pt x="20400" y="5891"/>
                  <a:pt x="20400" y="58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6873"/>
                </a:lnTo>
                <a:lnTo>
                  <a:pt x="20400" y="6873"/>
                </a:lnTo>
                <a:cubicBezTo>
                  <a:pt x="20400" y="6873"/>
                  <a:pt x="20400" y="20618"/>
                  <a:pt x="20400" y="20618"/>
                </a:cubicBezTo>
                <a:close/>
                <a:moveTo>
                  <a:pt x="7200" y="1964"/>
                </a:moveTo>
                <a:lnTo>
                  <a:pt x="14400" y="1964"/>
                </a:lnTo>
                <a:lnTo>
                  <a:pt x="14400" y="3927"/>
                </a:lnTo>
                <a:lnTo>
                  <a:pt x="7200" y="3927"/>
                </a:lnTo>
                <a:cubicBezTo>
                  <a:pt x="7200" y="3927"/>
                  <a:pt x="7200" y="1964"/>
                  <a:pt x="7200" y="1964"/>
                </a:cubicBezTo>
                <a:close/>
                <a:moveTo>
                  <a:pt x="20400" y="2945"/>
                </a:moveTo>
                <a:lnTo>
                  <a:pt x="15600" y="2945"/>
                </a:lnTo>
                <a:lnTo>
                  <a:pt x="15600" y="1964"/>
                </a:lnTo>
                <a:cubicBezTo>
                  <a:pt x="15600" y="1422"/>
                  <a:pt x="15062" y="982"/>
                  <a:pt x="14400" y="982"/>
                </a:cubicBezTo>
                <a:lnTo>
                  <a:pt x="12000" y="982"/>
                </a:lnTo>
                <a:cubicBezTo>
                  <a:pt x="12000" y="440"/>
                  <a:pt x="11462" y="0"/>
                  <a:pt x="10800" y="0"/>
                </a:cubicBezTo>
                <a:cubicBezTo>
                  <a:pt x="10138" y="0"/>
                  <a:pt x="9600" y="440"/>
                  <a:pt x="9600" y="982"/>
                </a:cubicBezTo>
                <a:lnTo>
                  <a:pt x="7200" y="982"/>
                </a:lnTo>
                <a:cubicBezTo>
                  <a:pt x="6538" y="982"/>
                  <a:pt x="6000" y="1422"/>
                  <a:pt x="6000" y="1964"/>
                </a:cubicBezTo>
                <a:lnTo>
                  <a:pt x="6000" y="2945"/>
                </a:lnTo>
                <a:lnTo>
                  <a:pt x="1200" y="2945"/>
                </a:lnTo>
                <a:cubicBezTo>
                  <a:pt x="538" y="2945"/>
                  <a:pt x="0" y="3386"/>
                  <a:pt x="0" y="3927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3927"/>
                </a:lnTo>
                <a:cubicBezTo>
                  <a:pt x="21600" y="3386"/>
                  <a:pt x="21062" y="2945"/>
                  <a:pt x="20400" y="2945"/>
                </a:cubicBezTo>
                <a:moveTo>
                  <a:pt x="4200" y="16691"/>
                </a:moveTo>
                <a:lnTo>
                  <a:pt x="15000" y="16691"/>
                </a:lnTo>
                <a:cubicBezTo>
                  <a:pt x="15331" y="16691"/>
                  <a:pt x="15600" y="16472"/>
                  <a:pt x="15600" y="16200"/>
                </a:cubicBezTo>
                <a:cubicBezTo>
                  <a:pt x="15600" y="15929"/>
                  <a:pt x="15331" y="15709"/>
                  <a:pt x="15000" y="15709"/>
                </a:cubicBez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moveTo>
                  <a:pt x="4200" y="13745"/>
                </a:moveTo>
                <a:lnTo>
                  <a:pt x="17400" y="13745"/>
                </a:lnTo>
                <a:cubicBezTo>
                  <a:pt x="17731" y="13745"/>
                  <a:pt x="18000" y="13526"/>
                  <a:pt x="18000" y="13255"/>
                </a:cubicBezTo>
                <a:cubicBezTo>
                  <a:pt x="18000" y="12984"/>
                  <a:pt x="17731" y="12764"/>
                  <a:pt x="17400" y="12764"/>
                </a:cubicBezTo>
                <a:lnTo>
                  <a:pt x="4200" y="12764"/>
                </a:lnTo>
                <a:cubicBezTo>
                  <a:pt x="3869" y="12764"/>
                  <a:pt x="3600" y="12984"/>
                  <a:pt x="3600" y="13255"/>
                </a:cubicBezTo>
                <a:cubicBezTo>
                  <a:pt x="3600" y="13526"/>
                  <a:pt x="3869" y="13745"/>
                  <a:pt x="4200" y="13745"/>
                </a:cubicBezTo>
                <a:moveTo>
                  <a:pt x="4200" y="10800"/>
                </a:moveTo>
                <a:lnTo>
                  <a:pt x="11400" y="10800"/>
                </a:lnTo>
                <a:cubicBezTo>
                  <a:pt x="11731" y="10800"/>
                  <a:pt x="12000" y="10581"/>
                  <a:pt x="12000" y="10309"/>
                </a:cubicBezTo>
                <a:cubicBezTo>
                  <a:pt x="12000" y="10038"/>
                  <a:pt x="11731" y="9818"/>
                  <a:pt x="11400" y="9818"/>
                </a:cubicBezTo>
                <a:lnTo>
                  <a:pt x="4200" y="9818"/>
                </a:lnTo>
                <a:cubicBezTo>
                  <a:pt x="3869" y="9818"/>
                  <a:pt x="3600" y="10038"/>
                  <a:pt x="3600" y="10309"/>
                </a:cubicBezTo>
                <a:cubicBezTo>
                  <a:pt x="3600" y="10581"/>
                  <a:pt x="3869" y="10800"/>
                  <a:pt x="4200" y="10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39">
            <a:extLst>
              <a:ext uri="{FF2B5EF4-FFF2-40B4-BE49-F238E27FC236}">
                <a16:creationId xmlns:a16="http://schemas.microsoft.com/office/drawing/2014/main" id="{C84A2DBA-9701-419B-AEDC-6ACE85B1BBCA}"/>
              </a:ext>
            </a:extLst>
          </p:cNvPr>
          <p:cNvSpPr/>
          <p:nvPr/>
        </p:nvSpPr>
        <p:spPr bwMode="gray">
          <a:xfrm>
            <a:off x="2845919" y="2357071"/>
            <a:ext cx="289156" cy="1971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40">
            <a:extLst>
              <a:ext uri="{FF2B5EF4-FFF2-40B4-BE49-F238E27FC236}">
                <a16:creationId xmlns:a16="http://schemas.microsoft.com/office/drawing/2014/main" id="{25CD4E2F-2260-4C8A-8649-DC9E32A8398E}"/>
              </a:ext>
            </a:extLst>
          </p:cNvPr>
          <p:cNvSpPr/>
          <p:nvPr/>
        </p:nvSpPr>
        <p:spPr bwMode="gray">
          <a:xfrm>
            <a:off x="3397943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541">
            <a:extLst>
              <a:ext uri="{FF2B5EF4-FFF2-40B4-BE49-F238E27FC236}">
                <a16:creationId xmlns:a16="http://schemas.microsoft.com/office/drawing/2014/main" id="{1868CD55-F28F-4564-B10D-7C6704BFA15A}"/>
              </a:ext>
            </a:extLst>
          </p:cNvPr>
          <p:cNvSpPr/>
          <p:nvPr/>
        </p:nvSpPr>
        <p:spPr bwMode="gray">
          <a:xfrm>
            <a:off x="3976254" y="2337356"/>
            <a:ext cx="236582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42">
            <a:extLst>
              <a:ext uri="{FF2B5EF4-FFF2-40B4-BE49-F238E27FC236}">
                <a16:creationId xmlns:a16="http://schemas.microsoft.com/office/drawing/2014/main" id="{049EC78E-E0D0-4970-8AA2-A267FC16797B}"/>
              </a:ext>
            </a:extLst>
          </p:cNvPr>
          <p:cNvSpPr/>
          <p:nvPr/>
        </p:nvSpPr>
        <p:spPr bwMode="gray">
          <a:xfrm>
            <a:off x="4501992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10309"/>
                </a:moveTo>
                <a:lnTo>
                  <a:pt x="4909" y="10309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10309"/>
                  <a:pt x="16691" y="10309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11291"/>
                </a:lnTo>
                <a:lnTo>
                  <a:pt x="16691" y="11291"/>
                </a:lnTo>
                <a:cubicBezTo>
                  <a:pt x="16691" y="11291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543">
            <a:extLst>
              <a:ext uri="{FF2B5EF4-FFF2-40B4-BE49-F238E27FC236}">
                <a16:creationId xmlns:a16="http://schemas.microsoft.com/office/drawing/2014/main" id="{1ABC89CB-55CC-4F66-A7A0-A06AFCBF2829}"/>
              </a:ext>
            </a:extLst>
          </p:cNvPr>
          <p:cNvSpPr/>
          <p:nvPr/>
        </p:nvSpPr>
        <p:spPr bwMode="gray">
          <a:xfrm>
            <a:off x="5054016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8655"/>
                </a:moveTo>
                <a:lnTo>
                  <a:pt x="14727" y="18655"/>
                </a:lnTo>
                <a:lnTo>
                  <a:pt x="14727" y="19636"/>
                </a:lnTo>
                <a:lnTo>
                  <a:pt x="15709" y="19636"/>
                </a:lnTo>
                <a:cubicBezTo>
                  <a:pt x="15709" y="19636"/>
                  <a:pt x="15709" y="18655"/>
                  <a:pt x="15709" y="18655"/>
                </a:cubicBezTo>
                <a:close/>
                <a:moveTo>
                  <a:pt x="15709" y="14727"/>
                </a:moveTo>
                <a:lnTo>
                  <a:pt x="14727" y="14727"/>
                </a:lnTo>
                <a:lnTo>
                  <a:pt x="14727" y="15709"/>
                </a:lnTo>
                <a:lnTo>
                  <a:pt x="15709" y="15709"/>
                </a:lnTo>
                <a:cubicBezTo>
                  <a:pt x="15709" y="15709"/>
                  <a:pt x="15709" y="14727"/>
                  <a:pt x="15709" y="14727"/>
                </a:cubicBezTo>
                <a:close/>
                <a:moveTo>
                  <a:pt x="14727" y="10800"/>
                </a:moveTo>
                <a:lnTo>
                  <a:pt x="15709" y="10800"/>
                </a:lnTo>
                <a:lnTo>
                  <a:pt x="15709" y="9818"/>
                </a:lnTo>
                <a:lnTo>
                  <a:pt x="14727" y="9818"/>
                </a:lnTo>
                <a:cubicBezTo>
                  <a:pt x="14727" y="9818"/>
                  <a:pt x="14727" y="10800"/>
                  <a:pt x="14727" y="10800"/>
                </a:cubicBezTo>
                <a:close/>
                <a:moveTo>
                  <a:pt x="15709" y="16691"/>
                </a:moveTo>
                <a:lnTo>
                  <a:pt x="14727" y="16691"/>
                </a:lnTo>
                <a:lnTo>
                  <a:pt x="14727" y="17673"/>
                </a:lnTo>
                <a:lnTo>
                  <a:pt x="15709" y="17673"/>
                </a:lnTo>
                <a:cubicBezTo>
                  <a:pt x="15709" y="17673"/>
                  <a:pt x="15709" y="16691"/>
                  <a:pt x="15709" y="16691"/>
                </a:cubicBezTo>
                <a:close/>
                <a:moveTo>
                  <a:pt x="14727" y="8836"/>
                </a:moveTo>
                <a:lnTo>
                  <a:pt x="15709" y="8836"/>
                </a:lnTo>
                <a:lnTo>
                  <a:pt x="15709" y="7855"/>
                </a:lnTo>
                <a:lnTo>
                  <a:pt x="14727" y="7855"/>
                </a:lnTo>
                <a:cubicBezTo>
                  <a:pt x="14727" y="7855"/>
                  <a:pt x="14727" y="8836"/>
                  <a:pt x="14727" y="8836"/>
                </a:cubicBezTo>
                <a:close/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1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7" y="6873"/>
                </a:moveTo>
                <a:lnTo>
                  <a:pt x="15709" y="6873"/>
                </a:lnTo>
                <a:lnTo>
                  <a:pt x="15709" y="5891"/>
                </a:lnTo>
                <a:lnTo>
                  <a:pt x="14727" y="5891"/>
                </a:lnTo>
                <a:cubicBezTo>
                  <a:pt x="14727" y="5891"/>
                  <a:pt x="14727" y="6873"/>
                  <a:pt x="14727" y="6873"/>
                </a:cubicBezTo>
                <a:close/>
                <a:moveTo>
                  <a:pt x="16691" y="12273"/>
                </a:moveTo>
                <a:lnTo>
                  <a:pt x="13745" y="12273"/>
                </a:lnTo>
                <a:lnTo>
                  <a:pt x="13745" y="4909"/>
                </a:ln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2273"/>
                  <a:pt x="16691" y="12273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3745" y="20618"/>
                </a:lnTo>
                <a:lnTo>
                  <a:pt x="13745" y="13255"/>
                </a:lnTo>
                <a:lnTo>
                  <a:pt x="16691" y="13255"/>
                </a:lnTo>
                <a:cubicBezTo>
                  <a:pt x="16691" y="13255"/>
                  <a:pt x="16691" y="19636"/>
                  <a:pt x="16691" y="19636"/>
                </a:cubicBezTo>
                <a:close/>
                <a:moveTo>
                  <a:pt x="12764" y="12273"/>
                </a:moveTo>
                <a:lnTo>
                  <a:pt x="4909" y="12273"/>
                </a:lnTo>
                <a:lnTo>
                  <a:pt x="4909" y="4909"/>
                </a:lnTo>
                <a:lnTo>
                  <a:pt x="12764" y="4909"/>
                </a:lnTo>
                <a:cubicBezTo>
                  <a:pt x="12764" y="4909"/>
                  <a:pt x="12764" y="12273"/>
                  <a:pt x="12764" y="12273"/>
                </a:cubicBezTo>
                <a:close/>
                <a:moveTo>
                  <a:pt x="12764" y="20618"/>
                </a:moveTo>
                <a:lnTo>
                  <a:pt x="4909" y="20618"/>
                </a:lnTo>
                <a:lnTo>
                  <a:pt x="4909" y="13255"/>
                </a:lnTo>
                <a:lnTo>
                  <a:pt x="12764" y="13255"/>
                </a:lnTo>
                <a:cubicBezTo>
                  <a:pt x="12764" y="13255"/>
                  <a:pt x="12764" y="20618"/>
                  <a:pt x="12764" y="20618"/>
                </a:cubicBezTo>
                <a:close/>
                <a:moveTo>
                  <a:pt x="3927" y="12273"/>
                </a:moveTo>
                <a:lnTo>
                  <a:pt x="982" y="12273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3927" y="4909"/>
                </a:lnTo>
                <a:cubicBezTo>
                  <a:pt x="3927" y="4909"/>
                  <a:pt x="3927" y="12273"/>
                  <a:pt x="3927" y="12273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3255"/>
                </a:lnTo>
                <a:lnTo>
                  <a:pt x="3927" y="13255"/>
                </a:lnTo>
                <a:cubicBezTo>
                  <a:pt x="3927" y="13255"/>
                  <a:pt x="3927" y="20618"/>
                  <a:pt x="3927" y="20618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1964" y="10800"/>
                </a:moveTo>
                <a:lnTo>
                  <a:pt x="2945" y="10800"/>
                </a:lnTo>
                <a:lnTo>
                  <a:pt x="2945" y="9818"/>
                </a:lnTo>
                <a:lnTo>
                  <a:pt x="1964" y="9818"/>
                </a:lnTo>
                <a:cubicBezTo>
                  <a:pt x="1964" y="9818"/>
                  <a:pt x="1964" y="10800"/>
                  <a:pt x="1964" y="10800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544">
            <a:extLst>
              <a:ext uri="{FF2B5EF4-FFF2-40B4-BE49-F238E27FC236}">
                <a16:creationId xmlns:a16="http://schemas.microsoft.com/office/drawing/2014/main" id="{BB52D2CC-E8B2-44D2-BC75-688B070EA85D}"/>
              </a:ext>
            </a:extLst>
          </p:cNvPr>
          <p:cNvSpPr/>
          <p:nvPr/>
        </p:nvSpPr>
        <p:spPr bwMode="gray">
          <a:xfrm>
            <a:off x="5606041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8255"/>
                </a:moveTo>
                <a:lnTo>
                  <a:pt x="12837" y="10800"/>
                </a:lnTo>
                <a:lnTo>
                  <a:pt x="8836" y="13345"/>
                </a:lnTo>
                <a:cubicBezTo>
                  <a:pt x="8836" y="13345"/>
                  <a:pt x="8836" y="8255"/>
                  <a:pt x="8836" y="8255"/>
                </a:cubicBezTo>
                <a:close/>
                <a:moveTo>
                  <a:pt x="8345" y="14727"/>
                </a:moveTo>
                <a:cubicBezTo>
                  <a:pt x="8461" y="14727"/>
                  <a:pt x="8564" y="14681"/>
                  <a:pt x="8647" y="14614"/>
                </a:cubicBezTo>
                <a:lnTo>
                  <a:pt x="8652" y="14620"/>
                </a:lnTo>
                <a:lnTo>
                  <a:pt x="14052" y="11184"/>
                </a:lnTo>
                <a:lnTo>
                  <a:pt x="14047" y="11178"/>
                </a:lnTo>
                <a:cubicBezTo>
                  <a:pt x="14160" y="11088"/>
                  <a:pt x="14236" y="10955"/>
                  <a:pt x="14236" y="10800"/>
                </a:cubicBezTo>
                <a:cubicBezTo>
                  <a:pt x="14236" y="10645"/>
                  <a:pt x="14160" y="10512"/>
                  <a:pt x="14047" y="10422"/>
                </a:cubicBezTo>
                <a:lnTo>
                  <a:pt x="14052" y="10417"/>
                </a:lnTo>
                <a:lnTo>
                  <a:pt x="8652" y="6980"/>
                </a:lnTo>
                <a:lnTo>
                  <a:pt x="8647" y="6986"/>
                </a:lnTo>
                <a:cubicBezTo>
                  <a:pt x="8564" y="6919"/>
                  <a:pt x="8461" y="6873"/>
                  <a:pt x="8345" y="6873"/>
                </a:cubicBezTo>
                <a:cubicBezTo>
                  <a:pt x="8074" y="6873"/>
                  <a:pt x="7855" y="7093"/>
                  <a:pt x="7855" y="7364"/>
                </a:cubicBezTo>
                <a:lnTo>
                  <a:pt x="7855" y="14236"/>
                </a:lnTo>
                <a:cubicBezTo>
                  <a:pt x="7855" y="14507"/>
                  <a:pt x="8074" y="14727"/>
                  <a:pt x="8345" y="14727"/>
                </a:cubicBezTo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545">
            <a:extLst>
              <a:ext uri="{FF2B5EF4-FFF2-40B4-BE49-F238E27FC236}">
                <a16:creationId xmlns:a16="http://schemas.microsoft.com/office/drawing/2014/main" id="{E3254CD4-D841-4C08-9722-A8C52DDDE2D7}"/>
              </a:ext>
            </a:extLst>
          </p:cNvPr>
          <p:cNvSpPr/>
          <p:nvPr/>
        </p:nvSpPr>
        <p:spPr bwMode="gray">
          <a:xfrm>
            <a:off x="637821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9"/>
                </a:moveTo>
                <a:cubicBezTo>
                  <a:pt x="5377" y="20619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3336" y="982"/>
                  <a:pt x="15638" y="1950"/>
                  <a:pt x="17377" y="3529"/>
                </a:cubicBezTo>
                <a:lnTo>
                  <a:pt x="10453" y="10453"/>
                </a:lnTo>
                <a:cubicBezTo>
                  <a:pt x="10364" y="10542"/>
                  <a:pt x="10309" y="10665"/>
                  <a:pt x="10309" y="10800"/>
                </a:cubicBezTo>
                <a:cubicBezTo>
                  <a:pt x="10309" y="11072"/>
                  <a:pt x="10529" y="11291"/>
                  <a:pt x="10800" y="11291"/>
                </a:cubicBezTo>
                <a:lnTo>
                  <a:pt x="20594" y="11291"/>
                </a:lnTo>
                <a:cubicBezTo>
                  <a:pt x="20336" y="16484"/>
                  <a:pt x="16057" y="20619"/>
                  <a:pt x="10800" y="20619"/>
                </a:cubicBezTo>
                <a:moveTo>
                  <a:pt x="20594" y="10309"/>
                </a:moveTo>
                <a:lnTo>
                  <a:pt x="11985" y="10309"/>
                </a:lnTo>
                <a:lnTo>
                  <a:pt x="18071" y="4223"/>
                </a:lnTo>
                <a:cubicBezTo>
                  <a:pt x="19541" y="5852"/>
                  <a:pt x="20477" y="7971"/>
                  <a:pt x="20594" y="10309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546">
            <a:extLst>
              <a:ext uri="{FF2B5EF4-FFF2-40B4-BE49-F238E27FC236}">
                <a16:creationId xmlns:a16="http://schemas.microsoft.com/office/drawing/2014/main" id="{95884FB8-C84B-4B0D-A609-3C32E98E73BD}"/>
              </a:ext>
            </a:extLst>
          </p:cNvPr>
          <p:cNvSpPr/>
          <p:nvPr/>
        </p:nvSpPr>
        <p:spPr bwMode="gray">
          <a:xfrm>
            <a:off x="1189845" y="2889381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547">
            <a:extLst>
              <a:ext uri="{FF2B5EF4-FFF2-40B4-BE49-F238E27FC236}">
                <a16:creationId xmlns:a16="http://schemas.microsoft.com/office/drawing/2014/main" id="{267DD2CC-BEA2-45E5-84AB-174D546BBDCE}"/>
              </a:ext>
            </a:extLst>
          </p:cNvPr>
          <p:cNvSpPr/>
          <p:nvPr/>
        </p:nvSpPr>
        <p:spPr bwMode="gray">
          <a:xfrm>
            <a:off x="1741870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548">
            <a:extLst>
              <a:ext uri="{FF2B5EF4-FFF2-40B4-BE49-F238E27FC236}">
                <a16:creationId xmlns:a16="http://schemas.microsoft.com/office/drawing/2014/main" id="{5E1DBD35-FCCE-44D0-B238-1B08B1A9A1EB}"/>
              </a:ext>
            </a:extLst>
          </p:cNvPr>
          <p:cNvSpPr/>
          <p:nvPr/>
        </p:nvSpPr>
        <p:spPr bwMode="gray">
          <a:xfrm>
            <a:off x="2293894" y="2974813"/>
            <a:ext cx="289156" cy="65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7280"/>
                </a:moveTo>
                <a:cubicBezTo>
                  <a:pt x="18332" y="17280"/>
                  <a:pt x="17673" y="14380"/>
                  <a:pt x="17673" y="10800"/>
                </a:cubicBezTo>
                <a:cubicBezTo>
                  <a:pt x="17673" y="7224"/>
                  <a:pt x="18332" y="4320"/>
                  <a:pt x="19145" y="4320"/>
                </a:cubicBezTo>
                <a:cubicBezTo>
                  <a:pt x="19959" y="4320"/>
                  <a:pt x="20618" y="7224"/>
                  <a:pt x="20618" y="10800"/>
                </a:cubicBezTo>
                <a:cubicBezTo>
                  <a:pt x="20618" y="14380"/>
                  <a:pt x="19959" y="17280"/>
                  <a:pt x="19145" y="17280"/>
                </a:cubicBezTo>
                <a:moveTo>
                  <a:pt x="19145" y="0"/>
                </a:moveTo>
                <a:cubicBezTo>
                  <a:pt x="17790" y="0"/>
                  <a:pt x="16691" y="4837"/>
                  <a:pt x="16691" y="10800"/>
                </a:cubicBezTo>
                <a:cubicBezTo>
                  <a:pt x="16691" y="16766"/>
                  <a:pt x="17790" y="21600"/>
                  <a:pt x="19145" y="21600"/>
                </a:cubicBezTo>
                <a:cubicBezTo>
                  <a:pt x="20501" y="21600"/>
                  <a:pt x="21600" y="16766"/>
                  <a:pt x="21600" y="10800"/>
                </a:cubicBezTo>
                <a:cubicBezTo>
                  <a:pt x="21600" y="4837"/>
                  <a:pt x="20501" y="0"/>
                  <a:pt x="19145" y="0"/>
                </a:cubicBezTo>
                <a:moveTo>
                  <a:pt x="10800" y="17280"/>
                </a:moveTo>
                <a:cubicBezTo>
                  <a:pt x="9986" y="17280"/>
                  <a:pt x="9327" y="14380"/>
                  <a:pt x="9327" y="10800"/>
                </a:cubicBezTo>
                <a:cubicBezTo>
                  <a:pt x="9327" y="7224"/>
                  <a:pt x="9986" y="4320"/>
                  <a:pt x="10800" y="4320"/>
                </a:cubicBezTo>
                <a:cubicBezTo>
                  <a:pt x="11614" y="4320"/>
                  <a:pt x="12273" y="7224"/>
                  <a:pt x="12273" y="10800"/>
                </a:cubicBezTo>
                <a:cubicBezTo>
                  <a:pt x="12273" y="14380"/>
                  <a:pt x="11614" y="17280"/>
                  <a:pt x="10800" y="17280"/>
                </a:cubicBezTo>
                <a:moveTo>
                  <a:pt x="10800" y="0"/>
                </a:moveTo>
                <a:cubicBezTo>
                  <a:pt x="9444" y="0"/>
                  <a:pt x="8345" y="4837"/>
                  <a:pt x="8345" y="10800"/>
                </a:cubicBezTo>
                <a:cubicBezTo>
                  <a:pt x="8345" y="16766"/>
                  <a:pt x="9444" y="21600"/>
                  <a:pt x="10800" y="21600"/>
                </a:cubicBezTo>
                <a:cubicBezTo>
                  <a:pt x="12156" y="21600"/>
                  <a:pt x="13255" y="16766"/>
                  <a:pt x="13255" y="10800"/>
                </a:cubicBezTo>
                <a:cubicBezTo>
                  <a:pt x="13255" y="4837"/>
                  <a:pt x="12156" y="0"/>
                  <a:pt x="10800" y="0"/>
                </a:cubicBezTo>
                <a:moveTo>
                  <a:pt x="2455" y="17280"/>
                </a:moveTo>
                <a:cubicBezTo>
                  <a:pt x="1641" y="17280"/>
                  <a:pt x="982" y="14380"/>
                  <a:pt x="982" y="10800"/>
                </a:cubicBezTo>
                <a:cubicBezTo>
                  <a:pt x="982" y="7224"/>
                  <a:pt x="1641" y="4320"/>
                  <a:pt x="2455" y="4320"/>
                </a:cubicBezTo>
                <a:cubicBezTo>
                  <a:pt x="3268" y="4320"/>
                  <a:pt x="3927" y="7224"/>
                  <a:pt x="3927" y="10800"/>
                </a:cubicBezTo>
                <a:cubicBezTo>
                  <a:pt x="3927" y="14380"/>
                  <a:pt x="3268" y="17280"/>
                  <a:pt x="2455" y="17280"/>
                </a:cubicBezTo>
                <a:moveTo>
                  <a:pt x="2455" y="0"/>
                </a:moveTo>
                <a:cubicBezTo>
                  <a:pt x="1099" y="0"/>
                  <a:pt x="0" y="4837"/>
                  <a:pt x="0" y="10800"/>
                </a:cubicBezTo>
                <a:cubicBezTo>
                  <a:pt x="0" y="16766"/>
                  <a:pt x="1099" y="21600"/>
                  <a:pt x="2455" y="21600"/>
                </a:cubicBezTo>
                <a:cubicBezTo>
                  <a:pt x="3811" y="21600"/>
                  <a:pt x="4909" y="16766"/>
                  <a:pt x="4909" y="10800"/>
                </a:cubicBezTo>
                <a:cubicBezTo>
                  <a:pt x="4909" y="4837"/>
                  <a:pt x="3811" y="0"/>
                  <a:pt x="2455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549">
            <a:extLst>
              <a:ext uri="{FF2B5EF4-FFF2-40B4-BE49-F238E27FC236}">
                <a16:creationId xmlns:a16="http://schemas.microsoft.com/office/drawing/2014/main" id="{9D010FFC-ABB1-4BA0-B95A-351E55C75F63}"/>
              </a:ext>
            </a:extLst>
          </p:cNvPr>
          <p:cNvSpPr/>
          <p:nvPr/>
        </p:nvSpPr>
        <p:spPr bwMode="gray">
          <a:xfrm>
            <a:off x="2845919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1291"/>
                </a:moveTo>
                <a:cubicBezTo>
                  <a:pt x="10529" y="11291"/>
                  <a:pt x="10309" y="11072"/>
                  <a:pt x="10309" y="10800"/>
                </a:cubicBezTo>
                <a:cubicBezTo>
                  <a:pt x="10309" y="10529"/>
                  <a:pt x="10529" y="10309"/>
                  <a:pt x="10800" y="10309"/>
                </a:cubicBezTo>
                <a:cubicBezTo>
                  <a:pt x="11071" y="10309"/>
                  <a:pt x="11291" y="10529"/>
                  <a:pt x="11291" y="10800"/>
                </a:cubicBezTo>
                <a:cubicBezTo>
                  <a:pt x="11291" y="11072"/>
                  <a:pt x="11071" y="11291"/>
                  <a:pt x="10800" y="11291"/>
                </a:cubicBezTo>
                <a:moveTo>
                  <a:pt x="10800" y="9327"/>
                </a:moveTo>
                <a:cubicBezTo>
                  <a:pt x="9986" y="9327"/>
                  <a:pt x="9327" y="9987"/>
                  <a:pt x="9327" y="10800"/>
                </a:cubicBezTo>
                <a:cubicBezTo>
                  <a:pt x="9327" y="11614"/>
                  <a:pt x="9986" y="12273"/>
                  <a:pt x="10800" y="12273"/>
                </a:cubicBezTo>
                <a:cubicBezTo>
                  <a:pt x="11614" y="12273"/>
                  <a:pt x="12273" y="11614"/>
                  <a:pt x="12273" y="10800"/>
                </a:cubicBezTo>
                <a:cubicBezTo>
                  <a:pt x="12273" y="9987"/>
                  <a:pt x="11614" y="9327"/>
                  <a:pt x="10800" y="9327"/>
                </a:cubicBezTo>
                <a:moveTo>
                  <a:pt x="5400" y="11291"/>
                </a:moveTo>
                <a:cubicBezTo>
                  <a:pt x="5129" y="11291"/>
                  <a:pt x="4909" y="11072"/>
                  <a:pt x="4909" y="10800"/>
                </a:cubicBezTo>
                <a:cubicBezTo>
                  <a:pt x="4909" y="10529"/>
                  <a:pt x="5129" y="10309"/>
                  <a:pt x="5400" y="10309"/>
                </a:cubicBezTo>
                <a:cubicBezTo>
                  <a:pt x="5671" y="10309"/>
                  <a:pt x="5891" y="10529"/>
                  <a:pt x="5891" y="10800"/>
                </a:cubicBezTo>
                <a:cubicBezTo>
                  <a:pt x="5891" y="11072"/>
                  <a:pt x="5671" y="11291"/>
                  <a:pt x="5400" y="11291"/>
                </a:cubicBezTo>
                <a:moveTo>
                  <a:pt x="5400" y="9327"/>
                </a:moveTo>
                <a:cubicBezTo>
                  <a:pt x="4586" y="9327"/>
                  <a:pt x="3927" y="9987"/>
                  <a:pt x="3927" y="10800"/>
                </a:cubicBezTo>
                <a:cubicBezTo>
                  <a:pt x="3927" y="11614"/>
                  <a:pt x="4586" y="12273"/>
                  <a:pt x="5400" y="12273"/>
                </a:cubicBezTo>
                <a:cubicBezTo>
                  <a:pt x="6214" y="12273"/>
                  <a:pt x="6873" y="11614"/>
                  <a:pt x="6873" y="10800"/>
                </a:cubicBezTo>
                <a:cubicBezTo>
                  <a:pt x="6873" y="9987"/>
                  <a:pt x="6214" y="9327"/>
                  <a:pt x="5400" y="9327"/>
                </a:cubicBezTo>
                <a:moveTo>
                  <a:pt x="16200" y="11291"/>
                </a:moveTo>
                <a:cubicBezTo>
                  <a:pt x="15929" y="11291"/>
                  <a:pt x="15709" y="11072"/>
                  <a:pt x="15709" y="10800"/>
                </a:cubicBezTo>
                <a:cubicBezTo>
                  <a:pt x="15709" y="10529"/>
                  <a:pt x="15929" y="10309"/>
                  <a:pt x="16200" y="10309"/>
                </a:cubicBezTo>
                <a:cubicBezTo>
                  <a:pt x="16471" y="10309"/>
                  <a:pt x="16691" y="10529"/>
                  <a:pt x="16691" y="10800"/>
                </a:cubicBezTo>
                <a:cubicBezTo>
                  <a:pt x="16691" y="11072"/>
                  <a:pt x="16471" y="11291"/>
                  <a:pt x="16200" y="11291"/>
                </a:cubicBezTo>
                <a:moveTo>
                  <a:pt x="16200" y="9327"/>
                </a:moveTo>
                <a:cubicBezTo>
                  <a:pt x="15386" y="9327"/>
                  <a:pt x="14727" y="9987"/>
                  <a:pt x="14727" y="10800"/>
                </a:cubicBezTo>
                <a:cubicBezTo>
                  <a:pt x="14727" y="11614"/>
                  <a:pt x="15386" y="12273"/>
                  <a:pt x="16200" y="12273"/>
                </a:cubicBezTo>
                <a:cubicBezTo>
                  <a:pt x="17014" y="12273"/>
                  <a:pt x="17673" y="11614"/>
                  <a:pt x="17673" y="10800"/>
                </a:cubicBezTo>
                <a:cubicBezTo>
                  <a:pt x="17673" y="9987"/>
                  <a:pt x="17014" y="9327"/>
                  <a:pt x="16200" y="93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550">
            <a:extLst>
              <a:ext uri="{FF2B5EF4-FFF2-40B4-BE49-F238E27FC236}">
                <a16:creationId xmlns:a16="http://schemas.microsoft.com/office/drawing/2014/main" id="{97CA35D4-1A1D-4414-9693-A8FECD5D779E}"/>
              </a:ext>
            </a:extLst>
          </p:cNvPr>
          <p:cNvSpPr/>
          <p:nvPr/>
        </p:nvSpPr>
        <p:spPr bwMode="gray">
          <a:xfrm>
            <a:off x="3397943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551">
            <a:extLst>
              <a:ext uri="{FF2B5EF4-FFF2-40B4-BE49-F238E27FC236}">
                <a16:creationId xmlns:a16="http://schemas.microsoft.com/office/drawing/2014/main" id="{2DD8A9E9-9C0A-4E5F-AEE8-1EB496637A1F}"/>
              </a:ext>
            </a:extLst>
          </p:cNvPr>
          <p:cNvSpPr/>
          <p:nvPr/>
        </p:nvSpPr>
        <p:spPr bwMode="gray">
          <a:xfrm>
            <a:off x="3949967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55" y="6010"/>
                </a:moveTo>
                <a:lnTo>
                  <a:pt x="18630" y="7136"/>
                </a:lnTo>
                <a:lnTo>
                  <a:pt x="14465" y="2970"/>
                </a:lnTo>
                <a:lnTo>
                  <a:pt x="15590" y="1845"/>
                </a:lnTo>
                <a:cubicBezTo>
                  <a:pt x="15590" y="1845"/>
                  <a:pt x="16391" y="982"/>
                  <a:pt x="17673" y="982"/>
                </a:cubicBezTo>
                <a:cubicBezTo>
                  <a:pt x="19300" y="982"/>
                  <a:pt x="20618" y="2300"/>
                  <a:pt x="20618" y="3927"/>
                </a:cubicBezTo>
                <a:cubicBezTo>
                  <a:pt x="20618" y="4741"/>
                  <a:pt x="20288" y="5477"/>
                  <a:pt x="19755" y="6010"/>
                </a:cubicBezTo>
                <a:moveTo>
                  <a:pt x="7364" y="18402"/>
                </a:moveTo>
                <a:lnTo>
                  <a:pt x="7364" y="14727"/>
                </a:lnTo>
                <a:cubicBezTo>
                  <a:pt x="7364" y="14456"/>
                  <a:pt x="7144" y="14236"/>
                  <a:pt x="6873" y="14236"/>
                </a:cubicBezTo>
                <a:lnTo>
                  <a:pt x="3198" y="14236"/>
                </a:lnTo>
                <a:lnTo>
                  <a:pt x="13770" y="3665"/>
                </a:lnTo>
                <a:lnTo>
                  <a:pt x="17935" y="7830"/>
                </a:lnTo>
                <a:cubicBezTo>
                  <a:pt x="17935" y="7830"/>
                  <a:pt x="7364" y="18402"/>
                  <a:pt x="7364" y="18402"/>
                </a:cubicBezTo>
                <a:close/>
                <a:moveTo>
                  <a:pt x="6382" y="19042"/>
                </a:moveTo>
                <a:lnTo>
                  <a:pt x="2945" y="19845"/>
                </a:lnTo>
                <a:lnTo>
                  <a:pt x="2945" y="18655"/>
                </a:lnTo>
                <a:lnTo>
                  <a:pt x="1755" y="18655"/>
                </a:lnTo>
                <a:lnTo>
                  <a:pt x="2558" y="15218"/>
                </a:lnTo>
                <a:lnTo>
                  <a:pt x="6382" y="15218"/>
                </a:lnTo>
                <a:cubicBezTo>
                  <a:pt x="6382" y="15218"/>
                  <a:pt x="6382" y="19042"/>
                  <a:pt x="6382" y="19042"/>
                </a:cubicBezTo>
                <a:close/>
                <a:moveTo>
                  <a:pt x="17673" y="0"/>
                </a:moveTo>
                <a:cubicBezTo>
                  <a:pt x="16588" y="0"/>
                  <a:pt x="15606" y="439"/>
                  <a:pt x="14896" y="1151"/>
                </a:cubicBezTo>
                <a:lnTo>
                  <a:pt x="1641" y="14405"/>
                </a:lnTo>
                <a:lnTo>
                  <a:pt x="0" y="21600"/>
                </a:lnTo>
                <a:lnTo>
                  <a:pt x="7195" y="19959"/>
                </a:lnTo>
                <a:lnTo>
                  <a:pt x="20449" y="6704"/>
                </a:lnTo>
                <a:cubicBezTo>
                  <a:pt x="21160" y="5994"/>
                  <a:pt x="21600" y="5012"/>
                  <a:pt x="21600" y="3927"/>
                </a:cubicBezTo>
                <a:cubicBezTo>
                  <a:pt x="21600" y="1758"/>
                  <a:pt x="19842" y="0"/>
                  <a:pt x="17673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552">
            <a:extLst>
              <a:ext uri="{FF2B5EF4-FFF2-40B4-BE49-F238E27FC236}">
                <a16:creationId xmlns:a16="http://schemas.microsoft.com/office/drawing/2014/main" id="{62F917FB-3C2A-45A1-9F22-8D620F6CDFD5}"/>
              </a:ext>
            </a:extLst>
          </p:cNvPr>
          <p:cNvSpPr/>
          <p:nvPr/>
        </p:nvSpPr>
        <p:spPr bwMode="gray">
          <a:xfrm>
            <a:off x="4501992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553">
            <a:extLst>
              <a:ext uri="{FF2B5EF4-FFF2-40B4-BE49-F238E27FC236}">
                <a16:creationId xmlns:a16="http://schemas.microsoft.com/office/drawing/2014/main" id="{6505A2DE-7DBE-4C9C-AD66-1703BFFEB11A}"/>
              </a:ext>
            </a:extLst>
          </p:cNvPr>
          <p:cNvSpPr/>
          <p:nvPr/>
        </p:nvSpPr>
        <p:spPr bwMode="gray">
          <a:xfrm>
            <a:off x="5054016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8100"/>
                </a:moveTo>
                <a:cubicBezTo>
                  <a:pt x="14896" y="8100"/>
                  <a:pt x="14236" y="8826"/>
                  <a:pt x="14236" y="9720"/>
                </a:cubicBezTo>
                <a:cubicBezTo>
                  <a:pt x="14236" y="10615"/>
                  <a:pt x="14896" y="11340"/>
                  <a:pt x="15709" y="11340"/>
                </a:cubicBezTo>
                <a:cubicBezTo>
                  <a:pt x="16522" y="11340"/>
                  <a:pt x="17182" y="10615"/>
                  <a:pt x="17182" y="9720"/>
                </a:cubicBezTo>
                <a:cubicBezTo>
                  <a:pt x="17182" y="8826"/>
                  <a:pt x="16522" y="8100"/>
                  <a:pt x="15709" y="8100"/>
                </a:cubicBezTo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  <a:moveTo>
                  <a:pt x="10800" y="8100"/>
                </a:moveTo>
                <a:cubicBezTo>
                  <a:pt x="9987" y="8100"/>
                  <a:pt x="9327" y="8826"/>
                  <a:pt x="9327" y="9720"/>
                </a:cubicBezTo>
                <a:cubicBezTo>
                  <a:pt x="9327" y="10615"/>
                  <a:pt x="9987" y="11340"/>
                  <a:pt x="10800" y="11340"/>
                </a:cubicBezTo>
                <a:cubicBezTo>
                  <a:pt x="11613" y="11340"/>
                  <a:pt x="12273" y="10615"/>
                  <a:pt x="12273" y="9720"/>
                </a:cubicBezTo>
                <a:cubicBezTo>
                  <a:pt x="12273" y="8826"/>
                  <a:pt x="11613" y="8100"/>
                  <a:pt x="10800" y="8100"/>
                </a:cubicBezTo>
                <a:moveTo>
                  <a:pt x="5891" y="8100"/>
                </a:moveTo>
                <a:cubicBezTo>
                  <a:pt x="5078" y="8100"/>
                  <a:pt x="4418" y="8826"/>
                  <a:pt x="4418" y="9720"/>
                </a:cubicBezTo>
                <a:cubicBezTo>
                  <a:pt x="4418" y="10615"/>
                  <a:pt x="5078" y="11340"/>
                  <a:pt x="5891" y="11340"/>
                </a:cubicBezTo>
                <a:cubicBezTo>
                  <a:pt x="6704" y="11340"/>
                  <a:pt x="7364" y="10615"/>
                  <a:pt x="7364" y="9720"/>
                </a:cubicBezTo>
                <a:cubicBezTo>
                  <a:pt x="7364" y="8826"/>
                  <a:pt x="6704" y="8100"/>
                  <a:pt x="5891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554">
            <a:extLst>
              <a:ext uri="{FF2B5EF4-FFF2-40B4-BE49-F238E27FC236}">
                <a16:creationId xmlns:a16="http://schemas.microsoft.com/office/drawing/2014/main" id="{29413626-57DF-4F6B-9E87-93AFB67D66CB}"/>
              </a:ext>
            </a:extLst>
          </p:cNvPr>
          <p:cNvSpPr/>
          <p:nvPr/>
        </p:nvSpPr>
        <p:spPr bwMode="gray">
          <a:xfrm>
            <a:off x="5606041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18900"/>
                </a:moveTo>
                <a:cubicBezTo>
                  <a:pt x="7279" y="18900"/>
                  <a:pt x="6684" y="18827"/>
                  <a:pt x="6086" y="18683"/>
                </a:cubicBezTo>
                <a:cubicBezTo>
                  <a:pt x="6017" y="18666"/>
                  <a:pt x="5946" y="18658"/>
                  <a:pt x="5876" y="18658"/>
                </a:cubicBezTo>
                <a:cubicBezTo>
                  <a:pt x="5756" y="18658"/>
                  <a:pt x="5636" y="18682"/>
                  <a:pt x="5523" y="18729"/>
                </a:cubicBezTo>
                <a:lnTo>
                  <a:pt x="2957" y="19815"/>
                </a:lnTo>
                <a:lnTo>
                  <a:pt x="3365" y="18243"/>
                </a:lnTo>
                <a:cubicBezTo>
                  <a:pt x="3474" y="17827"/>
                  <a:pt x="3345" y="17380"/>
                  <a:pt x="3039" y="17108"/>
                </a:cubicBezTo>
                <a:cubicBezTo>
                  <a:pt x="1712" y="15926"/>
                  <a:pt x="982" y="14358"/>
                  <a:pt x="982" y="12690"/>
                </a:cubicBezTo>
                <a:cubicBezTo>
                  <a:pt x="982" y="9266"/>
                  <a:pt x="4065" y="6480"/>
                  <a:pt x="7855" y="6480"/>
                </a:cubicBezTo>
                <a:cubicBezTo>
                  <a:pt x="11644" y="6480"/>
                  <a:pt x="14727" y="9266"/>
                  <a:pt x="14727" y="12690"/>
                </a:cubicBezTo>
                <a:cubicBezTo>
                  <a:pt x="14727" y="16114"/>
                  <a:pt x="11644" y="18900"/>
                  <a:pt x="7855" y="18900"/>
                </a:cubicBezTo>
                <a:moveTo>
                  <a:pt x="7855" y="5400"/>
                </a:moveTo>
                <a:cubicBezTo>
                  <a:pt x="3517" y="5400"/>
                  <a:pt x="0" y="8664"/>
                  <a:pt x="0" y="12690"/>
                </a:cubicBezTo>
                <a:cubicBezTo>
                  <a:pt x="0" y="14758"/>
                  <a:pt x="932" y="16620"/>
                  <a:pt x="2422" y="17947"/>
                </a:cubicBezTo>
                <a:lnTo>
                  <a:pt x="1473" y="21600"/>
                </a:lnTo>
                <a:lnTo>
                  <a:pt x="5876" y="19738"/>
                </a:lnTo>
                <a:cubicBezTo>
                  <a:pt x="6509" y="19891"/>
                  <a:pt x="7169" y="19980"/>
                  <a:pt x="7855" y="19980"/>
                </a:cubicBezTo>
                <a:cubicBezTo>
                  <a:pt x="12192" y="19980"/>
                  <a:pt x="15709" y="16716"/>
                  <a:pt x="15709" y="12690"/>
                </a:cubicBezTo>
                <a:cubicBezTo>
                  <a:pt x="15709" y="8664"/>
                  <a:pt x="12192" y="5400"/>
                  <a:pt x="7855" y="5400"/>
                </a:cubicBezTo>
                <a:moveTo>
                  <a:pt x="21600" y="7290"/>
                </a:moveTo>
                <a:cubicBezTo>
                  <a:pt x="21600" y="3264"/>
                  <a:pt x="18084" y="0"/>
                  <a:pt x="13745" y="0"/>
                </a:cubicBezTo>
                <a:cubicBezTo>
                  <a:pt x="10506" y="0"/>
                  <a:pt x="7725" y="1821"/>
                  <a:pt x="6525" y="4422"/>
                </a:cubicBezTo>
                <a:cubicBezTo>
                  <a:pt x="6912" y="4367"/>
                  <a:pt x="7306" y="4332"/>
                  <a:pt x="7708" y="4326"/>
                </a:cubicBezTo>
                <a:cubicBezTo>
                  <a:pt x="8875" y="2394"/>
                  <a:pt x="11143" y="1080"/>
                  <a:pt x="13745" y="1080"/>
                </a:cubicBezTo>
                <a:cubicBezTo>
                  <a:pt x="17535" y="1080"/>
                  <a:pt x="20618" y="3866"/>
                  <a:pt x="20618" y="7290"/>
                </a:cubicBezTo>
                <a:cubicBezTo>
                  <a:pt x="20618" y="8958"/>
                  <a:pt x="19888" y="10526"/>
                  <a:pt x="18561" y="11707"/>
                </a:cubicBezTo>
                <a:cubicBezTo>
                  <a:pt x="18255" y="11980"/>
                  <a:pt x="18126" y="12428"/>
                  <a:pt x="18234" y="12843"/>
                </a:cubicBezTo>
                <a:lnTo>
                  <a:pt x="18643" y="14415"/>
                </a:lnTo>
                <a:lnTo>
                  <a:pt x="16613" y="13556"/>
                </a:lnTo>
                <a:cubicBezTo>
                  <a:pt x="16573" y="13922"/>
                  <a:pt x="16500" y="14278"/>
                  <a:pt x="16411" y="14628"/>
                </a:cubicBezTo>
                <a:lnTo>
                  <a:pt x="20127" y="16200"/>
                </a:lnTo>
                <a:lnTo>
                  <a:pt x="19178" y="12547"/>
                </a:lnTo>
                <a:cubicBezTo>
                  <a:pt x="20669" y="11220"/>
                  <a:pt x="21600" y="9358"/>
                  <a:pt x="21600" y="729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555">
            <a:extLst>
              <a:ext uri="{FF2B5EF4-FFF2-40B4-BE49-F238E27FC236}">
                <a16:creationId xmlns:a16="http://schemas.microsoft.com/office/drawing/2014/main" id="{DEE72A6E-E44A-489C-BEFC-4D0378F79372}"/>
              </a:ext>
            </a:extLst>
          </p:cNvPr>
          <p:cNvSpPr/>
          <p:nvPr/>
        </p:nvSpPr>
        <p:spPr bwMode="gray">
          <a:xfrm>
            <a:off x="63782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35"/>
                  <a:pt x="19650" y="15637"/>
                  <a:pt x="18073" y="1737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8266"/>
                  <a:pt x="1950" y="5963"/>
                  <a:pt x="3527" y="4221"/>
                </a:cubicBezTo>
                <a:lnTo>
                  <a:pt x="17379" y="18073"/>
                </a:lnTo>
                <a:cubicBezTo>
                  <a:pt x="15637" y="19650"/>
                  <a:pt x="13334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556">
            <a:extLst>
              <a:ext uri="{FF2B5EF4-FFF2-40B4-BE49-F238E27FC236}">
                <a16:creationId xmlns:a16="http://schemas.microsoft.com/office/drawing/2014/main" id="{EA0FBE83-8CAF-457C-AF26-065456C5E9A5}"/>
              </a:ext>
            </a:extLst>
          </p:cNvPr>
          <p:cNvSpPr/>
          <p:nvPr/>
        </p:nvSpPr>
        <p:spPr bwMode="gray">
          <a:xfrm>
            <a:off x="1189845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874" y="5396"/>
                </a:moveTo>
                <a:cubicBezTo>
                  <a:pt x="11493" y="5396"/>
                  <a:pt x="11166" y="5519"/>
                  <a:pt x="10894" y="5766"/>
                </a:cubicBezTo>
                <a:cubicBezTo>
                  <a:pt x="10621" y="6013"/>
                  <a:pt x="10484" y="6310"/>
                  <a:pt x="10484" y="6658"/>
                </a:cubicBezTo>
                <a:cubicBezTo>
                  <a:pt x="10484" y="7005"/>
                  <a:pt x="10621" y="7301"/>
                  <a:pt x="10894" y="7545"/>
                </a:cubicBezTo>
                <a:cubicBezTo>
                  <a:pt x="11166" y="7790"/>
                  <a:pt x="11493" y="7912"/>
                  <a:pt x="11874" y="7912"/>
                </a:cubicBezTo>
                <a:cubicBezTo>
                  <a:pt x="12255" y="7912"/>
                  <a:pt x="12581" y="7790"/>
                  <a:pt x="12852" y="7545"/>
                </a:cubicBezTo>
                <a:cubicBezTo>
                  <a:pt x="13122" y="7301"/>
                  <a:pt x="13257" y="7005"/>
                  <a:pt x="13257" y="6658"/>
                </a:cubicBezTo>
                <a:cubicBezTo>
                  <a:pt x="13257" y="6310"/>
                  <a:pt x="13122" y="6013"/>
                  <a:pt x="12852" y="5766"/>
                </a:cubicBezTo>
                <a:cubicBezTo>
                  <a:pt x="12581" y="5519"/>
                  <a:pt x="12255" y="5396"/>
                  <a:pt x="11874" y="5396"/>
                </a:cubicBezTo>
                <a:moveTo>
                  <a:pt x="12242" y="15228"/>
                </a:moveTo>
                <a:cubicBezTo>
                  <a:pt x="11942" y="15228"/>
                  <a:pt x="11730" y="15180"/>
                  <a:pt x="11608" y="15083"/>
                </a:cubicBezTo>
                <a:cubicBezTo>
                  <a:pt x="11486" y="14987"/>
                  <a:pt x="11425" y="14807"/>
                  <a:pt x="11425" y="14542"/>
                </a:cubicBezTo>
                <a:cubicBezTo>
                  <a:pt x="11425" y="14436"/>
                  <a:pt x="11444" y="14281"/>
                  <a:pt x="11482" y="14076"/>
                </a:cubicBezTo>
                <a:cubicBezTo>
                  <a:pt x="11519" y="13870"/>
                  <a:pt x="11562" y="13687"/>
                  <a:pt x="11609" y="13527"/>
                </a:cubicBezTo>
                <a:lnTo>
                  <a:pt x="12189" y="11532"/>
                </a:lnTo>
                <a:cubicBezTo>
                  <a:pt x="12246" y="11349"/>
                  <a:pt x="12284" y="11148"/>
                  <a:pt x="12306" y="10929"/>
                </a:cubicBezTo>
                <a:cubicBezTo>
                  <a:pt x="12327" y="10709"/>
                  <a:pt x="12337" y="10557"/>
                  <a:pt x="12337" y="10469"/>
                </a:cubicBezTo>
                <a:cubicBezTo>
                  <a:pt x="12337" y="10049"/>
                  <a:pt x="12185" y="9707"/>
                  <a:pt x="11882" y="9444"/>
                </a:cubicBezTo>
                <a:cubicBezTo>
                  <a:pt x="11578" y="9182"/>
                  <a:pt x="11146" y="9050"/>
                  <a:pt x="10586" y="9050"/>
                </a:cubicBezTo>
                <a:cubicBezTo>
                  <a:pt x="10275" y="9050"/>
                  <a:pt x="9945" y="9104"/>
                  <a:pt x="9597" y="9211"/>
                </a:cubicBezTo>
                <a:cubicBezTo>
                  <a:pt x="9248" y="9319"/>
                  <a:pt x="8884" y="9448"/>
                  <a:pt x="8502" y="9599"/>
                </a:cubicBezTo>
                <a:lnTo>
                  <a:pt x="8347" y="10216"/>
                </a:lnTo>
                <a:cubicBezTo>
                  <a:pt x="8460" y="10175"/>
                  <a:pt x="8595" y="10131"/>
                  <a:pt x="8753" y="10085"/>
                </a:cubicBezTo>
                <a:cubicBezTo>
                  <a:pt x="8911" y="10040"/>
                  <a:pt x="9066" y="10017"/>
                  <a:pt x="9217" y="10017"/>
                </a:cubicBezTo>
                <a:cubicBezTo>
                  <a:pt x="9524" y="10017"/>
                  <a:pt x="9731" y="10068"/>
                  <a:pt x="9839" y="10168"/>
                </a:cubicBezTo>
                <a:cubicBezTo>
                  <a:pt x="9948" y="10269"/>
                  <a:pt x="10002" y="10447"/>
                  <a:pt x="10002" y="10703"/>
                </a:cubicBezTo>
                <a:cubicBezTo>
                  <a:pt x="10002" y="10844"/>
                  <a:pt x="9985" y="11001"/>
                  <a:pt x="9949" y="11172"/>
                </a:cubicBezTo>
                <a:cubicBezTo>
                  <a:pt x="9914" y="11343"/>
                  <a:pt x="9870" y="11526"/>
                  <a:pt x="9818" y="11717"/>
                </a:cubicBezTo>
                <a:lnTo>
                  <a:pt x="9235" y="13719"/>
                </a:lnTo>
                <a:cubicBezTo>
                  <a:pt x="9184" y="13929"/>
                  <a:pt x="9146" y="14118"/>
                  <a:pt x="9123" y="14285"/>
                </a:cubicBezTo>
                <a:cubicBezTo>
                  <a:pt x="9100" y="14451"/>
                  <a:pt x="9088" y="14615"/>
                  <a:pt x="9088" y="14775"/>
                </a:cubicBezTo>
                <a:cubicBezTo>
                  <a:pt x="9088" y="15186"/>
                  <a:pt x="9244" y="15526"/>
                  <a:pt x="9556" y="15793"/>
                </a:cubicBezTo>
                <a:cubicBezTo>
                  <a:pt x="9869" y="16060"/>
                  <a:pt x="10308" y="16194"/>
                  <a:pt x="10872" y="16194"/>
                </a:cubicBezTo>
                <a:cubicBezTo>
                  <a:pt x="11239" y="16194"/>
                  <a:pt x="11561" y="16147"/>
                  <a:pt x="11839" y="16053"/>
                </a:cubicBezTo>
                <a:cubicBezTo>
                  <a:pt x="12117" y="15960"/>
                  <a:pt x="12488" y="15824"/>
                  <a:pt x="12954" y="15645"/>
                </a:cubicBezTo>
                <a:lnTo>
                  <a:pt x="13109" y="15028"/>
                </a:lnTo>
                <a:cubicBezTo>
                  <a:pt x="13029" y="15065"/>
                  <a:pt x="12900" y="15107"/>
                  <a:pt x="12721" y="15155"/>
                </a:cubicBezTo>
                <a:cubicBezTo>
                  <a:pt x="12543" y="15204"/>
                  <a:pt x="12383" y="15228"/>
                  <a:pt x="12242" y="152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557">
            <a:extLst>
              <a:ext uri="{FF2B5EF4-FFF2-40B4-BE49-F238E27FC236}">
                <a16:creationId xmlns:a16="http://schemas.microsoft.com/office/drawing/2014/main" id="{B4111293-50B7-482C-B230-8DF7540E8185}"/>
              </a:ext>
            </a:extLst>
          </p:cNvPr>
          <p:cNvSpPr/>
          <p:nvPr/>
        </p:nvSpPr>
        <p:spPr bwMode="gray">
          <a:xfrm>
            <a:off x="1741870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91" y="6559"/>
                </a:moveTo>
                <a:cubicBezTo>
                  <a:pt x="12727" y="6341"/>
                  <a:pt x="12420" y="6172"/>
                  <a:pt x="12078" y="6058"/>
                </a:cubicBezTo>
                <a:cubicBezTo>
                  <a:pt x="11737" y="5946"/>
                  <a:pt x="11367" y="5889"/>
                  <a:pt x="10978" y="5889"/>
                </a:cubicBezTo>
                <a:cubicBezTo>
                  <a:pt x="10477" y="5889"/>
                  <a:pt x="10025" y="5967"/>
                  <a:pt x="9633" y="6120"/>
                </a:cubicBezTo>
                <a:cubicBezTo>
                  <a:pt x="9239" y="6275"/>
                  <a:pt x="8900" y="6494"/>
                  <a:pt x="8623" y="6771"/>
                </a:cubicBezTo>
                <a:cubicBezTo>
                  <a:pt x="8346" y="7049"/>
                  <a:pt x="8133" y="7392"/>
                  <a:pt x="7992" y="7788"/>
                </a:cubicBezTo>
                <a:cubicBezTo>
                  <a:pt x="7853" y="8180"/>
                  <a:pt x="7782" y="8620"/>
                  <a:pt x="7782" y="9096"/>
                </a:cubicBezTo>
                <a:lnTo>
                  <a:pt x="7782" y="9217"/>
                </a:lnTo>
                <a:lnTo>
                  <a:pt x="8880" y="9217"/>
                </a:lnTo>
                <a:lnTo>
                  <a:pt x="8877" y="9093"/>
                </a:lnTo>
                <a:cubicBezTo>
                  <a:pt x="8868" y="8767"/>
                  <a:pt x="8908" y="8461"/>
                  <a:pt x="8993" y="8187"/>
                </a:cubicBezTo>
                <a:cubicBezTo>
                  <a:pt x="9079" y="7914"/>
                  <a:pt x="9207" y="7675"/>
                  <a:pt x="9377" y="7473"/>
                </a:cubicBezTo>
                <a:cubicBezTo>
                  <a:pt x="9545" y="7274"/>
                  <a:pt x="9762" y="7115"/>
                  <a:pt x="10024" y="7000"/>
                </a:cubicBezTo>
                <a:cubicBezTo>
                  <a:pt x="10287" y="6884"/>
                  <a:pt x="10594" y="6827"/>
                  <a:pt x="10937" y="6827"/>
                </a:cubicBezTo>
                <a:cubicBezTo>
                  <a:pt x="11182" y="6827"/>
                  <a:pt x="11418" y="6868"/>
                  <a:pt x="11639" y="6950"/>
                </a:cubicBezTo>
                <a:cubicBezTo>
                  <a:pt x="11858" y="7032"/>
                  <a:pt x="12053" y="7146"/>
                  <a:pt x="12218" y="7289"/>
                </a:cubicBezTo>
                <a:cubicBezTo>
                  <a:pt x="12381" y="7431"/>
                  <a:pt x="12512" y="7605"/>
                  <a:pt x="12609" y="7808"/>
                </a:cubicBezTo>
                <a:cubicBezTo>
                  <a:pt x="12704" y="8011"/>
                  <a:pt x="12752" y="8236"/>
                  <a:pt x="12752" y="8478"/>
                </a:cubicBezTo>
                <a:cubicBezTo>
                  <a:pt x="12752" y="8797"/>
                  <a:pt x="12674" y="9089"/>
                  <a:pt x="12519" y="9350"/>
                </a:cubicBezTo>
                <a:cubicBezTo>
                  <a:pt x="12359" y="9618"/>
                  <a:pt x="12154" y="9865"/>
                  <a:pt x="11913" y="10082"/>
                </a:cubicBezTo>
                <a:cubicBezTo>
                  <a:pt x="11624" y="10337"/>
                  <a:pt x="11374" y="10568"/>
                  <a:pt x="11170" y="10771"/>
                </a:cubicBezTo>
                <a:cubicBezTo>
                  <a:pt x="10959" y="10979"/>
                  <a:pt x="10789" y="11200"/>
                  <a:pt x="10662" y="11428"/>
                </a:cubicBezTo>
                <a:cubicBezTo>
                  <a:pt x="10534" y="11657"/>
                  <a:pt x="10441" y="11916"/>
                  <a:pt x="10385" y="12199"/>
                </a:cubicBezTo>
                <a:cubicBezTo>
                  <a:pt x="10329" y="12478"/>
                  <a:pt x="10305" y="12827"/>
                  <a:pt x="10315" y="13237"/>
                </a:cubicBezTo>
                <a:lnTo>
                  <a:pt x="10318" y="13355"/>
                </a:lnTo>
                <a:lnTo>
                  <a:pt x="11407" y="13355"/>
                </a:lnTo>
                <a:lnTo>
                  <a:pt x="11410" y="13237"/>
                </a:lnTo>
                <a:cubicBezTo>
                  <a:pt x="11418" y="12838"/>
                  <a:pt x="11436" y="12531"/>
                  <a:pt x="11463" y="12322"/>
                </a:cubicBezTo>
                <a:cubicBezTo>
                  <a:pt x="11488" y="12125"/>
                  <a:pt x="11538" y="11956"/>
                  <a:pt x="11611" y="11821"/>
                </a:cubicBezTo>
                <a:cubicBezTo>
                  <a:pt x="11687" y="11684"/>
                  <a:pt x="11803" y="11541"/>
                  <a:pt x="11959" y="11399"/>
                </a:cubicBezTo>
                <a:cubicBezTo>
                  <a:pt x="12127" y="11245"/>
                  <a:pt x="12351" y="11031"/>
                  <a:pt x="12630" y="10762"/>
                </a:cubicBezTo>
                <a:cubicBezTo>
                  <a:pt x="12979" y="10441"/>
                  <a:pt x="13270" y="10102"/>
                  <a:pt x="13495" y="9753"/>
                </a:cubicBezTo>
                <a:cubicBezTo>
                  <a:pt x="13729" y="9393"/>
                  <a:pt x="13847" y="8952"/>
                  <a:pt x="13847" y="8439"/>
                </a:cubicBezTo>
                <a:cubicBezTo>
                  <a:pt x="13847" y="8038"/>
                  <a:pt x="13770" y="7675"/>
                  <a:pt x="13618" y="7362"/>
                </a:cubicBezTo>
                <a:cubicBezTo>
                  <a:pt x="13467" y="7050"/>
                  <a:pt x="13256" y="6780"/>
                  <a:pt x="12991" y="6559"/>
                </a:cubicBezTo>
                <a:moveTo>
                  <a:pt x="10179" y="15706"/>
                </a:moveTo>
                <a:lnTo>
                  <a:pt x="11558" y="15706"/>
                </a:lnTo>
                <a:lnTo>
                  <a:pt x="11558" y="14072"/>
                </a:lnTo>
                <a:lnTo>
                  <a:pt x="10179" y="14072"/>
                </a:lnTo>
                <a:cubicBezTo>
                  <a:pt x="10179" y="14072"/>
                  <a:pt x="10179" y="15706"/>
                  <a:pt x="10179" y="15706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558">
            <a:extLst>
              <a:ext uri="{FF2B5EF4-FFF2-40B4-BE49-F238E27FC236}">
                <a16:creationId xmlns:a16="http://schemas.microsoft.com/office/drawing/2014/main" id="{F626135D-61BE-47D8-BEA3-BDE746504401}"/>
              </a:ext>
            </a:extLst>
          </p:cNvPr>
          <p:cNvSpPr/>
          <p:nvPr/>
        </p:nvSpPr>
        <p:spPr bwMode="gray">
          <a:xfrm>
            <a:off x="2293894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559">
            <a:extLst>
              <a:ext uri="{FF2B5EF4-FFF2-40B4-BE49-F238E27FC236}">
                <a16:creationId xmlns:a16="http://schemas.microsoft.com/office/drawing/2014/main" id="{CB2B2249-523B-48C5-919D-6D03D4C40EB7}"/>
              </a:ext>
            </a:extLst>
          </p:cNvPr>
          <p:cNvSpPr/>
          <p:nvPr/>
        </p:nvSpPr>
        <p:spPr bwMode="gray">
          <a:xfrm>
            <a:off x="2845919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0"/>
                  <a:pt x="982" y="16800"/>
                </a:cubicBezTo>
                <a:lnTo>
                  <a:pt x="2455" y="16800"/>
                </a:lnTo>
                <a:cubicBezTo>
                  <a:pt x="2725" y="16800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20618" y="20400"/>
                </a:move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560">
            <a:extLst>
              <a:ext uri="{FF2B5EF4-FFF2-40B4-BE49-F238E27FC236}">
                <a16:creationId xmlns:a16="http://schemas.microsoft.com/office/drawing/2014/main" id="{8656C234-2714-40D9-84B0-B38B9CF2F475}"/>
              </a:ext>
            </a:extLst>
          </p:cNvPr>
          <p:cNvSpPr/>
          <p:nvPr/>
        </p:nvSpPr>
        <p:spPr bwMode="gray">
          <a:xfrm>
            <a:off x="3397943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3745"/>
                </a:moveTo>
                <a:cubicBezTo>
                  <a:pt x="2726" y="13745"/>
                  <a:pt x="2945" y="13526"/>
                  <a:pt x="2945" y="13255"/>
                </a:cubicBezTo>
                <a:cubicBezTo>
                  <a:pt x="2945" y="12984"/>
                  <a:pt x="2726" y="12764"/>
                  <a:pt x="2455" y="12764"/>
                </a:cubicBezTo>
                <a:lnTo>
                  <a:pt x="982" y="12764"/>
                </a:lnTo>
                <a:lnTo>
                  <a:pt x="982" y="982"/>
                </a:lnTo>
                <a:lnTo>
                  <a:pt x="16691" y="982"/>
                </a:lnTo>
                <a:lnTo>
                  <a:pt x="16691" y="2455"/>
                </a:lnTo>
                <a:cubicBezTo>
                  <a:pt x="16691" y="2726"/>
                  <a:pt x="16910" y="2945"/>
                  <a:pt x="17182" y="2945"/>
                </a:cubicBezTo>
                <a:cubicBezTo>
                  <a:pt x="17453" y="2945"/>
                  <a:pt x="17673" y="2726"/>
                  <a:pt x="17673" y="2455"/>
                </a:cubicBezTo>
                <a:lnTo>
                  <a:pt x="17673" y="982"/>
                </a:lnTo>
                <a:cubicBezTo>
                  <a:pt x="17673" y="440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cubicBezTo>
                  <a:pt x="0" y="17233"/>
                  <a:pt x="440" y="17673"/>
                  <a:pt x="982" y="17673"/>
                </a:cubicBezTo>
                <a:lnTo>
                  <a:pt x="2455" y="17673"/>
                </a:lnTo>
                <a:cubicBezTo>
                  <a:pt x="2726" y="17673"/>
                  <a:pt x="2945" y="17453"/>
                  <a:pt x="2945" y="17182"/>
                </a:cubicBezTo>
                <a:cubicBezTo>
                  <a:pt x="2945" y="16911"/>
                  <a:pt x="2726" y="16691"/>
                  <a:pt x="2455" y="16691"/>
                </a:cubicBezTo>
                <a:lnTo>
                  <a:pt x="982" y="16691"/>
                </a:lnTo>
                <a:lnTo>
                  <a:pt x="982" y="13745"/>
                </a:lnTo>
                <a:cubicBezTo>
                  <a:pt x="982" y="13745"/>
                  <a:pt x="2455" y="13745"/>
                  <a:pt x="2455" y="13745"/>
                </a:cubicBezTo>
                <a:close/>
                <a:moveTo>
                  <a:pt x="20618" y="16691"/>
                </a:moveTo>
                <a:lnTo>
                  <a:pt x="4909" y="16691"/>
                </a:lnTo>
                <a:lnTo>
                  <a:pt x="4909" y="4909"/>
                </a:lnTo>
                <a:lnTo>
                  <a:pt x="20618" y="4909"/>
                </a:lnTo>
                <a:cubicBezTo>
                  <a:pt x="20618" y="4909"/>
                  <a:pt x="20618" y="16691"/>
                  <a:pt x="20618" y="16691"/>
                </a:cubicBezTo>
                <a:close/>
                <a:moveTo>
                  <a:pt x="20618" y="20618"/>
                </a:moveTo>
                <a:lnTo>
                  <a:pt x="4909" y="20618"/>
                </a:lnTo>
                <a:lnTo>
                  <a:pt x="4909" y="17673"/>
                </a:lnTo>
                <a:lnTo>
                  <a:pt x="20618" y="17673"/>
                </a:lnTo>
                <a:cubicBezTo>
                  <a:pt x="20618" y="17673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4909" y="3927"/>
                </a:lnTo>
                <a:cubicBezTo>
                  <a:pt x="4367" y="3927"/>
                  <a:pt x="3927" y="4367"/>
                  <a:pt x="3927" y="4909"/>
                </a:cubicBezTo>
                <a:lnTo>
                  <a:pt x="3927" y="20618"/>
                </a:lnTo>
                <a:cubicBezTo>
                  <a:pt x="3927" y="21160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561">
            <a:extLst>
              <a:ext uri="{FF2B5EF4-FFF2-40B4-BE49-F238E27FC236}">
                <a16:creationId xmlns:a16="http://schemas.microsoft.com/office/drawing/2014/main" id="{71B7824A-6316-4B42-B21D-ED20EB37612B}"/>
              </a:ext>
            </a:extLst>
          </p:cNvPr>
          <p:cNvSpPr/>
          <p:nvPr/>
        </p:nvSpPr>
        <p:spPr bwMode="gray">
          <a:xfrm>
            <a:off x="3949967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3600"/>
                </a:moveTo>
                <a:lnTo>
                  <a:pt x="19145" y="3600"/>
                </a:lnTo>
                <a:cubicBezTo>
                  <a:pt x="19417" y="3600"/>
                  <a:pt x="19636" y="3332"/>
                  <a:pt x="19636" y="3000"/>
                </a:cubicBezTo>
                <a:cubicBezTo>
                  <a:pt x="19636" y="2669"/>
                  <a:pt x="19417" y="2400"/>
                  <a:pt x="19145" y="2400"/>
                </a:cubicBezTo>
                <a:lnTo>
                  <a:pt x="2455" y="2400"/>
                </a:lnTo>
                <a:cubicBezTo>
                  <a:pt x="2183" y="2400"/>
                  <a:pt x="1964" y="2669"/>
                  <a:pt x="1964" y="3000"/>
                </a:cubicBezTo>
                <a:cubicBezTo>
                  <a:pt x="1964" y="3332"/>
                  <a:pt x="2183" y="3600"/>
                  <a:pt x="2455" y="3600"/>
                </a:cubicBezTo>
                <a:moveTo>
                  <a:pt x="20618" y="20400"/>
                </a:moveTo>
                <a:lnTo>
                  <a:pt x="982" y="20400"/>
                </a:lnTo>
                <a:lnTo>
                  <a:pt x="982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982" y="4800"/>
                </a:lnTo>
                <a:cubicBezTo>
                  <a:pt x="439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4418" y="1200"/>
                </a:moveTo>
                <a:lnTo>
                  <a:pt x="17182" y="1200"/>
                </a:lnTo>
                <a:cubicBezTo>
                  <a:pt x="17453" y="1200"/>
                  <a:pt x="17673" y="932"/>
                  <a:pt x="17673" y="600"/>
                </a:cubicBezTo>
                <a:cubicBezTo>
                  <a:pt x="17673" y="269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269"/>
                  <a:pt x="3927" y="600"/>
                </a:cubicBezTo>
                <a:cubicBezTo>
                  <a:pt x="3927" y="932"/>
                  <a:pt x="4147" y="1200"/>
                  <a:pt x="4418" y="1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562">
            <a:extLst>
              <a:ext uri="{FF2B5EF4-FFF2-40B4-BE49-F238E27FC236}">
                <a16:creationId xmlns:a16="http://schemas.microsoft.com/office/drawing/2014/main" id="{74033AC1-348B-4B3D-B756-5A18B3EA7CE3}"/>
              </a:ext>
            </a:extLst>
          </p:cNvPr>
          <p:cNvSpPr/>
          <p:nvPr/>
        </p:nvSpPr>
        <p:spPr bwMode="gray">
          <a:xfrm>
            <a:off x="4501992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1" y="20619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294" y="17673"/>
                </a:moveTo>
                <a:lnTo>
                  <a:pt x="8376" y="10732"/>
                </a:lnTo>
                <a:lnTo>
                  <a:pt x="10838" y="14425"/>
                </a:lnTo>
                <a:cubicBezTo>
                  <a:pt x="10862" y="14484"/>
                  <a:pt x="10898" y="14536"/>
                  <a:pt x="10942" y="14581"/>
                </a:cubicBezTo>
                <a:lnTo>
                  <a:pt x="10944" y="14583"/>
                </a:lnTo>
                <a:cubicBezTo>
                  <a:pt x="11033" y="14673"/>
                  <a:pt x="11155" y="14727"/>
                  <a:pt x="11291" y="14727"/>
                </a:cubicBezTo>
                <a:cubicBezTo>
                  <a:pt x="11427" y="14727"/>
                  <a:pt x="11549" y="14673"/>
                  <a:pt x="11638" y="14583"/>
                </a:cubicBezTo>
                <a:lnTo>
                  <a:pt x="13686" y="12536"/>
                </a:lnTo>
                <a:lnTo>
                  <a:pt x="17242" y="17673"/>
                </a:lnTo>
                <a:cubicBezTo>
                  <a:pt x="17242" y="17673"/>
                  <a:pt x="4294" y="17673"/>
                  <a:pt x="4294" y="17673"/>
                </a:cubicBezTo>
                <a:close/>
                <a:moveTo>
                  <a:pt x="18620" y="17982"/>
                </a:moveTo>
                <a:lnTo>
                  <a:pt x="18617" y="17978"/>
                </a:lnTo>
                <a:cubicBezTo>
                  <a:pt x="18590" y="17913"/>
                  <a:pt x="18551" y="17858"/>
                  <a:pt x="18501" y="17810"/>
                </a:cubicBezTo>
                <a:lnTo>
                  <a:pt x="14201" y="11600"/>
                </a:lnTo>
                <a:lnTo>
                  <a:pt x="14200" y="11601"/>
                </a:lnTo>
                <a:cubicBezTo>
                  <a:pt x="14127" y="11420"/>
                  <a:pt x="13952" y="11291"/>
                  <a:pt x="13745" y="11291"/>
                </a:cubicBezTo>
                <a:cubicBezTo>
                  <a:pt x="13610" y="11291"/>
                  <a:pt x="13488" y="11346"/>
                  <a:pt x="13398" y="11435"/>
                </a:cubicBezTo>
                <a:lnTo>
                  <a:pt x="11360" y="13473"/>
                </a:lnTo>
                <a:lnTo>
                  <a:pt x="8798" y="9630"/>
                </a:lnTo>
                <a:cubicBezTo>
                  <a:pt x="8724" y="9453"/>
                  <a:pt x="8550" y="9327"/>
                  <a:pt x="8345" y="9327"/>
                </a:cubicBezTo>
                <a:cubicBezTo>
                  <a:pt x="8175" y="9327"/>
                  <a:pt x="8033" y="9420"/>
                  <a:pt x="7945" y="9551"/>
                </a:cubicBezTo>
                <a:lnTo>
                  <a:pt x="7937" y="9546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8164" y="18655"/>
                </a:lnTo>
                <a:cubicBezTo>
                  <a:pt x="18435" y="18655"/>
                  <a:pt x="18655" y="18435"/>
                  <a:pt x="18655" y="18164"/>
                </a:cubicBezTo>
                <a:cubicBezTo>
                  <a:pt x="18655" y="18099"/>
                  <a:pt x="18640" y="18039"/>
                  <a:pt x="18618" y="17983"/>
                </a:cubicBezTo>
                <a:cubicBezTo>
                  <a:pt x="18618" y="17983"/>
                  <a:pt x="18620" y="17982"/>
                  <a:pt x="18620" y="17982"/>
                </a:cubicBezTo>
                <a:close/>
                <a:moveTo>
                  <a:pt x="5400" y="3927"/>
                </a:moveTo>
                <a:cubicBezTo>
                  <a:pt x="6213" y="3927"/>
                  <a:pt x="6873" y="4587"/>
                  <a:pt x="6873" y="5400"/>
                </a:cubicBezTo>
                <a:cubicBezTo>
                  <a:pt x="6873" y="6214"/>
                  <a:pt x="6213" y="6873"/>
                  <a:pt x="5400" y="6873"/>
                </a:cubicBezTo>
                <a:cubicBezTo>
                  <a:pt x="4587" y="6873"/>
                  <a:pt x="3927" y="6214"/>
                  <a:pt x="3927" y="5400"/>
                </a:cubicBezTo>
                <a:cubicBezTo>
                  <a:pt x="3927" y="4587"/>
                  <a:pt x="4587" y="3927"/>
                  <a:pt x="5400" y="3927"/>
                </a:cubicBezTo>
                <a:moveTo>
                  <a:pt x="5400" y="7855"/>
                </a:moveTo>
                <a:cubicBezTo>
                  <a:pt x="6756" y="7855"/>
                  <a:pt x="7855" y="6756"/>
                  <a:pt x="7855" y="5400"/>
                </a:cubicBezTo>
                <a:cubicBezTo>
                  <a:pt x="7855" y="4045"/>
                  <a:pt x="6756" y="2945"/>
                  <a:pt x="5400" y="2945"/>
                </a:cubicBezTo>
                <a:cubicBezTo>
                  <a:pt x="4044" y="2945"/>
                  <a:pt x="2945" y="4045"/>
                  <a:pt x="2945" y="5400"/>
                </a:cubicBezTo>
                <a:cubicBezTo>
                  <a:pt x="2945" y="6756"/>
                  <a:pt x="4044" y="7855"/>
                  <a:pt x="5400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563">
            <a:extLst>
              <a:ext uri="{FF2B5EF4-FFF2-40B4-BE49-F238E27FC236}">
                <a16:creationId xmlns:a16="http://schemas.microsoft.com/office/drawing/2014/main" id="{F05D605A-B094-4922-A374-038B413AB95C}"/>
              </a:ext>
            </a:extLst>
          </p:cNvPr>
          <p:cNvSpPr/>
          <p:nvPr/>
        </p:nvSpPr>
        <p:spPr bwMode="gray">
          <a:xfrm>
            <a:off x="5054016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354" y="17673"/>
                </a:moveTo>
                <a:lnTo>
                  <a:pt x="7369" y="13149"/>
                </a:lnTo>
                <a:lnTo>
                  <a:pt x="8875" y="15407"/>
                </a:lnTo>
                <a:cubicBezTo>
                  <a:pt x="8949" y="15584"/>
                  <a:pt x="9123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1198" y="14042"/>
                </a:lnTo>
                <a:lnTo>
                  <a:pt x="13376" y="17673"/>
                </a:lnTo>
                <a:cubicBezTo>
                  <a:pt x="13376" y="17673"/>
                  <a:pt x="4354" y="17673"/>
                  <a:pt x="4354" y="17673"/>
                </a:cubicBezTo>
                <a:close/>
                <a:moveTo>
                  <a:pt x="14692" y="17982"/>
                </a:moveTo>
                <a:lnTo>
                  <a:pt x="14690" y="17977"/>
                </a:lnTo>
                <a:cubicBezTo>
                  <a:pt x="14685" y="17967"/>
                  <a:pt x="14677" y="17959"/>
                  <a:pt x="14673" y="17949"/>
                </a:cubicBezTo>
                <a:lnTo>
                  <a:pt x="11747" y="13073"/>
                </a:lnTo>
                <a:lnTo>
                  <a:pt x="11745" y="13073"/>
                </a:lnTo>
                <a:cubicBezTo>
                  <a:pt x="11673" y="12892"/>
                  <a:pt x="11498" y="12764"/>
                  <a:pt x="11291" y="12764"/>
                </a:cubicBezTo>
                <a:cubicBezTo>
                  <a:pt x="11155" y="12764"/>
                  <a:pt x="11033" y="12819"/>
                  <a:pt x="10944" y="12908"/>
                </a:cubicBezTo>
                <a:lnTo>
                  <a:pt x="9397" y="14454"/>
                </a:lnTo>
                <a:lnTo>
                  <a:pt x="7816" y="12084"/>
                </a:lnTo>
                <a:cubicBezTo>
                  <a:pt x="7742" y="11907"/>
                  <a:pt x="7568" y="11782"/>
                  <a:pt x="7364" y="11782"/>
                </a:cubicBezTo>
                <a:cubicBezTo>
                  <a:pt x="7193" y="11782"/>
                  <a:pt x="7051" y="11874"/>
                  <a:pt x="6963" y="12006"/>
                </a:cubicBezTo>
                <a:lnTo>
                  <a:pt x="6955" y="12000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4236" y="18655"/>
                </a:lnTo>
                <a:cubicBezTo>
                  <a:pt x="14508" y="18655"/>
                  <a:pt x="14727" y="18435"/>
                  <a:pt x="14727" y="18164"/>
                </a:cubicBezTo>
                <a:cubicBezTo>
                  <a:pt x="14727" y="18099"/>
                  <a:pt x="14713" y="18039"/>
                  <a:pt x="14691" y="17983"/>
                </a:cubicBezTo>
                <a:cubicBezTo>
                  <a:pt x="14691" y="17983"/>
                  <a:pt x="14692" y="17982"/>
                  <a:pt x="14692" y="17982"/>
                </a:cubicBezTo>
                <a:close/>
                <a:moveTo>
                  <a:pt x="4909" y="7855"/>
                </a:moveTo>
                <a:cubicBezTo>
                  <a:pt x="5451" y="7855"/>
                  <a:pt x="5891" y="8295"/>
                  <a:pt x="5891" y="8836"/>
                </a:cubicBezTo>
                <a:cubicBezTo>
                  <a:pt x="5891" y="9379"/>
                  <a:pt x="5451" y="9818"/>
                  <a:pt x="4909" y="9818"/>
                </a:cubicBezTo>
                <a:cubicBezTo>
                  <a:pt x="4367" y="9818"/>
                  <a:pt x="3927" y="9379"/>
                  <a:pt x="3927" y="8836"/>
                </a:cubicBezTo>
                <a:cubicBezTo>
                  <a:pt x="3927" y="8295"/>
                  <a:pt x="4367" y="7855"/>
                  <a:pt x="4909" y="7855"/>
                </a:cubicBezTo>
                <a:moveTo>
                  <a:pt x="4909" y="10800"/>
                </a:moveTo>
                <a:cubicBezTo>
                  <a:pt x="5994" y="10800"/>
                  <a:pt x="6873" y="9921"/>
                  <a:pt x="6873" y="8836"/>
                </a:cubicBezTo>
                <a:cubicBezTo>
                  <a:pt x="6873" y="7752"/>
                  <a:pt x="5994" y="6873"/>
                  <a:pt x="4909" y="6873"/>
                </a:cubicBezTo>
                <a:cubicBezTo>
                  <a:pt x="3825" y="6873"/>
                  <a:pt x="2945" y="7752"/>
                  <a:pt x="2945" y="8836"/>
                </a:cubicBezTo>
                <a:cubicBezTo>
                  <a:pt x="2945" y="9921"/>
                  <a:pt x="3825" y="10800"/>
                  <a:pt x="4909" y="10800"/>
                </a:cubicBezTo>
                <a:moveTo>
                  <a:pt x="16691" y="19636"/>
                </a:moveTo>
                <a:cubicBezTo>
                  <a:pt x="16691" y="20179"/>
                  <a:pt x="16251" y="20619"/>
                  <a:pt x="15709" y="20619"/>
                </a:cubicBezTo>
                <a:lnTo>
                  <a:pt x="1964" y="20619"/>
                </a:lnTo>
                <a:cubicBezTo>
                  <a:pt x="1422" y="20619"/>
                  <a:pt x="982" y="20179"/>
                  <a:pt x="982" y="19636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564">
            <a:extLst>
              <a:ext uri="{FF2B5EF4-FFF2-40B4-BE49-F238E27FC236}">
                <a16:creationId xmlns:a16="http://schemas.microsoft.com/office/drawing/2014/main" id="{AEB33E5D-9BEE-4217-BAC9-259FEEA5AC79}"/>
              </a:ext>
            </a:extLst>
          </p:cNvPr>
          <p:cNvSpPr/>
          <p:nvPr/>
        </p:nvSpPr>
        <p:spPr bwMode="gray">
          <a:xfrm>
            <a:off x="560604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10800"/>
                </a:moveTo>
                <a:lnTo>
                  <a:pt x="11782" y="10800"/>
                </a:lnTo>
                <a:lnTo>
                  <a:pt x="11782" y="12764"/>
                </a:lnTo>
                <a:lnTo>
                  <a:pt x="9818" y="12764"/>
                </a:lnTo>
                <a:cubicBezTo>
                  <a:pt x="9818" y="12764"/>
                  <a:pt x="9818" y="10800"/>
                  <a:pt x="9818" y="10800"/>
                </a:cubicBezTo>
                <a:close/>
                <a:moveTo>
                  <a:pt x="9327" y="13745"/>
                </a:moveTo>
                <a:lnTo>
                  <a:pt x="12273" y="13745"/>
                </a:lnTo>
                <a:cubicBezTo>
                  <a:pt x="12544" y="13745"/>
                  <a:pt x="12764" y="13526"/>
                  <a:pt x="12764" y="13255"/>
                </a:cubicBezTo>
                <a:lnTo>
                  <a:pt x="12764" y="10309"/>
                </a:lnTo>
                <a:cubicBezTo>
                  <a:pt x="12764" y="10038"/>
                  <a:pt x="12544" y="9818"/>
                  <a:pt x="12273" y="9818"/>
                </a:cubicBezTo>
                <a:lnTo>
                  <a:pt x="9327" y="9818"/>
                </a:lnTo>
                <a:cubicBezTo>
                  <a:pt x="9056" y="9818"/>
                  <a:pt x="8836" y="10038"/>
                  <a:pt x="8836" y="10309"/>
                </a:cubicBezTo>
                <a:lnTo>
                  <a:pt x="8836" y="13255"/>
                </a:lnTo>
                <a:cubicBezTo>
                  <a:pt x="8836" y="13526"/>
                  <a:pt x="9056" y="13745"/>
                  <a:pt x="9327" y="13745"/>
                </a:cubicBezTo>
                <a:moveTo>
                  <a:pt x="14727" y="15709"/>
                </a:moveTo>
                <a:lnTo>
                  <a:pt x="16691" y="15709"/>
                </a:lnTo>
                <a:lnTo>
                  <a:pt x="16691" y="17673"/>
                </a:lnTo>
                <a:lnTo>
                  <a:pt x="14727" y="17673"/>
                </a:lnTo>
                <a:cubicBezTo>
                  <a:pt x="14727" y="17673"/>
                  <a:pt x="14727" y="15709"/>
                  <a:pt x="14727" y="15709"/>
                </a:cubicBezTo>
                <a:close/>
                <a:moveTo>
                  <a:pt x="14236" y="18655"/>
                </a:moveTo>
                <a:lnTo>
                  <a:pt x="17182" y="18655"/>
                </a:lnTo>
                <a:cubicBezTo>
                  <a:pt x="17453" y="18655"/>
                  <a:pt x="17673" y="18435"/>
                  <a:pt x="17673" y="18164"/>
                </a:cubicBezTo>
                <a:lnTo>
                  <a:pt x="17673" y="15218"/>
                </a:lnTo>
                <a:cubicBezTo>
                  <a:pt x="17673" y="14947"/>
                  <a:pt x="17453" y="14727"/>
                  <a:pt x="17182" y="14727"/>
                </a:cubicBezTo>
                <a:lnTo>
                  <a:pt x="14236" y="14727"/>
                </a:lnTo>
                <a:cubicBezTo>
                  <a:pt x="13965" y="14727"/>
                  <a:pt x="13745" y="14947"/>
                  <a:pt x="13745" y="15218"/>
                </a:cubicBezTo>
                <a:lnTo>
                  <a:pt x="13745" y="18164"/>
                </a:lnTo>
                <a:cubicBezTo>
                  <a:pt x="13745" y="18435"/>
                  <a:pt x="13965" y="18655"/>
                  <a:pt x="14236" y="18655"/>
                </a:cubicBezTo>
                <a:moveTo>
                  <a:pt x="9818" y="5891"/>
                </a:moveTo>
                <a:lnTo>
                  <a:pt x="11782" y="5891"/>
                </a:lnTo>
                <a:lnTo>
                  <a:pt x="11782" y="7855"/>
                </a:lnTo>
                <a:lnTo>
                  <a:pt x="9818" y="7855"/>
                </a:lnTo>
                <a:cubicBezTo>
                  <a:pt x="9818" y="7855"/>
                  <a:pt x="9818" y="5891"/>
                  <a:pt x="9818" y="5891"/>
                </a:cubicBezTo>
                <a:close/>
                <a:moveTo>
                  <a:pt x="9327" y="8836"/>
                </a:moveTo>
                <a:lnTo>
                  <a:pt x="12273" y="8836"/>
                </a:lnTo>
                <a:cubicBezTo>
                  <a:pt x="12544" y="8836"/>
                  <a:pt x="12764" y="8617"/>
                  <a:pt x="12764" y="8345"/>
                </a:cubicBezTo>
                <a:lnTo>
                  <a:pt x="12764" y="5400"/>
                </a:lnTo>
                <a:cubicBezTo>
                  <a:pt x="12764" y="5129"/>
                  <a:pt x="12544" y="4909"/>
                  <a:pt x="12273" y="4909"/>
                </a:cubicBezTo>
                <a:lnTo>
                  <a:pt x="9327" y="4909"/>
                </a:lnTo>
                <a:cubicBezTo>
                  <a:pt x="9056" y="4909"/>
                  <a:pt x="8836" y="5129"/>
                  <a:pt x="8836" y="5400"/>
                </a:cubicBezTo>
                <a:lnTo>
                  <a:pt x="8836" y="8345"/>
                </a:lnTo>
                <a:cubicBezTo>
                  <a:pt x="8836" y="8617"/>
                  <a:pt x="9056" y="8836"/>
                  <a:pt x="9327" y="8836"/>
                </a:cubicBezTo>
                <a:moveTo>
                  <a:pt x="4909" y="15709"/>
                </a:moveTo>
                <a:lnTo>
                  <a:pt x="6873" y="15709"/>
                </a:lnTo>
                <a:lnTo>
                  <a:pt x="6873" y="17673"/>
                </a:lnTo>
                <a:lnTo>
                  <a:pt x="4909" y="17673"/>
                </a:lnTo>
                <a:cubicBezTo>
                  <a:pt x="4909" y="17673"/>
                  <a:pt x="4909" y="15709"/>
                  <a:pt x="4909" y="15709"/>
                </a:cubicBezTo>
                <a:close/>
                <a:moveTo>
                  <a:pt x="4418" y="18655"/>
                </a:moveTo>
                <a:lnTo>
                  <a:pt x="7364" y="18655"/>
                </a:lnTo>
                <a:cubicBezTo>
                  <a:pt x="7635" y="18655"/>
                  <a:pt x="7855" y="18435"/>
                  <a:pt x="7855" y="18164"/>
                </a:cubicBezTo>
                <a:lnTo>
                  <a:pt x="7855" y="15218"/>
                </a:lnTo>
                <a:cubicBezTo>
                  <a:pt x="7855" y="14947"/>
                  <a:pt x="7635" y="14727"/>
                  <a:pt x="7364" y="14727"/>
                </a:cubicBezTo>
                <a:lnTo>
                  <a:pt x="4418" y="14727"/>
                </a:lnTo>
                <a:cubicBezTo>
                  <a:pt x="4147" y="14727"/>
                  <a:pt x="3927" y="14947"/>
                  <a:pt x="3927" y="15218"/>
                </a:cubicBez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moveTo>
                  <a:pt x="14727" y="10800"/>
                </a:moveTo>
                <a:lnTo>
                  <a:pt x="16691" y="10800"/>
                </a:lnTo>
                <a:lnTo>
                  <a:pt x="16691" y="12764"/>
                </a:lnTo>
                <a:lnTo>
                  <a:pt x="14727" y="12764"/>
                </a:lnTo>
                <a:cubicBezTo>
                  <a:pt x="14727" y="12764"/>
                  <a:pt x="14727" y="10800"/>
                  <a:pt x="14727" y="10800"/>
                </a:cubicBezTo>
                <a:close/>
                <a:moveTo>
                  <a:pt x="14236" y="13745"/>
                </a:moveTo>
                <a:lnTo>
                  <a:pt x="17182" y="13745"/>
                </a:lnTo>
                <a:cubicBezTo>
                  <a:pt x="17453" y="13745"/>
                  <a:pt x="17673" y="13526"/>
                  <a:pt x="17673" y="13255"/>
                </a:cubicBezTo>
                <a:lnTo>
                  <a:pt x="17673" y="10309"/>
                </a:lnTo>
                <a:cubicBezTo>
                  <a:pt x="17673" y="10038"/>
                  <a:pt x="17453" y="9818"/>
                  <a:pt x="17182" y="9818"/>
                </a:cubicBezTo>
                <a:lnTo>
                  <a:pt x="14236" y="9818"/>
                </a:lnTo>
                <a:cubicBezTo>
                  <a:pt x="13965" y="9818"/>
                  <a:pt x="13745" y="10038"/>
                  <a:pt x="13745" y="10309"/>
                </a:cubicBezTo>
                <a:lnTo>
                  <a:pt x="13745" y="13255"/>
                </a:lnTo>
                <a:cubicBezTo>
                  <a:pt x="13745" y="13526"/>
                  <a:pt x="13965" y="13745"/>
                  <a:pt x="14236" y="13745"/>
                </a:cubicBezTo>
                <a:moveTo>
                  <a:pt x="4909" y="10800"/>
                </a:moveTo>
                <a:lnTo>
                  <a:pt x="6873" y="10800"/>
                </a:lnTo>
                <a:lnTo>
                  <a:pt x="6873" y="12764"/>
                </a:lnTo>
                <a:lnTo>
                  <a:pt x="4909" y="12764"/>
                </a:lnTo>
                <a:cubicBezTo>
                  <a:pt x="4909" y="12764"/>
                  <a:pt x="4909" y="10800"/>
                  <a:pt x="4909" y="10800"/>
                </a:cubicBezTo>
                <a:close/>
                <a:moveTo>
                  <a:pt x="4418" y="13745"/>
                </a:moveTo>
                <a:lnTo>
                  <a:pt x="7364" y="13745"/>
                </a:lnTo>
                <a:cubicBezTo>
                  <a:pt x="7635" y="13745"/>
                  <a:pt x="7855" y="13526"/>
                  <a:pt x="7855" y="13255"/>
                </a:cubicBezTo>
                <a:lnTo>
                  <a:pt x="7855" y="10309"/>
                </a:lnTo>
                <a:cubicBezTo>
                  <a:pt x="7855" y="10038"/>
                  <a:pt x="7635" y="9818"/>
                  <a:pt x="7364" y="9818"/>
                </a:cubicBezTo>
                <a:lnTo>
                  <a:pt x="4418" y="9818"/>
                </a:lnTo>
                <a:cubicBezTo>
                  <a:pt x="4147" y="9818"/>
                  <a:pt x="3927" y="10038"/>
                  <a:pt x="3927" y="10309"/>
                </a:cubicBezTo>
                <a:lnTo>
                  <a:pt x="3927" y="13255"/>
                </a:lnTo>
                <a:cubicBezTo>
                  <a:pt x="3927" y="13526"/>
                  <a:pt x="4147" y="13745"/>
                  <a:pt x="4418" y="13745"/>
                </a:cubicBezTo>
                <a:moveTo>
                  <a:pt x="4909" y="5891"/>
                </a:moveTo>
                <a:lnTo>
                  <a:pt x="6873" y="5891"/>
                </a:lnTo>
                <a:lnTo>
                  <a:pt x="6873" y="7855"/>
                </a:lnTo>
                <a:lnTo>
                  <a:pt x="4909" y="7855"/>
                </a:lnTo>
                <a:cubicBezTo>
                  <a:pt x="4909" y="7855"/>
                  <a:pt x="4909" y="5891"/>
                  <a:pt x="4909" y="5891"/>
                </a:cubicBezTo>
                <a:close/>
                <a:moveTo>
                  <a:pt x="4418" y="8836"/>
                </a:moveTo>
                <a:lnTo>
                  <a:pt x="7364" y="8836"/>
                </a:lnTo>
                <a:cubicBezTo>
                  <a:pt x="7635" y="8836"/>
                  <a:pt x="7855" y="8617"/>
                  <a:pt x="7855" y="8345"/>
                </a:cubicBezTo>
                <a:lnTo>
                  <a:pt x="7855" y="5400"/>
                </a:lnTo>
                <a:cubicBezTo>
                  <a:pt x="7855" y="5129"/>
                  <a:pt x="7635" y="4909"/>
                  <a:pt x="7364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lnTo>
                  <a:pt x="3927" y="8345"/>
                </a:lnTo>
                <a:cubicBezTo>
                  <a:pt x="3927" y="8617"/>
                  <a:pt x="4147" y="8836"/>
                  <a:pt x="4418" y="8836"/>
                </a:cubicBezTo>
                <a:moveTo>
                  <a:pt x="14727" y="5891"/>
                </a:moveTo>
                <a:lnTo>
                  <a:pt x="16691" y="5891"/>
                </a:lnTo>
                <a:lnTo>
                  <a:pt x="16691" y="7855"/>
                </a:lnTo>
                <a:lnTo>
                  <a:pt x="14727" y="7855"/>
                </a:lnTo>
                <a:cubicBezTo>
                  <a:pt x="14727" y="7855"/>
                  <a:pt x="14727" y="5891"/>
                  <a:pt x="14727" y="5891"/>
                </a:cubicBezTo>
                <a:close/>
                <a:moveTo>
                  <a:pt x="14236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lnTo>
                  <a:pt x="17673" y="5400"/>
                </a:lnTo>
                <a:cubicBezTo>
                  <a:pt x="17673" y="5129"/>
                  <a:pt x="17453" y="4909"/>
                  <a:pt x="17182" y="4909"/>
                </a:cubicBezTo>
                <a:lnTo>
                  <a:pt x="14236" y="4909"/>
                </a:lnTo>
                <a:cubicBezTo>
                  <a:pt x="13965" y="4909"/>
                  <a:pt x="13745" y="5129"/>
                  <a:pt x="13745" y="5400"/>
                </a:cubicBezTo>
                <a:lnTo>
                  <a:pt x="13745" y="8345"/>
                </a:lnTo>
                <a:cubicBezTo>
                  <a:pt x="13745" y="8617"/>
                  <a:pt x="13965" y="8836"/>
                  <a:pt x="14236" y="8836"/>
                </a:cubicBezTo>
                <a:moveTo>
                  <a:pt x="19636" y="1964"/>
                </a:moveTo>
                <a:lnTo>
                  <a:pt x="1964" y="1964"/>
                </a:lnTo>
                <a:lnTo>
                  <a:pt x="1964" y="982"/>
                </a:lnTo>
                <a:lnTo>
                  <a:pt x="19636" y="982"/>
                </a:lnTo>
                <a:cubicBezTo>
                  <a:pt x="19636" y="982"/>
                  <a:pt x="19636" y="1964"/>
                  <a:pt x="19636" y="1964"/>
                </a:cubicBezTo>
                <a:close/>
                <a:moveTo>
                  <a:pt x="19636" y="20618"/>
                </a:moveTo>
                <a:lnTo>
                  <a:pt x="12764" y="20618"/>
                </a:lnTo>
                <a:lnTo>
                  <a:pt x="12764" y="15218"/>
                </a:lnTo>
                <a:cubicBezTo>
                  <a:pt x="12764" y="14947"/>
                  <a:pt x="12544" y="14727"/>
                  <a:pt x="12273" y="14727"/>
                </a:cubicBezTo>
                <a:lnTo>
                  <a:pt x="9327" y="14727"/>
                </a:lnTo>
                <a:cubicBezTo>
                  <a:pt x="9056" y="14727"/>
                  <a:pt x="8836" y="14947"/>
                  <a:pt x="8836" y="15218"/>
                </a:cubicBezTo>
                <a:lnTo>
                  <a:pt x="8836" y="20618"/>
                </a:lnTo>
                <a:lnTo>
                  <a:pt x="1964" y="20618"/>
                </a:lnTo>
                <a:lnTo>
                  <a:pt x="1964" y="2945"/>
                </a:lnTo>
                <a:lnTo>
                  <a:pt x="19636" y="2945"/>
                </a:lnTo>
                <a:cubicBezTo>
                  <a:pt x="19636" y="2945"/>
                  <a:pt x="19636" y="20618"/>
                  <a:pt x="19636" y="20618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5709"/>
                </a:lnTo>
                <a:lnTo>
                  <a:pt x="11782" y="15709"/>
                </a:lnTo>
                <a:cubicBezTo>
                  <a:pt x="11782" y="15709"/>
                  <a:pt x="11782" y="20618"/>
                  <a:pt x="11782" y="20618"/>
                </a:cubicBezTo>
                <a:close/>
                <a:moveTo>
                  <a:pt x="21109" y="1964"/>
                </a:moveTo>
                <a:lnTo>
                  <a:pt x="20618" y="1964"/>
                </a:lnTo>
                <a:lnTo>
                  <a:pt x="20618" y="491"/>
                </a:lnTo>
                <a:cubicBezTo>
                  <a:pt x="20618" y="220"/>
                  <a:pt x="20399" y="0"/>
                  <a:pt x="20127" y="0"/>
                </a:cubicBezTo>
                <a:lnTo>
                  <a:pt x="1473" y="0"/>
                </a:lnTo>
                <a:cubicBezTo>
                  <a:pt x="1201" y="0"/>
                  <a:pt x="982" y="220"/>
                  <a:pt x="982" y="491"/>
                </a:cubicBezTo>
                <a:lnTo>
                  <a:pt x="982" y="1964"/>
                </a:lnTo>
                <a:lnTo>
                  <a:pt x="491" y="1964"/>
                </a:lnTo>
                <a:cubicBezTo>
                  <a:pt x="220" y="1964"/>
                  <a:pt x="0" y="2184"/>
                  <a:pt x="0" y="2455"/>
                </a:cubicBezTo>
                <a:cubicBezTo>
                  <a:pt x="0" y="2726"/>
                  <a:pt x="220" y="2945"/>
                  <a:pt x="491" y="2945"/>
                </a:cubicBezTo>
                <a:lnTo>
                  <a:pt x="982" y="2945"/>
                </a:lnTo>
                <a:lnTo>
                  <a:pt x="982" y="21109"/>
                </a:lnTo>
                <a:cubicBezTo>
                  <a:pt x="982" y="21381"/>
                  <a:pt x="1201" y="21600"/>
                  <a:pt x="1473" y="21600"/>
                </a:cubicBezTo>
                <a:lnTo>
                  <a:pt x="20127" y="21600"/>
                </a:lnTo>
                <a:cubicBezTo>
                  <a:pt x="20399" y="21600"/>
                  <a:pt x="20618" y="21381"/>
                  <a:pt x="20618" y="21109"/>
                </a:cubicBezTo>
                <a:lnTo>
                  <a:pt x="20618" y="2945"/>
                </a:lnTo>
                <a:lnTo>
                  <a:pt x="21109" y="2945"/>
                </a:lnTo>
                <a:cubicBezTo>
                  <a:pt x="21380" y="2945"/>
                  <a:pt x="21600" y="2726"/>
                  <a:pt x="21600" y="2455"/>
                </a:cubicBezTo>
                <a:cubicBezTo>
                  <a:pt x="21600" y="2184"/>
                  <a:pt x="21380" y="1964"/>
                  <a:pt x="21109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565">
            <a:extLst>
              <a:ext uri="{FF2B5EF4-FFF2-40B4-BE49-F238E27FC236}">
                <a16:creationId xmlns:a16="http://schemas.microsoft.com/office/drawing/2014/main" id="{F4429DCE-17A2-4CC3-8E3F-04166E5E0D15}"/>
              </a:ext>
            </a:extLst>
          </p:cNvPr>
          <p:cNvSpPr/>
          <p:nvPr/>
        </p:nvSpPr>
        <p:spPr bwMode="gray">
          <a:xfrm>
            <a:off x="637821" y="3993429"/>
            <a:ext cx="289156" cy="2365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8400"/>
                </a:moveTo>
                <a:lnTo>
                  <a:pt x="13745" y="8400"/>
                </a:lnTo>
                <a:lnTo>
                  <a:pt x="13745" y="9600"/>
                </a:lnTo>
                <a:lnTo>
                  <a:pt x="7855" y="9600"/>
                </a:lnTo>
                <a:cubicBezTo>
                  <a:pt x="7855" y="9600"/>
                  <a:pt x="7855" y="8400"/>
                  <a:pt x="7855" y="8400"/>
                </a:cubicBezTo>
                <a:close/>
                <a:moveTo>
                  <a:pt x="7855" y="10800"/>
                </a:moveTo>
                <a:lnTo>
                  <a:pt x="13745" y="10800"/>
                </a:lnTo>
                <a:cubicBezTo>
                  <a:pt x="14287" y="10800"/>
                  <a:pt x="14727" y="10262"/>
                  <a:pt x="14727" y="9600"/>
                </a:cubicBezTo>
                <a:lnTo>
                  <a:pt x="14727" y="8400"/>
                </a:lnTo>
                <a:cubicBezTo>
                  <a:pt x="14727" y="7737"/>
                  <a:pt x="14287" y="7200"/>
                  <a:pt x="13745" y="7200"/>
                </a:cubicBezTo>
                <a:lnTo>
                  <a:pt x="7855" y="7200"/>
                </a:lnTo>
                <a:cubicBezTo>
                  <a:pt x="7313" y="7200"/>
                  <a:pt x="6873" y="7737"/>
                  <a:pt x="6873" y="8400"/>
                </a:cubicBezTo>
                <a:lnTo>
                  <a:pt x="6873" y="9600"/>
                </a:lnTo>
                <a:cubicBezTo>
                  <a:pt x="6873" y="10262"/>
                  <a:pt x="7313" y="10800"/>
                  <a:pt x="7855" y="10800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566">
            <a:extLst>
              <a:ext uri="{FF2B5EF4-FFF2-40B4-BE49-F238E27FC236}">
                <a16:creationId xmlns:a16="http://schemas.microsoft.com/office/drawing/2014/main" id="{3DF5EAF6-114B-4E5A-8B70-7B4364577B7C}"/>
              </a:ext>
            </a:extLst>
          </p:cNvPr>
          <p:cNvSpPr/>
          <p:nvPr/>
        </p:nvSpPr>
        <p:spPr bwMode="gray">
          <a:xfrm>
            <a:off x="1189845" y="3993429"/>
            <a:ext cx="289156" cy="2365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2000"/>
                </a:moveTo>
                <a:cubicBezTo>
                  <a:pt x="6653" y="12000"/>
                  <a:pt x="6873" y="12268"/>
                  <a:pt x="6873" y="12599"/>
                </a:cubicBezTo>
                <a:cubicBezTo>
                  <a:pt x="6873" y="12931"/>
                  <a:pt x="6653" y="13199"/>
                  <a:pt x="6382" y="13199"/>
                </a:cubicBezTo>
                <a:cubicBezTo>
                  <a:pt x="6111" y="13199"/>
                  <a:pt x="5891" y="12931"/>
                  <a:pt x="5891" y="12599"/>
                </a:cubicBezTo>
                <a:cubicBezTo>
                  <a:pt x="5891" y="12268"/>
                  <a:pt x="6111" y="12000"/>
                  <a:pt x="6382" y="12000"/>
                </a:cubicBezTo>
                <a:moveTo>
                  <a:pt x="6382" y="14399"/>
                </a:moveTo>
                <a:cubicBezTo>
                  <a:pt x="7195" y="14399"/>
                  <a:pt x="7855" y="13594"/>
                  <a:pt x="7855" y="12599"/>
                </a:cubicBezTo>
                <a:cubicBezTo>
                  <a:pt x="7855" y="11606"/>
                  <a:pt x="7195" y="10800"/>
                  <a:pt x="6382" y="10800"/>
                </a:cubicBezTo>
                <a:cubicBezTo>
                  <a:pt x="5568" y="10800"/>
                  <a:pt x="4909" y="11606"/>
                  <a:pt x="4909" y="12599"/>
                </a:cubicBezTo>
                <a:cubicBezTo>
                  <a:pt x="4909" y="13594"/>
                  <a:pt x="5568" y="14399"/>
                  <a:pt x="6382" y="14399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0800" y="12000"/>
                </a:moveTo>
                <a:cubicBezTo>
                  <a:pt x="11071" y="12000"/>
                  <a:pt x="11291" y="12268"/>
                  <a:pt x="11291" y="12599"/>
                </a:cubicBezTo>
                <a:cubicBezTo>
                  <a:pt x="11291" y="12931"/>
                  <a:pt x="11071" y="13199"/>
                  <a:pt x="10800" y="13199"/>
                </a:cubicBezTo>
                <a:cubicBezTo>
                  <a:pt x="10529" y="13199"/>
                  <a:pt x="10309" y="12931"/>
                  <a:pt x="10309" y="12599"/>
                </a:cubicBezTo>
                <a:cubicBezTo>
                  <a:pt x="10309" y="12268"/>
                  <a:pt x="10529" y="12000"/>
                  <a:pt x="10800" y="12000"/>
                </a:cubicBezTo>
                <a:moveTo>
                  <a:pt x="10800" y="14399"/>
                </a:moveTo>
                <a:cubicBezTo>
                  <a:pt x="11614" y="14399"/>
                  <a:pt x="12273" y="13594"/>
                  <a:pt x="12273" y="12599"/>
                </a:cubicBezTo>
                <a:cubicBezTo>
                  <a:pt x="12273" y="11606"/>
                  <a:pt x="11614" y="10800"/>
                  <a:pt x="10800" y="10800"/>
                </a:cubicBezTo>
                <a:cubicBezTo>
                  <a:pt x="9986" y="10800"/>
                  <a:pt x="9327" y="11606"/>
                  <a:pt x="9327" y="12599"/>
                </a:cubicBezTo>
                <a:cubicBezTo>
                  <a:pt x="9327" y="13594"/>
                  <a:pt x="9986" y="14399"/>
                  <a:pt x="10800" y="14399"/>
                </a:cubicBezTo>
                <a:moveTo>
                  <a:pt x="15218" y="12000"/>
                </a:moveTo>
                <a:cubicBezTo>
                  <a:pt x="15489" y="12000"/>
                  <a:pt x="15709" y="12268"/>
                  <a:pt x="15709" y="12599"/>
                </a:cubicBezTo>
                <a:cubicBezTo>
                  <a:pt x="15709" y="12931"/>
                  <a:pt x="15489" y="13199"/>
                  <a:pt x="15218" y="13199"/>
                </a:cubicBezTo>
                <a:cubicBezTo>
                  <a:pt x="14947" y="13199"/>
                  <a:pt x="14727" y="12931"/>
                  <a:pt x="14727" y="12599"/>
                </a:cubicBezTo>
                <a:cubicBezTo>
                  <a:pt x="14727" y="12268"/>
                  <a:pt x="14947" y="12000"/>
                  <a:pt x="15218" y="12000"/>
                </a:cubicBezTo>
                <a:moveTo>
                  <a:pt x="15218" y="14399"/>
                </a:moveTo>
                <a:cubicBezTo>
                  <a:pt x="16032" y="14399"/>
                  <a:pt x="16691" y="13594"/>
                  <a:pt x="16691" y="12599"/>
                </a:cubicBezTo>
                <a:cubicBezTo>
                  <a:pt x="16691" y="11606"/>
                  <a:pt x="16032" y="10800"/>
                  <a:pt x="15218" y="10800"/>
                </a:cubicBezTo>
                <a:cubicBezTo>
                  <a:pt x="14405" y="10800"/>
                  <a:pt x="13745" y="11606"/>
                  <a:pt x="13745" y="12599"/>
                </a:cubicBezTo>
                <a:cubicBezTo>
                  <a:pt x="13745" y="13594"/>
                  <a:pt x="14405" y="14399"/>
                  <a:pt x="15218" y="14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567">
            <a:extLst>
              <a:ext uri="{FF2B5EF4-FFF2-40B4-BE49-F238E27FC236}">
                <a16:creationId xmlns:a16="http://schemas.microsoft.com/office/drawing/2014/main" id="{495057E6-B054-48C6-B1DE-8CFBBA43D3DE}"/>
              </a:ext>
            </a:extLst>
          </p:cNvPr>
          <p:cNvSpPr/>
          <p:nvPr/>
        </p:nvSpPr>
        <p:spPr bwMode="gray">
          <a:xfrm>
            <a:off x="1741870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11782"/>
                </a:moveTo>
                <a:cubicBezTo>
                  <a:pt x="7584" y="11782"/>
                  <a:pt x="7364" y="12001"/>
                  <a:pt x="7364" y="12272"/>
                </a:cubicBezTo>
                <a:cubicBezTo>
                  <a:pt x="7364" y="12408"/>
                  <a:pt x="7419" y="12531"/>
                  <a:pt x="7507" y="12619"/>
                </a:cubicBezTo>
                <a:lnTo>
                  <a:pt x="10453" y="15565"/>
                </a:lnTo>
                <a:cubicBezTo>
                  <a:pt x="10542" y="15654"/>
                  <a:pt x="10665" y="15709"/>
                  <a:pt x="10800" y="15709"/>
                </a:cubicBezTo>
                <a:cubicBezTo>
                  <a:pt x="10935" y="15709"/>
                  <a:pt x="11058" y="15654"/>
                  <a:pt x="11147" y="15565"/>
                </a:cubicBezTo>
                <a:lnTo>
                  <a:pt x="14093" y="12619"/>
                </a:lnTo>
                <a:cubicBezTo>
                  <a:pt x="14181" y="12531"/>
                  <a:pt x="14236" y="12408"/>
                  <a:pt x="14236" y="12272"/>
                </a:cubicBezTo>
                <a:cubicBezTo>
                  <a:pt x="14236" y="12001"/>
                  <a:pt x="14016" y="11782"/>
                  <a:pt x="13745" y="11782"/>
                </a:cubicBezTo>
                <a:cubicBezTo>
                  <a:pt x="13610" y="11782"/>
                  <a:pt x="13487" y="11837"/>
                  <a:pt x="13398" y="11925"/>
                </a:cubicBezTo>
                <a:lnTo>
                  <a:pt x="11291" y="14033"/>
                </a:lnTo>
                <a:lnTo>
                  <a:pt x="11291" y="492"/>
                </a:ln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4033"/>
                </a:lnTo>
                <a:lnTo>
                  <a:pt x="8202" y="11925"/>
                </a:lnTo>
                <a:cubicBezTo>
                  <a:pt x="8113" y="11837"/>
                  <a:pt x="7990" y="11782"/>
                  <a:pt x="785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568">
            <a:extLst>
              <a:ext uri="{FF2B5EF4-FFF2-40B4-BE49-F238E27FC236}">
                <a16:creationId xmlns:a16="http://schemas.microsoft.com/office/drawing/2014/main" id="{5C2BEC2D-7421-4173-A8C7-0CB27889F1B8}"/>
              </a:ext>
            </a:extLst>
          </p:cNvPr>
          <p:cNvSpPr/>
          <p:nvPr/>
        </p:nvSpPr>
        <p:spPr bwMode="gray">
          <a:xfrm>
            <a:off x="2293894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3927"/>
                </a:moveTo>
                <a:cubicBezTo>
                  <a:pt x="7990" y="3927"/>
                  <a:pt x="8113" y="3872"/>
                  <a:pt x="8202" y="3784"/>
                </a:cubicBezTo>
                <a:lnTo>
                  <a:pt x="10309" y="1676"/>
                </a:lnTo>
                <a:lnTo>
                  <a:pt x="10309" y="15218"/>
                </a:lnTo>
                <a:lnTo>
                  <a:pt x="10309" y="15218"/>
                </a:lnTo>
                <a:cubicBezTo>
                  <a:pt x="10309" y="15489"/>
                  <a:pt x="10529" y="15709"/>
                  <a:pt x="10800" y="15709"/>
                </a:cubicBezTo>
                <a:cubicBezTo>
                  <a:pt x="11071" y="15709"/>
                  <a:pt x="11291" y="15489"/>
                  <a:pt x="11291" y="15218"/>
                </a:cubicBezTo>
                <a:lnTo>
                  <a:pt x="11291" y="1676"/>
                </a:lnTo>
                <a:lnTo>
                  <a:pt x="13398" y="3784"/>
                </a:lnTo>
                <a:cubicBezTo>
                  <a:pt x="13487" y="3872"/>
                  <a:pt x="13610" y="3927"/>
                  <a:pt x="13745" y="3927"/>
                </a:cubicBezTo>
                <a:cubicBezTo>
                  <a:pt x="14016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7507" y="3089"/>
                </a:lnTo>
                <a:cubicBezTo>
                  <a:pt x="7419" y="3178"/>
                  <a:pt x="7364" y="3301"/>
                  <a:pt x="7364" y="3436"/>
                </a:cubicBezTo>
                <a:cubicBezTo>
                  <a:pt x="7364" y="3708"/>
                  <a:pt x="7584" y="3927"/>
                  <a:pt x="7855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569">
            <a:extLst>
              <a:ext uri="{FF2B5EF4-FFF2-40B4-BE49-F238E27FC236}">
                <a16:creationId xmlns:a16="http://schemas.microsoft.com/office/drawing/2014/main" id="{1C689454-553B-4DF1-A5F6-F57A10F842A1}"/>
              </a:ext>
            </a:extLst>
          </p:cNvPr>
          <p:cNvSpPr/>
          <p:nvPr/>
        </p:nvSpPr>
        <p:spPr bwMode="gray">
          <a:xfrm>
            <a:off x="2845919" y="3967142"/>
            <a:ext cx="289156" cy="2891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18655" y="20618"/>
                </a:moveTo>
                <a:lnTo>
                  <a:pt x="2945" y="20618"/>
                </a:lnTo>
                <a:lnTo>
                  <a:pt x="2945" y="9818"/>
                </a:lnTo>
                <a:lnTo>
                  <a:pt x="18655" y="9818"/>
                </a:lnTo>
                <a:cubicBezTo>
                  <a:pt x="18655" y="9818"/>
                  <a:pt x="18655" y="20618"/>
                  <a:pt x="18655" y="20618"/>
                </a:cubicBezTo>
                <a:close/>
                <a:moveTo>
                  <a:pt x="3927" y="982"/>
                </a:moveTo>
                <a:lnTo>
                  <a:pt x="11782" y="982"/>
                </a:lnTo>
                <a:lnTo>
                  <a:pt x="11782" y="3436"/>
                </a:lnTo>
                <a:cubicBezTo>
                  <a:pt x="11782" y="3708"/>
                  <a:pt x="12002" y="3927"/>
                  <a:pt x="12273" y="3927"/>
                </a:cubicBezTo>
                <a:lnTo>
                  <a:pt x="14727" y="3927"/>
                </a:lnTo>
                <a:lnTo>
                  <a:pt x="14727" y="5891"/>
                </a:lnTo>
                <a:lnTo>
                  <a:pt x="3927" y="5891"/>
                </a:lnTo>
                <a:cubicBezTo>
                  <a:pt x="3927" y="5891"/>
                  <a:pt x="3927" y="982"/>
                  <a:pt x="3927" y="982"/>
                </a:cubicBezTo>
                <a:close/>
                <a:moveTo>
                  <a:pt x="12764" y="1473"/>
                </a:moveTo>
                <a:lnTo>
                  <a:pt x="14236" y="2945"/>
                </a:lnTo>
                <a:lnTo>
                  <a:pt x="12764" y="2945"/>
                </a:lnTo>
                <a:cubicBezTo>
                  <a:pt x="12764" y="2945"/>
                  <a:pt x="12764" y="1473"/>
                  <a:pt x="12764" y="1473"/>
                </a:cubicBezTo>
                <a:close/>
                <a:moveTo>
                  <a:pt x="17673" y="1964"/>
                </a:moveTo>
                <a:lnTo>
                  <a:pt x="17673" y="5891"/>
                </a:lnTo>
                <a:lnTo>
                  <a:pt x="15709" y="5891"/>
                </a:lnTo>
                <a:lnTo>
                  <a:pt x="15709" y="2945"/>
                </a:lnTo>
                <a:lnTo>
                  <a:pt x="14727" y="1964"/>
                </a:lnTo>
                <a:cubicBezTo>
                  <a:pt x="14727" y="1964"/>
                  <a:pt x="17673" y="1964"/>
                  <a:pt x="17673" y="1964"/>
                </a:cubicBezTo>
                <a:close/>
                <a:moveTo>
                  <a:pt x="20618" y="5891"/>
                </a:moveTo>
                <a:lnTo>
                  <a:pt x="18655" y="5891"/>
                </a:lnTo>
                <a:lnTo>
                  <a:pt x="18655" y="1964"/>
                </a:lnTo>
                <a:cubicBezTo>
                  <a:pt x="18655" y="1422"/>
                  <a:pt x="18215" y="982"/>
                  <a:pt x="17673" y="982"/>
                </a:cubicBezTo>
                <a:lnTo>
                  <a:pt x="13745" y="982"/>
                </a:lnTo>
                <a:lnTo>
                  <a:pt x="12764" y="0"/>
                </a:lnTo>
                <a:lnTo>
                  <a:pt x="3927" y="0"/>
                </a:lnTo>
                <a:cubicBezTo>
                  <a:pt x="3385" y="0"/>
                  <a:pt x="2945" y="440"/>
                  <a:pt x="2945" y="982"/>
                </a:cubicBezTo>
                <a:lnTo>
                  <a:pt x="2945" y="5891"/>
                </a:ln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9"/>
                  <a:pt x="440" y="9818"/>
                  <a:pt x="982" y="9818"/>
                </a:cubicBezTo>
                <a:lnTo>
                  <a:pt x="1964" y="9818"/>
                </a:lnTo>
                <a:lnTo>
                  <a:pt x="1964" y="20618"/>
                </a:lnTo>
                <a:cubicBezTo>
                  <a:pt x="1964" y="21160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60"/>
                  <a:pt x="19636" y="20618"/>
                </a:cubicBezTo>
                <a:lnTo>
                  <a:pt x="19636" y="9818"/>
                </a:lnTo>
                <a:lnTo>
                  <a:pt x="20618" y="9818"/>
                </a:lnTo>
                <a:cubicBezTo>
                  <a:pt x="21160" y="9818"/>
                  <a:pt x="21600" y="9379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7855" y="12763"/>
                </a:moveTo>
                <a:lnTo>
                  <a:pt x="13745" y="12763"/>
                </a:lnTo>
                <a:lnTo>
                  <a:pt x="13745" y="13745"/>
                </a:lnTo>
                <a:lnTo>
                  <a:pt x="7855" y="13745"/>
                </a:lnTo>
                <a:cubicBezTo>
                  <a:pt x="7855" y="13745"/>
                  <a:pt x="7855" y="12763"/>
                  <a:pt x="7855" y="12763"/>
                </a:cubicBezTo>
                <a:close/>
                <a:moveTo>
                  <a:pt x="7855" y="14727"/>
                </a:moveTo>
                <a:lnTo>
                  <a:pt x="13745" y="14727"/>
                </a:lnTo>
                <a:cubicBezTo>
                  <a:pt x="14287" y="14727"/>
                  <a:pt x="14727" y="14287"/>
                  <a:pt x="14727" y="13745"/>
                </a:cubicBezTo>
                <a:lnTo>
                  <a:pt x="14727" y="12763"/>
                </a:lnTo>
                <a:cubicBezTo>
                  <a:pt x="14727" y="12221"/>
                  <a:pt x="14287" y="11782"/>
                  <a:pt x="13745" y="11782"/>
                </a:cubicBezTo>
                <a:lnTo>
                  <a:pt x="7855" y="11782"/>
                </a:lnTo>
                <a:cubicBezTo>
                  <a:pt x="7313" y="11782"/>
                  <a:pt x="6873" y="12221"/>
                  <a:pt x="6873" y="12763"/>
                </a:cubicBezTo>
                <a:lnTo>
                  <a:pt x="6873" y="13745"/>
                </a:lnTo>
                <a:cubicBezTo>
                  <a:pt x="6873" y="14287"/>
                  <a:pt x="7313" y="14727"/>
                  <a:pt x="7855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570">
            <a:extLst>
              <a:ext uri="{FF2B5EF4-FFF2-40B4-BE49-F238E27FC236}">
                <a16:creationId xmlns:a16="http://schemas.microsoft.com/office/drawing/2014/main" id="{9B24BCC1-615B-45D5-B612-5DCC793D84CC}"/>
              </a:ext>
            </a:extLst>
          </p:cNvPr>
          <p:cNvSpPr/>
          <p:nvPr/>
        </p:nvSpPr>
        <p:spPr bwMode="gray">
          <a:xfrm>
            <a:off x="3397943" y="3973714"/>
            <a:ext cx="289156" cy="282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19" extrusionOk="0">
                <a:moveTo>
                  <a:pt x="7530" y="4197"/>
                </a:moveTo>
                <a:lnTo>
                  <a:pt x="6680" y="3701"/>
                </a:lnTo>
                <a:lnTo>
                  <a:pt x="6189" y="4560"/>
                </a:lnTo>
                <a:lnTo>
                  <a:pt x="7040" y="5056"/>
                </a:lnTo>
                <a:cubicBezTo>
                  <a:pt x="7040" y="5056"/>
                  <a:pt x="7530" y="4197"/>
                  <a:pt x="7530" y="4197"/>
                </a:cubicBezTo>
                <a:close/>
                <a:moveTo>
                  <a:pt x="8512" y="2479"/>
                </a:moveTo>
                <a:lnTo>
                  <a:pt x="7662" y="1984"/>
                </a:lnTo>
                <a:lnTo>
                  <a:pt x="7171" y="2843"/>
                </a:lnTo>
                <a:lnTo>
                  <a:pt x="8021" y="3339"/>
                </a:lnTo>
                <a:cubicBezTo>
                  <a:pt x="8021" y="3339"/>
                  <a:pt x="8512" y="2479"/>
                  <a:pt x="8512" y="2479"/>
                </a:cubicBezTo>
                <a:close/>
                <a:moveTo>
                  <a:pt x="20618" y="8428"/>
                </a:moveTo>
                <a:lnTo>
                  <a:pt x="982" y="8428"/>
                </a:lnTo>
                <a:lnTo>
                  <a:pt x="982" y="6445"/>
                </a:lnTo>
                <a:lnTo>
                  <a:pt x="20618" y="6445"/>
                </a:lnTo>
                <a:cubicBezTo>
                  <a:pt x="20618" y="6445"/>
                  <a:pt x="20618" y="8428"/>
                  <a:pt x="20618" y="8428"/>
                </a:cubicBezTo>
                <a:close/>
                <a:moveTo>
                  <a:pt x="18655" y="20327"/>
                </a:moveTo>
                <a:lnTo>
                  <a:pt x="2945" y="20327"/>
                </a:lnTo>
                <a:lnTo>
                  <a:pt x="2945" y="9420"/>
                </a:lnTo>
                <a:lnTo>
                  <a:pt x="18655" y="9420"/>
                </a:lnTo>
                <a:cubicBezTo>
                  <a:pt x="18655" y="9420"/>
                  <a:pt x="18655" y="20327"/>
                  <a:pt x="18655" y="20327"/>
                </a:cubicBezTo>
                <a:close/>
                <a:moveTo>
                  <a:pt x="6811" y="1488"/>
                </a:moveTo>
                <a:cubicBezTo>
                  <a:pt x="7083" y="1014"/>
                  <a:pt x="7683" y="851"/>
                  <a:pt x="8153" y="1125"/>
                </a:cubicBezTo>
                <a:lnTo>
                  <a:pt x="9854" y="2117"/>
                </a:lnTo>
                <a:lnTo>
                  <a:pt x="7946" y="5454"/>
                </a:lnTo>
                <a:lnTo>
                  <a:pt x="5759" y="5454"/>
                </a:lnTo>
                <a:lnTo>
                  <a:pt x="5698" y="5419"/>
                </a:lnTo>
                <a:lnTo>
                  <a:pt x="5678" y="5454"/>
                </a:lnTo>
                <a:lnTo>
                  <a:pt x="4545" y="5454"/>
                </a:lnTo>
                <a:cubicBezTo>
                  <a:pt x="4545" y="5454"/>
                  <a:pt x="6811" y="1488"/>
                  <a:pt x="6811" y="1488"/>
                </a:cubicBezTo>
                <a:close/>
                <a:moveTo>
                  <a:pt x="15577" y="5454"/>
                </a:moveTo>
                <a:lnTo>
                  <a:pt x="9079" y="5454"/>
                </a:lnTo>
                <a:lnTo>
                  <a:pt x="10704" y="2612"/>
                </a:lnTo>
                <a:cubicBezTo>
                  <a:pt x="10704" y="2612"/>
                  <a:pt x="15577" y="5454"/>
                  <a:pt x="15577" y="5454"/>
                </a:cubicBezTo>
                <a:close/>
                <a:moveTo>
                  <a:pt x="15930" y="2759"/>
                </a:moveTo>
                <a:cubicBezTo>
                  <a:pt x="16454" y="2617"/>
                  <a:pt x="16991" y="2931"/>
                  <a:pt x="17132" y="3460"/>
                </a:cubicBezTo>
                <a:lnTo>
                  <a:pt x="17661" y="5454"/>
                </a:lnTo>
                <a:lnTo>
                  <a:pt x="17540" y="5454"/>
                </a:lnTo>
                <a:lnTo>
                  <a:pt x="16279" y="4718"/>
                </a:lnTo>
                <a:lnTo>
                  <a:pt x="16438" y="4674"/>
                </a:lnTo>
                <a:lnTo>
                  <a:pt x="16184" y="3716"/>
                </a:lnTo>
                <a:lnTo>
                  <a:pt x="15236" y="3973"/>
                </a:lnTo>
                <a:lnTo>
                  <a:pt x="15279" y="4135"/>
                </a:lnTo>
                <a:lnTo>
                  <a:pt x="14076" y="3434"/>
                </a:lnTo>
                <a:lnTo>
                  <a:pt x="14033" y="3272"/>
                </a:lnTo>
                <a:cubicBezTo>
                  <a:pt x="14033" y="3272"/>
                  <a:pt x="15930" y="2759"/>
                  <a:pt x="15930" y="2759"/>
                </a:cubicBezTo>
                <a:close/>
                <a:moveTo>
                  <a:pt x="20618" y="5454"/>
                </a:moveTo>
                <a:lnTo>
                  <a:pt x="18678" y="5454"/>
                </a:lnTo>
                <a:lnTo>
                  <a:pt x="18081" y="3203"/>
                </a:lnTo>
                <a:cubicBezTo>
                  <a:pt x="17800" y="2145"/>
                  <a:pt x="16724" y="1518"/>
                  <a:pt x="15676" y="1801"/>
                </a:cubicBezTo>
                <a:lnTo>
                  <a:pt x="12671" y="2615"/>
                </a:lnTo>
                <a:lnTo>
                  <a:pt x="8644" y="266"/>
                </a:lnTo>
                <a:cubicBezTo>
                  <a:pt x="7704" y="-281"/>
                  <a:pt x="6504" y="44"/>
                  <a:pt x="5961" y="992"/>
                </a:cubicBezTo>
                <a:lnTo>
                  <a:pt x="3410" y="5454"/>
                </a:lnTo>
                <a:lnTo>
                  <a:pt x="982" y="5454"/>
                </a:lnTo>
                <a:cubicBezTo>
                  <a:pt x="440" y="5454"/>
                  <a:pt x="0" y="5898"/>
                  <a:pt x="0" y="6445"/>
                </a:cubicBezTo>
                <a:lnTo>
                  <a:pt x="0" y="8428"/>
                </a:lnTo>
                <a:cubicBezTo>
                  <a:pt x="0" y="8977"/>
                  <a:pt x="440" y="9420"/>
                  <a:pt x="982" y="9420"/>
                </a:cubicBezTo>
                <a:lnTo>
                  <a:pt x="1964" y="9420"/>
                </a:lnTo>
                <a:lnTo>
                  <a:pt x="1964" y="20327"/>
                </a:lnTo>
                <a:cubicBezTo>
                  <a:pt x="1964" y="20875"/>
                  <a:pt x="2403" y="21319"/>
                  <a:pt x="2945" y="21319"/>
                </a:cubicBezTo>
                <a:lnTo>
                  <a:pt x="18655" y="21319"/>
                </a:lnTo>
                <a:cubicBezTo>
                  <a:pt x="19197" y="21319"/>
                  <a:pt x="19636" y="20875"/>
                  <a:pt x="19636" y="20327"/>
                </a:cubicBezTo>
                <a:lnTo>
                  <a:pt x="19636" y="9420"/>
                </a:lnTo>
                <a:lnTo>
                  <a:pt x="20618" y="9420"/>
                </a:lnTo>
                <a:cubicBezTo>
                  <a:pt x="21160" y="9420"/>
                  <a:pt x="21600" y="8977"/>
                  <a:pt x="21600" y="8428"/>
                </a:cubicBezTo>
                <a:lnTo>
                  <a:pt x="21600" y="6445"/>
                </a:lnTo>
                <a:cubicBezTo>
                  <a:pt x="21600" y="5898"/>
                  <a:pt x="21160" y="5454"/>
                  <a:pt x="20618" y="5454"/>
                </a:cubicBezTo>
                <a:moveTo>
                  <a:pt x="7855" y="12395"/>
                </a:moveTo>
                <a:lnTo>
                  <a:pt x="13745" y="12395"/>
                </a:lnTo>
                <a:lnTo>
                  <a:pt x="13745" y="13386"/>
                </a:lnTo>
                <a:lnTo>
                  <a:pt x="7855" y="13386"/>
                </a:lnTo>
                <a:cubicBezTo>
                  <a:pt x="7855" y="13386"/>
                  <a:pt x="7855" y="12395"/>
                  <a:pt x="7855" y="12395"/>
                </a:cubicBezTo>
                <a:close/>
                <a:moveTo>
                  <a:pt x="7855" y="14378"/>
                </a:moveTo>
                <a:lnTo>
                  <a:pt x="13745" y="14378"/>
                </a:lnTo>
                <a:cubicBezTo>
                  <a:pt x="14288" y="14378"/>
                  <a:pt x="14727" y="13934"/>
                  <a:pt x="14727" y="13386"/>
                </a:cubicBezTo>
                <a:lnTo>
                  <a:pt x="14727" y="12395"/>
                </a:lnTo>
                <a:cubicBezTo>
                  <a:pt x="14727" y="11847"/>
                  <a:pt x="14288" y="11403"/>
                  <a:pt x="13745" y="11403"/>
                </a:cubicBezTo>
                <a:lnTo>
                  <a:pt x="7855" y="11403"/>
                </a:lnTo>
                <a:cubicBezTo>
                  <a:pt x="7312" y="11403"/>
                  <a:pt x="6873" y="11847"/>
                  <a:pt x="6873" y="12395"/>
                </a:cubicBezTo>
                <a:lnTo>
                  <a:pt x="6873" y="13386"/>
                </a:lnTo>
                <a:cubicBezTo>
                  <a:pt x="6873" y="13934"/>
                  <a:pt x="7312" y="14378"/>
                  <a:pt x="7855" y="1437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571">
            <a:extLst>
              <a:ext uri="{FF2B5EF4-FFF2-40B4-BE49-F238E27FC236}">
                <a16:creationId xmlns:a16="http://schemas.microsoft.com/office/drawing/2014/main" id="{480B20FC-0FC3-4BE1-9B39-1818B2B1CF87}"/>
              </a:ext>
            </a:extLst>
          </p:cNvPr>
          <p:cNvSpPr/>
          <p:nvPr/>
        </p:nvSpPr>
        <p:spPr bwMode="gray">
          <a:xfrm>
            <a:off x="3949967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572">
            <a:extLst>
              <a:ext uri="{FF2B5EF4-FFF2-40B4-BE49-F238E27FC236}">
                <a16:creationId xmlns:a16="http://schemas.microsoft.com/office/drawing/2014/main" id="{67269446-F81F-48B7-95E7-2CA8B7B31242}"/>
              </a:ext>
            </a:extLst>
          </p:cNvPr>
          <p:cNvSpPr/>
          <p:nvPr/>
        </p:nvSpPr>
        <p:spPr bwMode="gray">
          <a:xfrm>
            <a:off x="4501992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9818" y="8836"/>
                </a:lnTo>
                <a:lnTo>
                  <a:pt x="9818" y="4909"/>
                </a:lnTo>
                <a:cubicBezTo>
                  <a:pt x="9818" y="4638"/>
                  <a:pt x="9599" y="4418"/>
                  <a:pt x="9327" y="4418"/>
                </a:cubicBezTo>
                <a:cubicBezTo>
                  <a:pt x="9056" y="4418"/>
                  <a:pt x="8836" y="4638"/>
                  <a:pt x="8836" y="4909"/>
                </a:cubicBezTo>
                <a:lnTo>
                  <a:pt x="8836" y="8836"/>
                </a:ln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8836" y="9818"/>
                </a:lnTo>
                <a:lnTo>
                  <a:pt x="8836" y="13745"/>
                </a:lnTo>
                <a:cubicBezTo>
                  <a:pt x="8836" y="14017"/>
                  <a:pt x="9056" y="14236"/>
                  <a:pt x="9327" y="14236"/>
                </a:cubicBezTo>
                <a:cubicBezTo>
                  <a:pt x="9599" y="14236"/>
                  <a:pt x="9818" y="14017"/>
                  <a:pt x="9818" y="13745"/>
                </a:cubicBezTo>
                <a:lnTo>
                  <a:pt x="9818" y="9818"/>
                </a:ln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573">
            <a:extLst>
              <a:ext uri="{FF2B5EF4-FFF2-40B4-BE49-F238E27FC236}">
                <a16:creationId xmlns:a16="http://schemas.microsoft.com/office/drawing/2014/main" id="{99CDD385-8AEA-4487-B755-5005FF056B66}"/>
              </a:ext>
            </a:extLst>
          </p:cNvPr>
          <p:cNvSpPr/>
          <p:nvPr/>
        </p:nvSpPr>
        <p:spPr bwMode="gray">
          <a:xfrm>
            <a:off x="5054016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574">
            <a:extLst>
              <a:ext uri="{FF2B5EF4-FFF2-40B4-BE49-F238E27FC236}">
                <a16:creationId xmlns:a16="http://schemas.microsoft.com/office/drawing/2014/main" id="{DFC9A7B7-6F08-41DB-B1D0-6CA8C2475F58}"/>
              </a:ext>
            </a:extLst>
          </p:cNvPr>
          <p:cNvSpPr/>
          <p:nvPr/>
        </p:nvSpPr>
        <p:spPr bwMode="gray">
          <a:xfrm>
            <a:off x="5619184" y="3967142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32" y="4909"/>
                  <a:pt x="1080" y="4030"/>
                  <a:pt x="1080" y="2945"/>
                </a:cubicBezTo>
                <a:cubicBezTo>
                  <a:pt x="1080" y="1861"/>
                  <a:pt x="5432" y="982"/>
                  <a:pt x="10800" y="982"/>
                </a:cubicBezTo>
                <a:cubicBezTo>
                  <a:pt x="16168" y="982"/>
                  <a:pt x="20520" y="1861"/>
                  <a:pt x="20520" y="2945"/>
                </a:cubicBezTo>
                <a:cubicBezTo>
                  <a:pt x="20520" y="4030"/>
                  <a:pt x="16168" y="4909"/>
                  <a:pt x="10800" y="4909"/>
                </a:cubicBezTo>
                <a:moveTo>
                  <a:pt x="16305" y="8659"/>
                </a:moveTo>
                <a:cubicBezTo>
                  <a:pt x="14130" y="10260"/>
                  <a:pt x="11880" y="11916"/>
                  <a:pt x="11880" y="14727"/>
                </a:cubicBezTo>
                <a:cubicBezTo>
                  <a:pt x="11880" y="17561"/>
                  <a:pt x="11880" y="19270"/>
                  <a:pt x="11642" y="20135"/>
                </a:cubicBezTo>
                <a:cubicBezTo>
                  <a:pt x="11522" y="20573"/>
                  <a:pt x="11509" y="20618"/>
                  <a:pt x="10800" y="20618"/>
                </a:cubicBezTo>
                <a:cubicBezTo>
                  <a:pt x="10091" y="20618"/>
                  <a:pt x="10078" y="20573"/>
                  <a:pt x="9957" y="20135"/>
                </a:cubicBezTo>
                <a:cubicBezTo>
                  <a:pt x="9818" y="19627"/>
                  <a:pt x="9761" y="18820"/>
                  <a:pt x="9738" y="17673"/>
                </a:cubicBezTo>
                <a:lnTo>
                  <a:pt x="10260" y="17673"/>
                </a:lnTo>
                <a:cubicBezTo>
                  <a:pt x="10558" y="17673"/>
                  <a:pt x="10800" y="17453"/>
                  <a:pt x="10800" y="17182"/>
                </a:cubicBezTo>
                <a:cubicBezTo>
                  <a:pt x="10800" y="16911"/>
                  <a:pt x="10558" y="16691"/>
                  <a:pt x="10260" y="16691"/>
                </a:cubicBezTo>
                <a:lnTo>
                  <a:pt x="9724" y="16691"/>
                </a:lnTo>
                <a:cubicBezTo>
                  <a:pt x="9722" y="16381"/>
                  <a:pt x="9721" y="16059"/>
                  <a:pt x="9721" y="15709"/>
                </a:cubicBezTo>
                <a:lnTo>
                  <a:pt x="10260" y="15709"/>
                </a:lnTo>
                <a:cubicBezTo>
                  <a:pt x="10558" y="15709"/>
                  <a:pt x="10800" y="15489"/>
                  <a:pt x="10800" y="15218"/>
                </a:cubicBezTo>
                <a:cubicBezTo>
                  <a:pt x="10800" y="14947"/>
                  <a:pt x="10558" y="14727"/>
                  <a:pt x="10260" y="14727"/>
                </a:cubicBezTo>
                <a:lnTo>
                  <a:pt x="9720" y="14727"/>
                </a:lnTo>
                <a:cubicBezTo>
                  <a:pt x="9720" y="11916"/>
                  <a:pt x="7470" y="10260"/>
                  <a:pt x="5295" y="8659"/>
                </a:cubicBezTo>
                <a:cubicBezTo>
                  <a:pt x="3543" y="7370"/>
                  <a:pt x="1872" y="6139"/>
                  <a:pt x="1294" y="4344"/>
                </a:cubicBezTo>
                <a:cubicBezTo>
                  <a:pt x="3119" y="5266"/>
                  <a:pt x="6691" y="5891"/>
                  <a:pt x="10800" y="5891"/>
                </a:cubicBezTo>
                <a:cubicBezTo>
                  <a:pt x="14905" y="5891"/>
                  <a:pt x="18475" y="5266"/>
                  <a:pt x="20302" y="4347"/>
                </a:cubicBezTo>
                <a:cubicBezTo>
                  <a:pt x="19721" y="6143"/>
                  <a:pt x="18053" y="7373"/>
                  <a:pt x="16305" y="8659"/>
                </a:cubicBezTo>
                <a:moveTo>
                  <a:pt x="10800" y="0"/>
                </a:moveTo>
                <a:cubicBezTo>
                  <a:pt x="4835" y="0"/>
                  <a:pt x="0" y="1319"/>
                  <a:pt x="0" y="2945"/>
                </a:cubicBezTo>
                <a:cubicBezTo>
                  <a:pt x="0" y="8836"/>
                  <a:pt x="8640" y="9818"/>
                  <a:pt x="8640" y="14727"/>
                </a:cubicBezTo>
                <a:lnTo>
                  <a:pt x="8640" y="15217"/>
                </a:lnTo>
                <a:lnTo>
                  <a:pt x="8640" y="15218"/>
                </a:lnTo>
                <a:lnTo>
                  <a:pt x="8640" y="15219"/>
                </a:lnTo>
                <a:cubicBezTo>
                  <a:pt x="8641" y="15938"/>
                  <a:pt x="8642" y="16572"/>
                  <a:pt x="8649" y="17142"/>
                </a:cubicBezTo>
                <a:cubicBezTo>
                  <a:pt x="8647" y="17155"/>
                  <a:pt x="8640" y="17168"/>
                  <a:pt x="8640" y="17182"/>
                </a:cubicBezTo>
                <a:cubicBezTo>
                  <a:pt x="8640" y="17199"/>
                  <a:pt x="8648" y="17212"/>
                  <a:pt x="8651" y="17230"/>
                </a:cubicBezTo>
                <a:cubicBezTo>
                  <a:pt x="8699" y="20896"/>
                  <a:pt x="8995" y="21600"/>
                  <a:pt x="10800" y="21600"/>
                </a:cubicBezTo>
                <a:cubicBezTo>
                  <a:pt x="12960" y="21600"/>
                  <a:pt x="12960" y="20618"/>
                  <a:pt x="12960" y="14727"/>
                </a:cubicBezTo>
                <a:cubicBezTo>
                  <a:pt x="12960" y="9818"/>
                  <a:pt x="21600" y="8836"/>
                  <a:pt x="21600" y="2945"/>
                </a:cubicBezTo>
                <a:cubicBezTo>
                  <a:pt x="21600" y="1319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575">
            <a:extLst>
              <a:ext uri="{FF2B5EF4-FFF2-40B4-BE49-F238E27FC236}">
                <a16:creationId xmlns:a16="http://schemas.microsoft.com/office/drawing/2014/main" id="{0984CB97-1F58-425A-936C-B08B26577F90}"/>
              </a:ext>
            </a:extLst>
          </p:cNvPr>
          <p:cNvSpPr/>
          <p:nvPr/>
        </p:nvSpPr>
        <p:spPr bwMode="gray">
          <a:xfrm>
            <a:off x="63782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8655" y="14727"/>
                </a:lnTo>
                <a:lnTo>
                  <a:pt x="18655" y="12273"/>
                </a:lnTo>
                <a:cubicBezTo>
                  <a:pt x="18655" y="12002"/>
                  <a:pt x="18434" y="11782"/>
                  <a:pt x="18164" y="11782"/>
                </a:cubicBezTo>
                <a:cubicBezTo>
                  <a:pt x="17893" y="11782"/>
                  <a:pt x="17673" y="12002"/>
                  <a:pt x="17673" y="12273"/>
                </a:cubicBezTo>
                <a:lnTo>
                  <a:pt x="17673" y="14727"/>
                </a:ln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17673" y="15709"/>
                </a:lnTo>
                <a:lnTo>
                  <a:pt x="17673" y="18164"/>
                </a:lnTo>
                <a:cubicBezTo>
                  <a:pt x="17673" y="18435"/>
                  <a:pt x="17893" y="18655"/>
                  <a:pt x="18164" y="18655"/>
                </a:cubicBezTo>
                <a:cubicBezTo>
                  <a:pt x="18434" y="18655"/>
                  <a:pt x="18655" y="18435"/>
                  <a:pt x="18655" y="18164"/>
                </a:cubicBezTo>
                <a:lnTo>
                  <a:pt x="18655" y="15709"/>
                </a:ln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576">
            <a:extLst>
              <a:ext uri="{FF2B5EF4-FFF2-40B4-BE49-F238E27FC236}">
                <a16:creationId xmlns:a16="http://schemas.microsoft.com/office/drawing/2014/main" id="{24D22E4D-3CE6-4C98-88F1-7E70D98084CD}"/>
              </a:ext>
            </a:extLst>
          </p:cNvPr>
          <p:cNvSpPr/>
          <p:nvPr/>
        </p:nvSpPr>
        <p:spPr bwMode="gray">
          <a:xfrm>
            <a:off x="1189845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577">
            <a:extLst>
              <a:ext uri="{FF2B5EF4-FFF2-40B4-BE49-F238E27FC236}">
                <a16:creationId xmlns:a16="http://schemas.microsoft.com/office/drawing/2014/main" id="{3F7B6071-706A-4F6D-BCCC-8FD7064F6CE7}"/>
              </a:ext>
            </a:extLst>
          </p:cNvPr>
          <p:cNvSpPr/>
          <p:nvPr/>
        </p:nvSpPr>
        <p:spPr bwMode="gray">
          <a:xfrm>
            <a:off x="1755013" y="4519167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20" y="4979"/>
                </a:moveTo>
                <a:lnTo>
                  <a:pt x="7560" y="6792"/>
                </a:lnTo>
                <a:lnTo>
                  <a:pt x="7560" y="2876"/>
                </a:lnTo>
                <a:lnTo>
                  <a:pt x="20520" y="1063"/>
                </a:lnTo>
                <a:cubicBezTo>
                  <a:pt x="20520" y="1063"/>
                  <a:pt x="20520" y="4979"/>
                  <a:pt x="20520" y="4979"/>
                </a:cubicBezTo>
                <a:close/>
                <a:moveTo>
                  <a:pt x="18900" y="17673"/>
                </a:moveTo>
                <a:lnTo>
                  <a:pt x="16740" y="17673"/>
                </a:lnTo>
                <a:cubicBezTo>
                  <a:pt x="15845" y="17673"/>
                  <a:pt x="15120" y="17014"/>
                  <a:pt x="15120" y="16200"/>
                </a:cubicBezTo>
                <a:cubicBezTo>
                  <a:pt x="15120" y="15387"/>
                  <a:pt x="15845" y="14727"/>
                  <a:pt x="16740" y="14727"/>
                </a:cubicBezTo>
                <a:lnTo>
                  <a:pt x="18900" y="14727"/>
                </a:lnTo>
                <a:cubicBezTo>
                  <a:pt x="19795" y="14727"/>
                  <a:pt x="20520" y="15387"/>
                  <a:pt x="20520" y="16200"/>
                </a:cubicBezTo>
                <a:cubicBezTo>
                  <a:pt x="20520" y="17014"/>
                  <a:pt x="19795" y="17673"/>
                  <a:pt x="18900" y="17673"/>
                </a:cubicBezTo>
                <a:moveTo>
                  <a:pt x="4860" y="20618"/>
                </a:moveTo>
                <a:lnTo>
                  <a:pt x="2700" y="20618"/>
                </a:lnTo>
                <a:cubicBezTo>
                  <a:pt x="1805" y="20618"/>
                  <a:pt x="1080" y="19959"/>
                  <a:pt x="1080" y="19146"/>
                </a:cubicBezTo>
                <a:cubicBezTo>
                  <a:pt x="1080" y="18332"/>
                  <a:pt x="1805" y="17673"/>
                  <a:pt x="2700" y="17673"/>
                </a:cubicBezTo>
                <a:lnTo>
                  <a:pt x="4860" y="17673"/>
                </a:lnTo>
                <a:cubicBezTo>
                  <a:pt x="5755" y="17673"/>
                  <a:pt x="6480" y="18332"/>
                  <a:pt x="6480" y="19146"/>
                </a:cubicBezTo>
                <a:cubicBezTo>
                  <a:pt x="6480" y="19959"/>
                  <a:pt x="5755" y="20618"/>
                  <a:pt x="4860" y="20618"/>
                </a:cubicBezTo>
                <a:moveTo>
                  <a:pt x="21060" y="0"/>
                </a:moveTo>
                <a:cubicBezTo>
                  <a:pt x="21031" y="0"/>
                  <a:pt x="21006" y="11"/>
                  <a:pt x="20980" y="15"/>
                </a:cubicBezTo>
                <a:lnTo>
                  <a:pt x="20978" y="6"/>
                </a:lnTo>
                <a:lnTo>
                  <a:pt x="6938" y="1969"/>
                </a:lnTo>
                <a:lnTo>
                  <a:pt x="6940" y="1979"/>
                </a:lnTo>
                <a:cubicBezTo>
                  <a:pt x="6681" y="2016"/>
                  <a:pt x="6480" y="2210"/>
                  <a:pt x="6480" y="2455"/>
                </a:cubicBezTo>
                <a:lnTo>
                  <a:pt x="6480" y="17193"/>
                </a:lnTo>
                <a:cubicBezTo>
                  <a:pt x="6028" y="16882"/>
                  <a:pt x="5471" y="16691"/>
                  <a:pt x="4860" y="16691"/>
                </a:cubicBezTo>
                <a:lnTo>
                  <a:pt x="2700" y="16691"/>
                </a:lnTo>
                <a:cubicBezTo>
                  <a:pt x="1209" y="16691"/>
                  <a:pt x="0" y="17790"/>
                  <a:pt x="0" y="19146"/>
                </a:cubicBezTo>
                <a:cubicBezTo>
                  <a:pt x="0" y="20501"/>
                  <a:pt x="1209" y="21600"/>
                  <a:pt x="2700" y="21600"/>
                </a:cubicBezTo>
                <a:lnTo>
                  <a:pt x="4860" y="21600"/>
                </a:lnTo>
                <a:cubicBezTo>
                  <a:pt x="6352" y="21600"/>
                  <a:pt x="7560" y="20501"/>
                  <a:pt x="7560" y="19146"/>
                </a:cubicBezTo>
                <a:lnTo>
                  <a:pt x="7560" y="7785"/>
                </a:lnTo>
                <a:lnTo>
                  <a:pt x="20520" y="5972"/>
                </a:lnTo>
                <a:lnTo>
                  <a:pt x="20520" y="14248"/>
                </a:lnTo>
                <a:cubicBezTo>
                  <a:pt x="20068" y="13937"/>
                  <a:pt x="19511" y="13745"/>
                  <a:pt x="18900" y="13745"/>
                </a:cubicBezTo>
                <a:lnTo>
                  <a:pt x="16740" y="13745"/>
                </a:lnTo>
                <a:cubicBezTo>
                  <a:pt x="15249" y="13745"/>
                  <a:pt x="14040" y="14845"/>
                  <a:pt x="14040" y="16200"/>
                </a:cubicBezTo>
                <a:cubicBezTo>
                  <a:pt x="14040" y="17556"/>
                  <a:pt x="15249" y="18655"/>
                  <a:pt x="16740" y="18655"/>
                </a:cubicBezTo>
                <a:lnTo>
                  <a:pt x="18900" y="18655"/>
                </a:lnTo>
                <a:cubicBezTo>
                  <a:pt x="20392" y="18655"/>
                  <a:pt x="21600" y="17556"/>
                  <a:pt x="21600" y="16200"/>
                </a:cubicBezTo>
                <a:lnTo>
                  <a:pt x="21600" y="491"/>
                </a:lnTo>
                <a:cubicBezTo>
                  <a:pt x="21600" y="220"/>
                  <a:pt x="21358" y="0"/>
                  <a:pt x="2106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578">
            <a:extLst>
              <a:ext uri="{FF2B5EF4-FFF2-40B4-BE49-F238E27FC236}">
                <a16:creationId xmlns:a16="http://schemas.microsoft.com/office/drawing/2014/main" id="{5780E1AF-1407-4A9D-BCB3-A73B65C465F3}"/>
              </a:ext>
            </a:extLst>
          </p:cNvPr>
          <p:cNvSpPr/>
          <p:nvPr/>
        </p:nvSpPr>
        <p:spPr bwMode="gray">
          <a:xfrm>
            <a:off x="2346468" y="4519167"/>
            <a:ext cx="18400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5837"/>
                </a:moveTo>
                <a:lnTo>
                  <a:pt x="10800" y="4996"/>
                </a:lnTo>
                <a:lnTo>
                  <a:pt x="10800" y="1036"/>
                </a:lnTo>
                <a:lnTo>
                  <a:pt x="20057" y="1878"/>
                </a:lnTo>
                <a:cubicBezTo>
                  <a:pt x="20057" y="1878"/>
                  <a:pt x="20057" y="5837"/>
                  <a:pt x="20057" y="5837"/>
                </a:cubicBezTo>
                <a:close/>
                <a:moveTo>
                  <a:pt x="6943" y="20618"/>
                </a:moveTo>
                <a:lnTo>
                  <a:pt x="3857" y="20618"/>
                </a:lnTo>
                <a:cubicBezTo>
                  <a:pt x="2579" y="20618"/>
                  <a:pt x="1543" y="19959"/>
                  <a:pt x="1543" y="19146"/>
                </a:cubicBezTo>
                <a:cubicBezTo>
                  <a:pt x="1543" y="18332"/>
                  <a:pt x="2579" y="17673"/>
                  <a:pt x="3857" y="17673"/>
                </a:cubicBezTo>
                <a:lnTo>
                  <a:pt x="6943" y="17673"/>
                </a:lnTo>
                <a:cubicBezTo>
                  <a:pt x="8221" y="17673"/>
                  <a:pt x="9257" y="18332"/>
                  <a:pt x="9257" y="19146"/>
                </a:cubicBezTo>
                <a:cubicBezTo>
                  <a:pt x="9257" y="19959"/>
                  <a:pt x="8221" y="20618"/>
                  <a:pt x="6943" y="20618"/>
                </a:cubicBezTo>
                <a:moveTo>
                  <a:pt x="20829" y="982"/>
                </a:moveTo>
                <a:cubicBezTo>
                  <a:pt x="20788" y="982"/>
                  <a:pt x="20752" y="993"/>
                  <a:pt x="20714" y="997"/>
                </a:cubicBezTo>
                <a:lnTo>
                  <a:pt x="20711" y="988"/>
                </a:lnTo>
                <a:lnTo>
                  <a:pt x="10344" y="45"/>
                </a:lnTo>
                <a:cubicBezTo>
                  <a:pt x="10248" y="17"/>
                  <a:pt x="10141" y="0"/>
                  <a:pt x="10029" y="0"/>
                </a:cubicBezTo>
                <a:cubicBezTo>
                  <a:pt x="10002" y="0"/>
                  <a:pt x="9979" y="8"/>
                  <a:pt x="9954" y="10"/>
                </a:cubicBezTo>
                <a:lnTo>
                  <a:pt x="9911" y="6"/>
                </a:lnTo>
                <a:lnTo>
                  <a:pt x="9914" y="15"/>
                </a:lnTo>
                <a:cubicBezTo>
                  <a:pt x="9545" y="52"/>
                  <a:pt x="9257" y="246"/>
                  <a:pt x="9257" y="491"/>
                </a:cubicBezTo>
                <a:lnTo>
                  <a:pt x="9257" y="17193"/>
                </a:lnTo>
                <a:cubicBezTo>
                  <a:pt x="8612" y="16882"/>
                  <a:pt x="7815" y="16691"/>
                  <a:pt x="6943" y="16691"/>
                </a:cubicBezTo>
                <a:lnTo>
                  <a:pt x="3857" y="16691"/>
                </a:lnTo>
                <a:cubicBezTo>
                  <a:pt x="1727" y="16691"/>
                  <a:pt x="0" y="17790"/>
                  <a:pt x="0" y="19146"/>
                </a:cubicBezTo>
                <a:cubicBezTo>
                  <a:pt x="0" y="20501"/>
                  <a:pt x="1727" y="21600"/>
                  <a:pt x="3857" y="21600"/>
                </a:cubicBezTo>
                <a:lnTo>
                  <a:pt x="6943" y="21600"/>
                </a:lnTo>
                <a:cubicBezTo>
                  <a:pt x="9074" y="21600"/>
                  <a:pt x="10800" y="20501"/>
                  <a:pt x="10800" y="19146"/>
                </a:cubicBezTo>
                <a:lnTo>
                  <a:pt x="10800" y="5945"/>
                </a:lnTo>
                <a:lnTo>
                  <a:pt x="20513" y="6828"/>
                </a:lnTo>
                <a:cubicBezTo>
                  <a:pt x="20610" y="6855"/>
                  <a:pt x="20715" y="6873"/>
                  <a:pt x="20829" y="6873"/>
                </a:cubicBezTo>
                <a:cubicBezTo>
                  <a:pt x="20855" y="6873"/>
                  <a:pt x="20877" y="6865"/>
                  <a:pt x="20904" y="6864"/>
                </a:cubicBezTo>
                <a:lnTo>
                  <a:pt x="20946" y="6867"/>
                </a:lnTo>
                <a:lnTo>
                  <a:pt x="20943" y="6858"/>
                </a:lnTo>
                <a:cubicBezTo>
                  <a:pt x="21313" y="6822"/>
                  <a:pt x="21600" y="6627"/>
                  <a:pt x="21600" y="6382"/>
                </a:cubicBezTo>
                <a:lnTo>
                  <a:pt x="21600" y="1473"/>
                </a:lnTo>
                <a:cubicBezTo>
                  <a:pt x="21600" y="1202"/>
                  <a:pt x="21254" y="982"/>
                  <a:pt x="20829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579">
            <a:extLst>
              <a:ext uri="{FF2B5EF4-FFF2-40B4-BE49-F238E27FC236}">
                <a16:creationId xmlns:a16="http://schemas.microsoft.com/office/drawing/2014/main" id="{9697519E-271F-4E1E-9C18-E2B9E90AE158}"/>
              </a:ext>
            </a:extLst>
          </p:cNvPr>
          <p:cNvSpPr/>
          <p:nvPr/>
        </p:nvSpPr>
        <p:spPr bwMode="gray">
          <a:xfrm>
            <a:off x="2845919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57" y="18984"/>
                </a:moveTo>
                <a:lnTo>
                  <a:pt x="11380" y="15408"/>
                </a:lnTo>
                <a:lnTo>
                  <a:pt x="10800" y="14983"/>
                </a:lnTo>
                <a:lnTo>
                  <a:pt x="10219" y="15408"/>
                </a:lnTo>
                <a:lnTo>
                  <a:pt x="5343" y="18984"/>
                </a:lnTo>
                <a:lnTo>
                  <a:pt x="7313" y="13075"/>
                </a:lnTo>
                <a:lnTo>
                  <a:pt x="7534" y="12411"/>
                </a:lnTo>
                <a:lnTo>
                  <a:pt x="6980" y="11985"/>
                </a:lnTo>
                <a:lnTo>
                  <a:pt x="2887" y="8836"/>
                </a:lnTo>
                <a:lnTo>
                  <a:pt x="8535" y="8836"/>
                </a:lnTo>
                <a:lnTo>
                  <a:pt x="8774" y="8199"/>
                </a:lnTo>
                <a:lnTo>
                  <a:pt x="10800" y="2796"/>
                </a:lnTo>
                <a:lnTo>
                  <a:pt x="12826" y="8199"/>
                </a:lnTo>
                <a:lnTo>
                  <a:pt x="13065" y="8836"/>
                </a:lnTo>
                <a:lnTo>
                  <a:pt x="18714" y="8836"/>
                </a:lnTo>
                <a:lnTo>
                  <a:pt x="14619" y="11985"/>
                </a:lnTo>
                <a:lnTo>
                  <a:pt x="14066" y="12411"/>
                </a:lnTo>
                <a:cubicBezTo>
                  <a:pt x="14066" y="12411"/>
                  <a:pt x="16257" y="18984"/>
                  <a:pt x="16257" y="18984"/>
                </a:cubicBezTo>
                <a:close/>
                <a:moveTo>
                  <a:pt x="21600" y="7855"/>
                </a:moveTo>
                <a:lnTo>
                  <a:pt x="13745" y="7855"/>
                </a:lnTo>
                <a:lnTo>
                  <a:pt x="10800" y="0"/>
                </a:lnTo>
                <a:lnTo>
                  <a:pt x="7855" y="7855"/>
                </a:lnTo>
                <a:lnTo>
                  <a:pt x="0" y="7855"/>
                </a:lnTo>
                <a:lnTo>
                  <a:pt x="6382" y="12764"/>
                </a:lnTo>
                <a:lnTo>
                  <a:pt x="3436" y="21600"/>
                </a:lnTo>
                <a:lnTo>
                  <a:pt x="10800" y="16200"/>
                </a:lnTo>
                <a:lnTo>
                  <a:pt x="18164" y="21600"/>
                </a:lnTo>
                <a:lnTo>
                  <a:pt x="15218" y="12764"/>
                </a:lnTo>
                <a:cubicBezTo>
                  <a:pt x="15218" y="12764"/>
                  <a:pt x="21600" y="7855"/>
                  <a:pt x="21600" y="78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580">
            <a:extLst>
              <a:ext uri="{FF2B5EF4-FFF2-40B4-BE49-F238E27FC236}">
                <a16:creationId xmlns:a16="http://schemas.microsoft.com/office/drawing/2014/main" id="{6F644A59-CF32-439C-8877-E29C57E6E75A}"/>
              </a:ext>
            </a:extLst>
          </p:cNvPr>
          <p:cNvSpPr/>
          <p:nvPr/>
        </p:nvSpPr>
        <p:spPr bwMode="gray">
          <a:xfrm>
            <a:off x="3397943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445" y="15886"/>
                </a:moveTo>
                <a:lnTo>
                  <a:pt x="10478" y="18984"/>
                </a:lnTo>
                <a:lnTo>
                  <a:pt x="7944" y="17126"/>
                </a:lnTo>
                <a:lnTo>
                  <a:pt x="7364" y="16700"/>
                </a:lnTo>
                <a:lnTo>
                  <a:pt x="6783" y="17126"/>
                </a:lnTo>
                <a:lnTo>
                  <a:pt x="4249" y="18984"/>
                </a:lnTo>
                <a:lnTo>
                  <a:pt x="5283" y="15886"/>
                </a:lnTo>
                <a:lnTo>
                  <a:pt x="5505" y="15220"/>
                </a:lnTo>
                <a:lnTo>
                  <a:pt x="4946" y="14794"/>
                </a:lnTo>
                <a:lnTo>
                  <a:pt x="2908" y="13240"/>
                </a:lnTo>
                <a:lnTo>
                  <a:pt x="6037" y="13240"/>
                </a:lnTo>
                <a:lnTo>
                  <a:pt x="6275" y="12602"/>
                </a:lnTo>
                <a:lnTo>
                  <a:pt x="7364" y="9683"/>
                </a:lnTo>
                <a:lnTo>
                  <a:pt x="8452" y="12602"/>
                </a:lnTo>
                <a:lnTo>
                  <a:pt x="8690" y="13240"/>
                </a:lnTo>
                <a:lnTo>
                  <a:pt x="11820" y="13240"/>
                </a:lnTo>
                <a:lnTo>
                  <a:pt x="9781" y="14794"/>
                </a:lnTo>
                <a:lnTo>
                  <a:pt x="9223" y="15220"/>
                </a:lnTo>
                <a:cubicBezTo>
                  <a:pt x="9223" y="15220"/>
                  <a:pt x="9445" y="15886"/>
                  <a:pt x="9445" y="15886"/>
                </a:cubicBezTo>
                <a:close/>
                <a:moveTo>
                  <a:pt x="9372" y="12259"/>
                </a:moveTo>
                <a:lnTo>
                  <a:pt x="7364" y="6873"/>
                </a:lnTo>
                <a:lnTo>
                  <a:pt x="5355" y="12259"/>
                </a:lnTo>
                <a:lnTo>
                  <a:pt x="0" y="12259"/>
                </a:lnTo>
                <a:lnTo>
                  <a:pt x="4351" y="15575"/>
                </a:lnTo>
                <a:lnTo>
                  <a:pt x="2343" y="21600"/>
                </a:lnTo>
                <a:lnTo>
                  <a:pt x="7364" y="17918"/>
                </a:lnTo>
                <a:lnTo>
                  <a:pt x="12384" y="21600"/>
                </a:lnTo>
                <a:lnTo>
                  <a:pt x="10376" y="15575"/>
                </a:lnTo>
                <a:lnTo>
                  <a:pt x="14727" y="12259"/>
                </a:lnTo>
                <a:cubicBezTo>
                  <a:pt x="14727" y="12259"/>
                  <a:pt x="9372" y="12259"/>
                  <a:pt x="9372" y="12259"/>
                </a:cubicBezTo>
                <a:close/>
                <a:moveTo>
                  <a:pt x="16781" y="7308"/>
                </a:moveTo>
                <a:lnTo>
                  <a:pt x="16200" y="6883"/>
                </a:lnTo>
                <a:lnTo>
                  <a:pt x="15619" y="7308"/>
                </a:lnTo>
                <a:lnTo>
                  <a:pt x="14426" y="8184"/>
                </a:lnTo>
                <a:lnTo>
                  <a:pt x="14922" y="6693"/>
                </a:lnTo>
                <a:lnTo>
                  <a:pt x="15143" y="6031"/>
                </a:lnTo>
                <a:lnTo>
                  <a:pt x="14590" y="5605"/>
                </a:lnTo>
                <a:lnTo>
                  <a:pt x="13682" y="4905"/>
                </a:lnTo>
                <a:lnTo>
                  <a:pt x="15408" y="4905"/>
                </a:lnTo>
                <a:lnTo>
                  <a:pt x="15647" y="4267"/>
                </a:lnTo>
                <a:lnTo>
                  <a:pt x="16200" y="2793"/>
                </a:lnTo>
                <a:lnTo>
                  <a:pt x="16754" y="4267"/>
                </a:lnTo>
                <a:lnTo>
                  <a:pt x="16992" y="4905"/>
                </a:lnTo>
                <a:lnTo>
                  <a:pt x="18718" y="4905"/>
                </a:lnTo>
                <a:lnTo>
                  <a:pt x="17810" y="5605"/>
                </a:lnTo>
                <a:lnTo>
                  <a:pt x="17257" y="6031"/>
                </a:lnTo>
                <a:lnTo>
                  <a:pt x="17478" y="6693"/>
                </a:lnTo>
                <a:lnTo>
                  <a:pt x="17975" y="8184"/>
                </a:lnTo>
                <a:cubicBezTo>
                  <a:pt x="17975" y="8184"/>
                  <a:pt x="16781" y="7308"/>
                  <a:pt x="16781" y="7308"/>
                </a:cubicBezTo>
                <a:close/>
                <a:moveTo>
                  <a:pt x="21600" y="3922"/>
                </a:moveTo>
                <a:lnTo>
                  <a:pt x="17673" y="3922"/>
                </a:lnTo>
                <a:lnTo>
                  <a:pt x="16200" y="0"/>
                </a:lnTo>
                <a:lnTo>
                  <a:pt x="14727" y="3922"/>
                </a:lnTo>
                <a:lnTo>
                  <a:pt x="10800" y="3922"/>
                </a:lnTo>
                <a:lnTo>
                  <a:pt x="13991" y="6382"/>
                </a:lnTo>
                <a:lnTo>
                  <a:pt x="12518" y="10800"/>
                </a:lnTo>
                <a:lnTo>
                  <a:pt x="16200" y="8100"/>
                </a:lnTo>
                <a:lnTo>
                  <a:pt x="19882" y="10800"/>
                </a:lnTo>
                <a:lnTo>
                  <a:pt x="18409" y="6382"/>
                </a:lnTo>
                <a:cubicBezTo>
                  <a:pt x="18409" y="6382"/>
                  <a:pt x="21600" y="3922"/>
                  <a:pt x="21600" y="392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581">
            <a:extLst>
              <a:ext uri="{FF2B5EF4-FFF2-40B4-BE49-F238E27FC236}">
                <a16:creationId xmlns:a16="http://schemas.microsoft.com/office/drawing/2014/main" id="{083350C8-0BE1-46E8-BADC-E6E0801A29A9}"/>
              </a:ext>
            </a:extLst>
          </p:cNvPr>
          <p:cNvSpPr/>
          <p:nvPr/>
        </p:nvSpPr>
        <p:spPr bwMode="gray">
          <a:xfrm>
            <a:off x="3949967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33" y="11950"/>
                </a:moveTo>
                <a:lnTo>
                  <a:pt x="12831" y="14044"/>
                </a:lnTo>
                <a:lnTo>
                  <a:pt x="11135" y="12801"/>
                </a:lnTo>
                <a:lnTo>
                  <a:pt x="10555" y="12375"/>
                </a:lnTo>
                <a:lnTo>
                  <a:pt x="9974" y="12801"/>
                </a:lnTo>
                <a:lnTo>
                  <a:pt x="8277" y="14044"/>
                </a:lnTo>
                <a:lnTo>
                  <a:pt x="8976" y="11950"/>
                </a:lnTo>
                <a:lnTo>
                  <a:pt x="9195" y="11291"/>
                </a:lnTo>
                <a:lnTo>
                  <a:pt x="8647" y="10864"/>
                </a:lnTo>
                <a:lnTo>
                  <a:pt x="7280" y="9801"/>
                </a:lnTo>
                <a:lnTo>
                  <a:pt x="9560" y="9801"/>
                </a:lnTo>
                <a:lnTo>
                  <a:pt x="9799" y="9167"/>
                </a:lnTo>
                <a:lnTo>
                  <a:pt x="10555" y="7167"/>
                </a:lnTo>
                <a:lnTo>
                  <a:pt x="11310" y="9167"/>
                </a:lnTo>
                <a:lnTo>
                  <a:pt x="11549" y="9801"/>
                </a:lnTo>
                <a:lnTo>
                  <a:pt x="13829" y="9801"/>
                </a:lnTo>
                <a:lnTo>
                  <a:pt x="12462" y="10864"/>
                </a:lnTo>
                <a:lnTo>
                  <a:pt x="11914" y="11291"/>
                </a:lnTo>
                <a:cubicBezTo>
                  <a:pt x="11914" y="11291"/>
                  <a:pt x="12133" y="11950"/>
                  <a:pt x="12133" y="11950"/>
                </a:cubicBezTo>
                <a:close/>
                <a:moveTo>
                  <a:pt x="12228" y="8820"/>
                </a:moveTo>
                <a:lnTo>
                  <a:pt x="10555" y="4388"/>
                </a:lnTo>
                <a:lnTo>
                  <a:pt x="8881" y="8820"/>
                </a:lnTo>
                <a:lnTo>
                  <a:pt x="4418" y="8820"/>
                </a:lnTo>
                <a:lnTo>
                  <a:pt x="8044" y="11639"/>
                </a:lnTo>
                <a:lnTo>
                  <a:pt x="6371" y="16660"/>
                </a:lnTo>
                <a:lnTo>
                  <a:pt x="10555" y="13592"/>
                </a:lnTo>
                <a:lnTo>
                  <a:pt x="14738" y="16660"/>
                </a:lnTo>
                <a:lnTo>
                  <a:pt x="13065" y="11639"/>
                </a:lnTo>
                <a:lnTo>
                  <a:pt x="16691" y="8820"/>
                </a:lnTo>
                <a:cubicBezTo>
                  <a:pt x="16691" y="8820"/>
                  <a:pt x="12228" y="8820"/>
                  <a:pt x="12228" y="8820"/>
                </a:cubicBezTo>
                <a:close/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582">
            <a:extLst>
              <a:ext uri="{FF2B5EF4-FFF2-40B4-BE49-F238E27FC236}">
                <a16:creationId xmlns:a16="http://schemas.microsoft.com/office/drawing/2014/main" id="{B2C4AABD-ACD9-4297-B1ED-F35416894CC9}"/>
              </a:ext>
            </a:extLst>
          </p:cNvPr>
          <p:cNvSpPr/>
          <p:nvPr/>
        </p:nvSpPr>
        <p:spPr bwMode="gray">
          <a:xfrm>
            <a:off x="4501992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4419"/>
                </a:moveTo>
                <a:lnTo>
                  <a:pt x="9327" y="4419"/>
                </a:lnTo>
                <a:cubicBezTo>
                  <a:pt x="9056" y="4419"/>
                  <a:pt x="8836" y="4638"/>
                  <a:pt x="8836" y="4909"/>
                </a:cubicBezTo>
                <a:cubicBezTo>
                  <a:pt x="8836" y="5181"/>
                  <a:pt x="9056" y="5400"/>
                  <a:pt x="9327" y="5400"/>
                </a:cubicBezTo>
                <a:lnTo>
                  <a:pt x="18164" y="5400"/>
                </a:lnTo>
                <a:cubicBezTo>
                  <a:pt x="18435" y="5400"/>
                  <a:pt x="18655" y="5181"/>
                  <a:pt x="18655" y="4909"/>
                </a:cubicBezTo>
                <a:cubicBezTo>
                  <a:pt x="18655" y="4638"/>
                  <a:pt x="18435" y="4419"/>
                  <a:pt x="18164" y="4419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164" y="10310"/>
                </a:moveTo>
                <a:lnTo>
                  <a:pt x="9327" y="10310"/>
                </a:lnTo>
                <a:cubicBezTo>
                  <a:pt x="9056" y="10310"/>
                  <a:pt x="8836" y="10529"/>
                  <a:pt x="8836" y="10800"/>
                </a:cubicBezTo>
                <a:cubicBezTo>
                  <a:pt x="8836" y="11072"/>
                  <a:pt x="9056" y="11291"/>
                  <a:pt x="9327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5445" y="16155"/>
                </a:moveTo>
                <a:lnTo>
                  <a:pt x="4909" y="14728"/>
                </a:lnTo>
                <a:lnTo>
                  <a:pt x="4374" y="16155"/>
                </a:lnTo>
                <a:lnTo>
                  <a:pt x="2945" y="16155"/>
                </a:lnTo>
                <a:lnTo>
                  <a:pt x="4106" y="17048"/>
                </a:lnTo>
                <a:lnTo>
                  <a:pt x="3571" y="18655"/>
                </a:lnTo>
                <a:lnTo>
                  <a:pt x="4909" y="17673"/>
                </a:lnTo>
                <a:lnTo>
                  <a:pt x="6248" y="18655"/>
                </a:lnTo>
                <a:lnTo>
                  <a:pt x="5713" y="17048"/>
                </a:lnTo>
                <a:lnTo>
                  <a:pt x="6873" y="16155"/>
                </a:lnTo>
                <a:cubicBezTo>
                  <a:pt x="6873" y="16155"/>
                  <a:pt x="5445" y="16155"/>
                  <a:pt x="5445" y="16155"/>
                </a:cubicBezTo>
                <a:close/>
                <a:moveTo>
                  <a:pt x="4909" y="8836"/>
                </a:moveTo>
                <a:lnTo>
                  <a:pt x="4374" y="10265"/>
                </a:lnTo>
                <a:lnTo>
                  <a:pt x="2945" y="10265"/>
                </a:lnTo>
                <a:lnTo>
                  <a:pt x="4106" y="11157"/>
                </a:lnTo>
                <a:lnTo>
                  <a:pt x="3571" y="12764"/>
                </a:lnTo>
                <a:lnTo>
                  <a:pt x="4909" y="11782"/>
                </a:lnTo>
                <a:lnTo>
                  <a:pt x="6248" y="12764"/>
                </a:lnTo>
                <a:lnTo>
                  <a:pt x="5713" y="11157"/>
                </a:lnTo>
                <a:lnTo>
                  <a:pt x="6873" y="10265"/>
                </a:lnTo>
                <a:lnTo>
                  <a:pt x="5445" y="10265"/>
                </a:lnTo>
                <a:cubicBezTo>
                  <a:pt x="5445" y="10265"/>
                  <a:pt x="4909" y="8836"/>
                  <a:pt x="4909" y="8836"/>
                </a:cubicBezTo>
                <a:close/>
                <a:moveTo>
                  <a:pt x="4909" y="2945"/>
                </a:moveTo>
                <a:lnTo>
                  <a:pt x="4374" y="4374"/>
                </a:lnTo>
                <a:lnTo>
                  <a:pt x="2945" y="4374"/>
                </a:lnTo>
                <a:lnTo>
                  <a:pt x="4106" y="5266"/>
                </a:lnTo>
                <a:lnTo>
                  <a:pt x="3571" y="6873"/>
                </a:lnTo>
                <a:lnTo>
                  <a:pt x="4909" y="5891"/>
                </a:lnTo>
                <a:lnTo>
                  <a:pt x="6248" y="6873"/>
                </a:lnTo>
                <a:lnTo>
                  <a:pt x="5713" y="5266"/>
                </a:lnTo>
                <a:lnTo>
                  <a:pt x="6873" y="4374"/>
                </a:lnTo>
                <a:lnTo>
                  <a:pt x="5445" y="4374"/>
                </a:lnTo>
                <a:cubicBezTo>
                  <a:pt x="5445" y="4374"/>
                  <a:pt x="4909" y="2945"/>
                  <a:pt x="4909" y="2945"/>
                </a:cubicBezTo>
                <a:close/>
                <a:moveTo>
                  <a:pt x="18164" y="16200"/>
                </a:moveTo>
                <a:lnTo>
                  <a:pt x="9327" y="16200"/>
                </a:lnTo>
                <a:cubicBezTo>
                  <a:pt x="9056" y="16200"/>
                  <a:pt x="8836" y="16420"/>
                  <a:pt x="8836" y="16691"/>
                </a:cubicBezTo>
                <a:cubicBezTo>
                  <a:pt x="8836" y="16962"/>
                  <a:pt x="9056" y="17182"/>
                  <a:pt x="9327" y="17182"/>
                </a:cubicBezTo>
                <a:lnTo>
                  <a:pt x="18164" y="17182"/>
                </a:lnTo>
                <a:cubicBezTo>
                  <a:pt x="18435" y="17182"/>
                  <a:pt x="18655" y="16962"/>
                  <a:pt x="18655" y="16691"/>
                </a:cubicBezTo>
                <a:cubicBezTo>
                  <a:pt x="18655" y="16420"/>
                  <a:pt x="18435" y="16200"/>
                  <a:pt x="18164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583">
            <a:extLst>
              <a:ext uri="{FF2B5EF4-FFF2-40B4-BE49-F238E27FC236}">
                <a16:creationId xmlns:a16="http://schemas.microsoft.com/office/drawing/2014/main" id="{61F37E72-0746-4B67-A1F0-B9600D0DB15B}"/>
              </a:ext>
            </a:extLst>
          </p:cNvPr>
          <p:cNvSpPr/>
          <p:nvPr/>
        </p:nvSpPr>
        <p:spPr bwMode="gray">
          <a:xfrm>
            <a:off x="5054016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427" y="17673"/>
                  <a:pt x="11549" y="17618"/>
                  <a:pt x="11638" y="17529"/>
                </a:cubicBezTo>
                <a:lnTo>
                  <a:pt x="14583" y="14583"/>
                </a:lnTo>
                <a:cubicBezTo>
                  <a:pt x="14673" y="14495"/>
                  <a:pt x="14727" y="14372"/>
                  <a:pt x="14727" y="14236"/>
                </a:cubicBezTo>
                <a:cubicBezTo>
                  <a:pt x="14727" y="13966"/>
                  <a:pt x="14508" y="13745"/>
                  <a:pt x="14236" y="13745"/>
                </a:cubicBezTo>
                <a:cubicBezTo>
                  <a:pt x="14101" y="13745"/>
                  <a:pt x="13978" y="13801"/>
                  <a:pt x="13889" y="13890"/>
                </a:cubicBezTo>
                <a:lnTo>
                  <a:pt x="10944" y="16835"/>
                </a:lnTo>
                <a:cubicBezTo>
                  <a:pt x="10855" y="16924"/>
                  <a:pt x="10800" y="17047"/>
                  <a:pt x="10800" y="17183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8980" y="14871"/>
                </a:moveTo>
                <a:cubicBezTo>
                  <a:pt x="8891" y="14961"/>
                  <a:pt x="8836" y="15083"/>
                  <a:pt x="8836" y="15218"/>
                </a:cubicBezTo>
                <a:cubicBezTo>
                  <a:pt x="8836" y="15490"/>
                  <a:pt x="9056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0656" y="14583"/>
                </a:lnTo>
                <a:cubicBezTo>
                  <a:pt x="10745" y="14495"/>
                  <a:pt x="10800" y="14372"/>
                  <a:pt x="10800" y="14236"/>
                </a:cubicBezTo>
                <a:cubicBezTo>
                  <a:pt x="10800" y="13966"/>
                  <a:pt x="10580" y="13745"/>
                  <a:pt x="10309" y="13745"/>
                </a:cubicBezTo>
                <a:cubicBezTo>
                  <a:pt x="10174" y="13745"/>
                  <a:pt x="10051" y="13801"/>
                  <a:pt x="9962" y="13890"/>
                </a:cubicBezTo>
                <a:cubicBezTo>
                  <a:pt x="9962" y="13890"/>
                  <a:pt x="8980" y="14871"/>
                  <a:pt x="8980" y="14871"/>
                </a:cubicBezTo>
                <a:close/>
                <a:moveTo>
                  <a:pt x="11291" y="20415"/>
                </a:moveTo>
                <a:lnTo>
                  <a:pt x="982" y="10106"/>
                </a:lnTo>
                <a:lnTo>
                  <a:pt x="982" y="1473"/>
                </a:lnTo>
                <a:cubicBezTo>
                  <a:pt x="982" y="1202"/>
                  <a:pt x="1201" y="982"/>
                  <a:pt x="1473" y="982"/>
                </a:cubicBezTo>
                <a:lnTo>
                  <a:pt x="10106" y="982"/>
                </a:lnTo>
                <a:lnTo>
                  <a:pt x="20415" y="11291"/>
                </a:lnTo>
                <a:cubicBezTo>
                  <a:pt x="20415" y="11291"/>
                  <a:pt x="11291" y="20415"/>
                  <a:pt x="11291" y="20415"/>
                </a:cubicBezTo>
                <a:close/>
                <a:moveTo>
                  <a:pt x="21456" y="10944"/>
                </a:moveTo>
                <a:lnTo>
                  <a:pt x="10656" y="144"/>
                </a:lnTo>
                <a:cubicBezTo>
                  <a:pt x="10567" y="55"/>
                  <a:pt x="10445" y="0"/>
                  <a:pt x="10309" y="0"/>
                </a:cubicBezTo>
                <a:lnTo>
                  <a:pt x="1473" y="0"/>
                </a:lnTo>
                <a:cubicBezTo>
                  <a:pt x="660" y="0"/>
                  <a:pt x="0" y="660"/>
                  <a:pt x="0" y="1473"/>
                </a:cubicBezTo>
                <a:lnTo>
                  <a:pt x="0" y="10310"/>
                </a:lnTo>
                <a:cubicBezTo>
                  <a:pt x="0" y="10445"/>
                  <a:pt x="55" y="10567"/>
                  <a:pt x="144" y="10656"/>
                </a:cubicBezTo>
                <a:lnTo>
                  <a:pt x="10944" y="21456"/>
                </a:lnTo>
                <a:cubicBezTo>
                  <a:pt x="11033" y="21546"/>
                  <a:pt x="11155" y="21600"/>
                  <a:pt x="11291" y="21600"/>
                </a:cubicBezTo>
                <a:cubicBezTo>
                  <a:pt x="11427" y="21600"/>
                  <a:pt x="11549" y="21546"/>
                  <a:pt x="11638" y="21456"/>
                </a:cubicBezTo>
                <a:lnTo>
                  <a:pt x="21456" y="11638"/>
                </a:lnTo>
                <a:cubicBezTo>
                  <a:pt x="21545" y="11549"/>
                  <a:pt x="21600" y="11427"/>
                  <a:pt x="21600" y="11291"/>
                </a:cubicBezTo>
                <a:cubicBezTo>
                  <a:pt x="21600" y="11156"/>
                  <a:pt x="21545" y="11033"/>
                  <a:pt x="21456" y="10944"/>
                </a:cubicBezTo>
                <a:moveTo>
                  <a:pt x="11782" y="13255"/>
                </a:moveTo>
                <a:cubicBezTo>
                  <a:pt x="11917" y="13255"/>
                  <a:pt x="12040" y="13200"/>
                  <a:pt x="12129" y="13111"/>
                </a:cubicBezTo>
                <a:lnTo>
                  <a:pt x="14093" y="11147"/>
                </a:lnTo>
                <a:cubicBezTo>
                  <a:pt x="14182" y="11058"/>
                  <a:pt x="14236" y="10936"/>
                  <a:pt x="14236" y="10800"/>
                </a:cubicBezTo>
                <a:cubicBezTo>
                  <a:pt x="14236" y="10529"/>
                  <a:pt x="14017" y="10310"/>
                  <a:pt x="13745" y="10310"/>
                </a:cubicBezTo>
                <a:cubicBezTo>
                  <a:pt x="13610" y="10310"/>
                  <a:pt x="13487" y="10364"/>
                  <a:pt x="13398" y="10453"/>
                </a:cubicBezTo>
                <a:lnTo>
                  <a:pt x="11435" y="12417"/>
                </a:lnTo>
                <a:cubicBezTo>
                  <a:pt x="11346" y="12506"/>
                  <a:pt x="11291" y="12629"/>
                  <a:pt x="11291" y="12764"/>
                </a:cubicBezTo>
                <a:cubicBezTo>
                  <a:pt x="11291" y="13035"/>
                  <a:pt x="11510" y="13255"/>
                  <a:pt x="11782" y="13255"/>
                </a:cubicBezTo>
                <a:moveTo>
                  <a:pt x="4418" y="4909"/>
                </a:moveTo>
                <a:cubicBezTo>
                  <a:pt x="4147" y="4909"/>
                  <a:pt x="3927" y="4690"/>
                  <a:pt x="3927" y="4418"/>
                </a:cubicBezTo>
                <a:cubicBezTo>
                  <a:pt x="3927" y="4147"/>
                  <a:pt x="4147" y="3927"/>
                  <a:pt x="4418" y="3927"/>
                </a:cubicBezTo>
                <a:cubicBezTo>
                  <a:pt x="4690" y="3927"/>
                  <a:pt x="4909" y="4147"/>
                  <a:pt x="4909" y="4418"/>
                </a:cubicBezTo>
                <a:cubicBezTo>
                  <a:pt x="4909" y="4690"/>
                  <a:pt x="4690" y="4909"/>
                  <a:pt x="4418" y="4909"/>
                </a:cubicBezTo>
                <a:moveTo>
                  <a:pt x="4418" y="2945"/>
                </a:moveTo>
                <a:cubicBezTo>
                  <a:pt x="3605" y="2945"/>
                  <a:pt x="2945" y="3605"/>
                  <a:pt x="2945" y="4418"/>
                </a:cubicBezTo>
                <a:cubicBezTo>
                  <a:pt x="2945" y="5232"/>
                  <a:pt x="3605" y="5891"/>
                  <a:pt x="4418" y="5891"/>
                </a:cubicBezTo>
                <a:cubicBezTo>
                  <a:pt x="5231" y="5891"/>
                  <a:pt x="5891" y="5232"/>
                  <a:pt x="5891" y="4418"/>
                </a:cubicBezTo>
                <a:cubicBezTo>
                  <a:pt x="5891" y="3605"/>
                  <a:pt x="5231" y="2945"/>
                  <a:pt x="4418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584">
            <a:extLst>
              <a:ext uri="{FF2B5EF4-FFF2-40B4-BE49-F238E27FC236}">
                <a16:creationId xmlns:a16="http://schemas.microsoft.com/office/drawing/2014/main" id="{806B2CC5-5434-4554-808C-1147E56E820E}"/>
              </a:ext>
            </a:extLst>
          </p:cNvPr>
          <p:cNvSpPr/>
          <p:nvPr/>
        </p:nvSpPr>
        <p:spPr bwMode="gray">
          <a:xfrm>
            <a:off x="560604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7673"/>
                </a:moveTo>
                <a:cubicBezTo>
                  <a:pt x="10445" y="17673"/>
                  <a:pt x="10567" y="17618"/>
                  <a:pt x="10656" y="17529"/>
                </a:cubicBezTo>
                <a:lnTo>
                  <a:pt x="12620" y="15565"/>
                </a:lnTo>
                <a:cubicBezTo>
                  <a:pt x="12709" y="15477"/>
                  <a:pt x="12764" y="15354"/>
                  <a:pt x="12764" y="15218"/>
                </a:cubicBezTo>
                <a:cubicBezTo>
                  <a:pt x="12764" y="14947"/>
                  <a:pt x="12544" y="14728"/>
                  <a:pt x="12273" y="14728"/>
                </a:cubicBezTo>
                <a:cubicBezTo>
                  <a:pt x="12137" y="14728"/>
                  <a:pt x="12014" y="14782"/>
                  <a:pt x="11926" y="14871"/>
                </a:cubicBezTo>
                <a:lnTo>
                  <a:pt x="9962" y="16835"/>
                </a:lnTo>
                <a:cubicBezTo>
                  <a:pt x="9873" y="16924"/>
                  <a:pt x="9818" y="17046"/>
                  <a:pt x="9818" y="17183"/>
                </a:cubicBezTo>
                <a:cubicBezTo>
                  <a:pt x="9818" y="17453"/>
                  <a:pt x="10038" y="17673"/>
                  <a:pt x="10309" y="17673"/>
                </a:cubicBezTo>
                <a:moveTo>
                  <a:pt x="10309" y="20415"/>
                </a:moveTo>
                <a:lnTo>
                  <a:pt x="982" y="11088"/>
                </a:lnTo>
                <a:lnTo>
                  <a:pt x="982" y="4418"/>
                </a:lnTo>
                <a:cubicBezTo>
                  <a:pt x="982" y="4147"/>
                  <a:pt x="1201" y="3927"/>
                  <a:pt x="1473" y="3927"/>
                </a:cubicBezTo>
                <a:lnTo>
                  <a:pt x="8142" y="3927"/>
                </a:lnTo>
                <a:lnTo>
                  <a:pt x="17469" y="13255"/>
                </a:lnTo>
                <a:cubicBezTo>
                  <a:pt x="17469" y="13255"/>
                  <a:pt x="10309" y="20415"/>
                  <a:pt x="10309" y="20415"/>
                </a:cubicBezTo>
                <a:close/>
                <a:moveTo>
                  <a:pt x="8693" y="3090"/>
                </a:moveTo>
                <a:cubicBezTo>
                  <a:pt x="8604" y="3001"/>
                  <a:pt x="8481" y="2945"/>
                  <a:pt x="8345" y="2945"/>
                </a:cubicBezTo>
                <a:lnTo>
                  <a:pt x="1473" y="2945"/>
                </a:lnTo>
                <a:cubicBezTo>
                  <a:pt x="660" y="2945"/>
                  <a:pt x="0" y="3605"/>
                  <a:pt x="0" y="4418"/>
                </a:cubicBezTo>
                <a:lnTo>
                  <a:pt x="0" y="11291"/>
                </a:lnTo>
                <a:cubicBezTo>
                  <a:pt x="0" y="11427"/>
                  <a:pt x="55" y="11549"/>
                  <a:pt x="144" y="11638"/>
                </a:cubicBezTo>
                <a:lnTo>
                  <a:pt x="9962" y="21456"/>
                </a:lnTo>
                <a:cubicBezTo>
                  <a:pt x="10051" y="21546"/>
                  <a:pt x="10174" y="21600"/>
                  <a:pt x="10309" y="21600"/>
                </a:cubicBezTo>
                <a:cubicBezTo>
                  <a:pt x="10445" y="21600"/>
                  <a:pt x="10567" y="21546"/>
                  <a:pt x="10656" y="21456"/>
                </a:cubicBezTo>
                <a:lnTo>
                  <a:pt x="18511" y="13602"/>
                </a:lnTo>
                <a:cubicBezTo>
                  <a:pt x="18600" y="13513"/>
                  <a:pt x="18655" y="13390"/>
                  <a:pt x="18655" y="13255"/>
                </a:cubicBezTo>
                <a:cubicBezTo>
                  <a:pt x="18655" y="13119"/>
                  <a:pt x="18599" y="12997"/>
                  <a:pt x="18511" y="12908"/>
                </a:cubicBezTo>
                <a:cubicBezTo>
                  <a:pt x="18511" y="12908"/>
                  <a:pt x="8693" y="3090"/>
                  <a:pt x="8693" y="3090"/>
                </a:cubicBezTo>
                <a:close/>
                <a:moveTo>
                  <a:pt x="7855" y="15218"/>
                </a:moveTo>
                <a:cubicBezTo>
                  <a:pt x="7855" y="15490"/>
                  <a:pt x="8074" y="15709"/>
                  <a:pt x="8345" y="15709"/>
                </a:cubicBezTo>
                <a:cubicBezTo>
                  <a:pt x="8481" y="15709"/>
                  <a:pt x="8604" y="15655"/>
                  <a:pt x="8693" y="15565"/>
                </a:cubicBezTo>
                <a:lnTo>
                  <a:pt x="9183" y="15074"/>
                </a:lnTo>
                <a:cubicBezTo>
                  <a:pt x="9273" y="14986"/>
                  <a:pt x="9327" y="14863"/>
                  <a:pt x="9327" y="14728"/>
                </a:cubicBezTo>
                <a:cubicBezTo>
                  <a:pt x="9327" y="14456"/>
                  <a:pt x="9108" y="14236"/>
                  <a:pt x="8836" y="14236"/>
                </a:cubicBezTo>
                <a:cubicBezTo>
                  <a:pt x="8701" y="14236"/>
                  <a:pt x="8578" y="14291"/>
                  <a:pt x="8489" y="14381"/>
                </a:cubicBezTo>
                <a:lnTo>
                  <a:pt x="7998" y="14871"/>
                </a:lnTo>
                <a:cubicBezTo>
                  <a:pt x="7910" y="14961"/>
                  <a:pt x="7855" y="15083"/>
                  <a:pt x="7855" y="15218"/>
                </a:cubicBezTo>
                <a:moveTo>
                  <a:pt x="21456" y="9962"/>
                </a:moveTo>
                <a:lnTo>
                  <a:pt x="11638" y="144"/>
                </a:lnTo>
                <a:cubicBezTo>
                  <a:pt x="11549" y="55"/>
                  <a:pt x="11427" y="0"/>
                  <a:pt x="11291" y="0"/>
                </a:cubicBezTo>
                <a:lnTo>
                  <a:pt x="4418" y="0"/>
                </a:lnTo>
                <a:cubicBezTo>
                  <a:pt x="3605" y="0"/>
                  <a:pt x="2945" y="660"/>
                  <a:pt x="2945" y="1473"/>
                </a:cubicBezTo>
                <a:cubicBezTo>
                  <a:pt x="2945" y="1744"/>
                  <a:pt x="3165" y="1964"/>
                  <a:pt x="3436" y="1964"/>
                </a:cubicBezTo>
                <a:cubicBezTo>
                  <a:pt x="3708" y="1964"/>
                  <a:pt x="3927" y="1744"/>
                  <a:pt x="3927" y="1473"/>
                </a:cubicBezTo>
                <a:cubicBezTo>
                  <a:pt x="3927" y="1202"/>
                  <a:pt x="4147" y="982"/>
                  <a:pt x="4418" y="982"/>
                </a:cubicBezTo>
                <a:lnTo>
                  <a:pt x="11088" y="982"/>
                </a:lnTo>
                <a:lnTo>
                  <a:pt x="20415" y="10310"/>
                </a:lnTo>
                <a:lnTo>
                  <a:pt x="19289" y="11435"/>
                </a:lnTo>
                <a:cubicBezTo>
                  <a:pt x="19201" y="11524"/>
                  <a:pt x="19145" y="11646"/>
                  <a:pt x="19145" y="11782"/>
                </a:cubicBezTo>
                <a:cubicBezTo>
                  <a:pt x="19145" y="12053"/>
                  <a:pt x="19366" y="12273"/>
                  <a:pt x="19636" y="12273"/>
                </a:cubicBezTo>
                <a:cubicBezTo>
                  <a:pt x="19772" y="12273"/>
                  <a:pt x="19895" y="12218"/>
                  <a:pt x="19983" y="12129"/>
                </a:cubicBezTo>
                <a:lnTo>
                  <a:pt x="21456" y="10656"/>
                </a:lnTo>
                <a:cubicBezTo>
                  <a:pt x="21545" y="10567"/>
                  <a:pt x="21600" y="10445"/>
                  <a:pt x="21600" y="10310"/>
                </a:cubicBezTo>
                <a:cubicBezTo>
                  <a:pt x="21600" y="10174"/>
                  <a:pt x="21545" y="10051"/>
                  <a:pt x="21456" y="9962"/>
                </a:cubicBezTo>
                <a:moveTo>
                  <a:pt x="10309" y="13745"/>
                </a:moveTo>
                <a:cubicBezTo>
                  <a:pt x="10445" y="13745"/>
                  <a:pt x="10567" y="13691"/>
                  <a:pt x="10656" y="13602"/>
                </a:cubicBezTo>
                <a:lnTo>
                  <a:pt x="11638" y="12620"/>
                </a:lnTo>
                <a:cubicBezTo>
                  <a:pt x="11727" y="12531"/>
                  <a:pt x="11782" y="12408"/>
                  <a:pt x="11782" y="12273"/>
                </a:cubicBezTo>
                <a:cubicBezTo>
                  <a:pt x="11782" y="12002"/>
                  <a:pt x="11562" y="11782"/>
                  <a:pt x="11291" y="11782"/>
                </a:cubicBezTo>
                <a:cubicBezTo>
                  <a:pt x="11156" y="11782"/>
                  <a:pt x="11033" y="11837"/>
                  <a:pt x="10944" y="11926"/>
                </a:cubicBezTo>
                <a:lnTo>
                  <a:pt x="9962" y="12908"/>
                </a:lnTo>
                <a:cubicBezTo>
                  <a:pt x="9873" y="12997"/>
                  <a:pt x="9818" y="13119"/>
                  <a:pt x="9818" y="13255"/>
                </a:cubicBezTo>
                <a:cubicBezTo>
                  <a:pt x="9818" y="13526"/>
                  <a:pt x="10038" y="13745"/>
                  <a:pt x="10309" y="13745"/>
                </a:cubicBezTo>
                <a:moveTo>
                  <a:pt x="4418" y="7855"/>
                </a:moveTo>
                <a:cubicBezTo>
                  <a:pt x="4147" y="7855"/>
                  <a:pt x="3927" y="7635"/>
                  <a:pt x="3927" y="7364"/>
                </a:cubicBezTo>
                <a:cubicBezTo>
                  <a:pt x="3927" y="7093"/>
                  <a:pt x="4147" y="6873"/>
                  <a:pt x="4418" y="6873"/>
                </a:cubicBezTo>
                <a:cubicBezTo>
                  <a:pt x="4690" y="6873"/>
                  <a:pt x="4909" y="7093"/>
                  <a:pt x="4909" y="7364"/>
                </a:cubicBezTo>
                <a:cubicBezTo>
                  <a:pt x="4909" y="7635"/>
                  <a:pt x="4690" y="7855"/>
                  <a:pt x="4418" y="7855"/>
                </a:cubicBezTo>
                <a:moveTo>
                  <a:pt x="4418" y="5891"/>
                </a:moveTo>
                <a:cubicBezTo>
                  <a:pt x="3605" y="5891"/>
                  <a:pt x="2945" y="6551"/>
                  <a:pt x="2945" y="7364"/>
                </a:cubicBezTo>
                <a:cubicBezTo>
                  <a:pt x="2945" y="8177"/>
                  <a:pt x="3605" y="8837"/>
                  <a:pt x="4418" y="8837"/>
                </a:cubicBezTo>
                <a:cubicBezTo>
                  <a:pt x="5232" y="8837"/>
                  <a:pt x="5891" y="8177"/>
                  <a:pt x="5891" y="7364"/>
                </a:cubicBezTo>
                <a:cubicBezTo>
                  <a:pt x="5891" y="6551"/>
                  <a:pt x="5232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585">
            <a:extLst>
              <a:ext uri="{FF2B5EF4-FFF2-40B4-BE49-F238E27FC236}">
                <a16:creationId xmlns:a16="http://schemas.microsoft.com/office/drawing/2014/main" id="{770B05EE-4618-4708-B2F1-2FE19E2117DC}"/>
              </a:ext>
            </a:extLst>
          </p:cNvPr>
          <p:cNvSpPr/>
          <p:nvPr/>
        </p:nvSpPr>
        <p:spPr bwMode="gray">
          <a:xfrm>
            <a:off x="6223782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000" y="14727"/>
                </a:moveTo>
                <a:lnTo>
                  <a:pt x="5400" y="14727"/>
                </a:lnTo>
                <a:cubicBezTo>
                  <a:pt x="5069" y="14727"/>
                  <a:pt x="4800" y="14947"/>
                  <a:pt x="4800" y="15218"/>
                </a:cubicBezTo>
                <a:cubicBezTo>
                  <a:pt x="4800" y="15490"/>
                  <a:pt x="5069" y="15709"/>
                  <a:pt x="5400" y="15709"/>
                </a:cubicBezTo>
                <a:lnTo>
                  <a:pt x="9000" y="15709"/>
                </a:lnTo>
                <a:cubicBezTo>
                  <a:pt x="9331" y="15709"/>
                  <a:pt x="9600" y="15490"/>
                  <a:pt x="9600" y="15218"/>
                </a:cubicBezTo>
                <a:cubicBezTo>
                  <a:pt x="9600" y="14947"/>
                  <a:pt x="9331" y="14727"/>
                  <a:pt x="9000" y="14727"/>
                </a:cubicBezTo>
                <a:moveTo>
                  <a:pt x="20400" y="2579"/>
                </a:moveTo>
                <a:cubicBezTo>
                  <a:pt x="18840" y="3757"/>
                  <a:pt x="15638" y="4614"/>
                  <a:pt x="12466" y="4845"/>
                </a:cubicBezTo>
                <a:cubicBezTo>
                  <a:pt x="12197" y="4307"/>
                  <a:pt x="11554" y="3927"/>
                  <a:pt x="10800" y="3927"/>
                </a:cubicBezTo>
                <a:cubicBezTo>
                  <a:pt x="10046" y="3927"/>
                  <a:pt x="9403" y="4307"/>
                  <a:pt x="9135" y="4845"/>
                </a:cubicBezTo>
                <a:cubicBezTo>
                  <a:pt x="5962" y="4614"/>
                  <a:pt x="2760" y="3757"/>
                  <a:pt x="1200" y="2579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2579"/>
                  <a:pt x="20400" y="2579"/>
                </a:cubicBezTo>
                <a:close/>
                <a:moveTo>
                  <a:pt x="10200" y="5400"/>
                </a:moveTo>
                <a:cubicBezTo>
                  <a:pt x="10200" y="5129"/>
                  <a:pt x="10469" y="4909"/>
                  <a:pt x="10800" y="4909"/>
                </a:cubicBezTo>
                <a:cubicBezTo>
                  <a:pt x="11131" y="4909"/>
                  <a:pt x="11400" y="5129"/>
                  <a:pt x="11400" y="5400"/>
                </a:cubicBezTo>
                <a:cubicBezTo>
                  <a:pt x="11400" y="5672"/>
                  <a:pt x="11131" y="5891"/>
                  <a:pt x="10800" y="5891"/>
                </a:cubicBezTo>
                <a:cubicBezTo>
                  <a:pt x="10469" y="5891"/>
                  <a:pt x="10200" y="5672"/>
                  <a:pt x="10200" y="5400"/>
                </a:cubicBezTo>
                <a:moveTo>
                  <a:pt x="20400" y="19636"/>
                </a:moveTo>
                <a:cubicBezTo>
                  <a:pt x="20400" y="20178"/>
                  <a:pt x="19862" y="20619"/>
                  <a:pt x="19200" y="20619"/>
                </a:cubicBezTo>
                <a:lnTo>
                  <a:pt x="2400" y="20619"/>
                </a:lnTo>
                <a:cubicBezTo>
                  <a:pt x="1738" y="20619"/>
                  <a:pt x="1200" y="20178"/>
                  <a:pt x="1200" y="19636"/>
                </a:cubicBezTo>
                <a:lnTo>
                  <a:pt x="1200" y="3859"/>
                </a:lnTo>
                <a:cubicBezTo>
                  <a:pt x="3007" y="4894"/>
                  <a:pt x="6118" y="5617"/>
                  <a:pt x="9086" y="5827"/>
                </a:cubicBezTo>
                <a:cubicBezTo>
                  <a:pt x="9311" y="6431"/>
                  <a:pt x="9988" y="6873"/>
                  <a:pt x="10800" y="6873"/>
                </a:cubicBezTo>
                <a:cubicBezTo>
                  <a:pt x="11611" y="6873"/>
                  <a:pt x="12289" y="6431"/>
                  <a:pt x="12514" y="5827"/>
                </a:cubicBezTo>
                <a:cubicBezTo>
                  <a:pt x="15482" y="5617"/>
                  <a:pt x="18593" y="4894"/>
                  <a:pt x="20400" y="3859"/>
                </a:cubicBezTo>
                <a:cubicBezTo>
                  <a:pt x="20400" y="3859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7800" y="16691"/>
                </a:moveTo>
                <a:lnTo>
                  <a:pt x="5400" y="16691"/>
                </a:lnTo>
                <a:cubicBezTo>
                  <a:pt x="5069" y="16691"/>
                  <a:pt x="4800" y="16911"/>
                  <a:pt x="4800" y="17182"/>
                </a:cubicBezTo>
                <a:cubicBezTo>
                  <a:pt x="4800" y="17453"/>
                  <a:pt x="5069" y="17673"/>
                  <a:pt x="5400" y="17673"/>
                </a:cubicBezTo>
                <a:lnTo>
                  <a:pt x="7800" y="17673"/>
                </a:lnTo>
                <a:cubicBezTo>
                  <a:pt x="8131" y="17673"/>
                  <a:pt x="8400" y="17453"/>
                  <a:pt x="8400" y="17182"/>
                </a:cubicBezTo>
                <a:cubicBezTo>
                  <a:pt x="8400" y="16911"/>
                  <a:pt x="8131" y="16691"/>
                  <a:pt x="7800" y="166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586">
            <a:extLst>
              <a:ext uri="{FF2B5EF4-FFF2-40B4-BE49-F238E27FC236}">
                <a16:creationId xmlns:a16="http://schemas.microsoft.com/office/drawing/2014/main" id="{962D5438-24D0-4122-B880-80A3392140F2}"/>
              </a:ext>
            </a:extLst>
          </p:cNvPr>
          <p:cNvSpPr/>
          <p:nvPr/>
        </p:nvSpPr>
        <p:spPr bwMode="gray">
          <a:xfrm>
            <a:off x="6775807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00" y="6076"/>
                </a:moveTo>
                <a:cubicBezTo>
                  <a:pt x="14428" y="7109"/>
                  <a:pt x="12685" y="7649"/>
                  <a:pt x="10071" y="7803"/>
                </a:cubicBezTo>
                <a:cubicBezTo>
                  <a:pt x="9806" y="7259"/>
                  <a:pt x="9160" y="6873"/>
                  <a:pt x="8400" y="6873"/>
                </a:cubicBezTo>
                <a:cubicBezTo>
                  <a:pt x="7640" y="6873"/>
                  <a:pt x="6994" y="7259"/>
                  <a:pt x="6729" y="7803"/>
                </a:cubicBezTo>
                <a:cubicBezTo>
                  <a:pt x="4115" y="7649"/>
                  <a:pt x="2372" y="7109"/>
                  <a:pt x="1200" y="6076"/>
                </a:cubicBezTo>
                <a:lnTo>
                  <a:pt x="1200" y="5891"/>
                </a:lnTo>
                <a:cubicBezTo>
                  <a:pt x="1200" y="5349"/>
                  <a:pt x="1738" y="4909"/>
                  <a:pt x="2400" y="4909"/>
                </a:cubicBezTo>
                <a:lnTo>
                  <a:pt x="14400" y="4909"/>
                </a:lnTo>
                <a:cubicBezTo>
                  <a:pt x="15062" y="4909"/>
                  <a:pt x="15600" y="5349"/>
                  <a:pt x="15600" y="5891"/>
                </a:cubicBezTo>
                <a:cubicBezTo>
                  <a:pt x="15600" y="5891"/>
                  <a:pt x="15600" y="6076"/>
                  <a:pt x="15600" y="6076"/>
                </a:cubicBezTo>
                <a:close/>
                <a:moveTo>
                  <a:pt x="7800" y="8346"/>
                </a:moveTo>
                <a:cubicBezTo>
                  <a:pt x="7800" y="8074"/>
                  <a:pt x="8069" y="7855"/>
                  <a:pt x="8400" y="7855"/>
                </a:cubicBezTo>
                <a:cubicBezTo>
                  <a:pt x="8731" y="7855"/>
                  <a:pt x="9000" y="8074"/>
                  <a:pt x="9000" y="8346"/>
                </a:cubicBezTo>
                <a:cubicBezTo>
                  <a:pt x="9000" y="8617"/>
                  <a:pt x="8731" y="8836"/>
                  <a:pt x="8400" y="8836"/>
                </a:cubicBezTo>
                <a:cubicBezTo>
                  <a:pt x="8069" y="8836"/>
                  <a:pt x="7800" y="8617"/>
                  <a:pt x="7800" y="8346"/>
                </a:cubicBezTo>
                <a:moveTo>
                  <a:pt x="15600" y="19636"/>
                </a:moveTo>
                <a:cubicBezTo>
                  <a:pt x="15600" y="20179"/>
                  <a:pt x="15062" y="20619"/>
                  <a:pt x="14400" y="20619"/>
                </a:cubicBezTo>
                <a:lnTo>
                  <a:pt x="2400" y="20619"/>
                </a:lnTo>
                <a:cubicBezTo>
                  <a:pt x="1738" y="20619"/>
                  <a:pt x="1200" y="20179"/>
                  <a:pt x="1200" y="19636"/>
                </a:cubicBezTo>
                <a:lnTo>
                  <a:pt x="1200" y="7318"/>
                </a:lnTo>
                <a:cubicBezTo>
                  <a:pt x="2658" y="8244"/>
                  <a:pt x="4301" y="8666"/>
                  <a:pt x="6693" y="8790"/>
                </a:cubicBezTo>
                <a:cubicBezTo>
                  <a:pt x="6924" y="9385"/>
                  <a:pt x="7597" y="9819"/>
                  <a:pt x="8400" y="9819"/>
                </a:cubicBezTo>
                <a:cubicBezTo>
                  <a:pt x="9203" y="9819"/>
                  <a:pt x="9875" y="9385"/>
                  <a:pt x="10108" y="8790"/>
                </a:cubicBezTo>
                <a:cubicBezTo>
                  <a:pt x="12499" y="8666"/>
                  <a:pt x="14142" y="8244"/>
                  <a:pt x="15600" y="7318"/>
                </a:cubicBezTo>
                <a:cubicBezTo>
                  <a:pt x="15600" y="7318"/>
                  <a:pt x="15600" y="19636"/>
                  <a:pt x="15600" y="19636"/>
                </a:cubicBezTo>
                <a:close/>
                <a:moveTo>
                  <a:pt x="14400" y="3927"/>
                </a:moveTo>
                <a:lnTo>
                  <a:pt x="2400" y="3927"/>
                </a:lnTo>
                <a:cubicBezTo>
                  <a:pt x="1075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4400" y="21600"/>
                </a:lnTo>
                <a:cubicBezTo>
                  <a:pt x="15725" y="21600"/>
                  <a:pt x="16800" y="20721"/>
                  <a:pt x="16800" y="19636"/>
                </a:cubicBezTo>
                <a:lnTo>
                  <a:pt x="16800" y="5891"/>
                </a:lnTo>
                <a:cubicBezTo>
                  <a:pt x="16800" y="4806"/>
                  <a:pt x="15725" y="3927"/>
                  <a:pt x="14400" y="3927"/>
                </a:cubicBezTo>
                <a:moveTo>
                  <a:pt x="5400" y="17673"/>
                </a:moveTo>
                <a:lnTo>
                  <a:pt x="4200" y="17673"/>
                </a:lnTo>
                <a:cubicBezTo>
                  <a:pt x="3869" y="17673"/>
                  <a:pt x="3600" y="17893"/>
                  <a:pt x="3600" y="18164"/>
                </a:cubicBezTo>
                <a:cubicBezTo>
                  <a:pt x="3600" y="18435"/>
                  <a:pt x="3869" y="18655"/>
                  <a:pt x="4200" y="18655"/>
                </a:cubicBezTo>
                <a:lnTo>
                  <a:pt x="5400" y="18655"/>
                </a:lnTo>
                <a:cubicBezTo>
                  <a:pt x="5731" y="18655"/>
                  <a:pt x="6000" y="18435"/>
                  <a:pt x="6000" y="18164"/>
                </a:cubicBezTo>
                <a:cubicBezTo>
                  <a:pt x="6000" y="17893"/>
                  <a:pt x="5731" y="17673"/>
                  <a:pt x="5400" y="17673"/>
                </a:cubicBezTo>
                <a:moveTo>
                  <a:pt x="6600" y="15709"/>
                </a:move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lnTo>
                  <a:pt x="6600" y="16691"/>
                </a:lnTo>
                <a:cubicBezTo>
                  <a:pt x="6931" y="16691"/>
                  <a:pt x="7200" y="16472"/>
                  <a:pt x="7200" y="16200"/>
                </a:cubicBezTo>
                <a:cubicBezTo>
                  <a:pt x="7200" y="15929"/>
                  <a:pt x="6931" y="15709"/>
                  <a:pt x="6600" y="15709"/>
                </a:cubicBezTo>
                <a:moveTo>
                  <a:pt x="19200" y="0"/>
                </a:moveTo>
                <a:lnTo>
                  <a:pt x="7200" y="0"/>
                </a:lnTo>
                <a:cubicBezTo>
                  <a:pt x="5875" y="0"/>
                  <a:pt x="4800" y="879"/>
                  <a:pt x="4800" y="1964"/>
                </a:cubicBezTo>
                <a:lnTo>
                  <a:pt x="4800" y="2455"/>
                </a:lnTo>
                <a:cubicBezTo>
                  <a:pt x="4800" y="2726"/>
                  <a:pt x="5069" y="2945"/>
                  <a:pt x="5400" y="2945"/>
                </a:cubicBezTo>
                <a:cubicBezTo>
                  <a:pt x="5731" y="2945"/>
                  <a:pt x="6000" y="2726"/>
                  <a:pt x="6000" y="2455"/>
                </a:cubicBezTo>
                <a:lnTo>
                  <a:pt x="6000" y="1964"/>
                </a:lnTo>
                <a:cubicBezTo>
                  <a:pt x="6000" y="1422"/>
                  <a:pt x="6538" y="982"/>
                  <a:pt x="72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lnTo>
                  <a:pt x="20400" y="15709"/>
                </a:lnTo>
                <a:cubicBezTo>
                  <a:pt x="20400" y="16252"/>
                  <a:pt x="19862" y="16691"/>
                  <a:pt x="19200" y="16691"/>
                </a:cubicBezTo>
                <a:lnTo>
                  <a:pt x="18600" y="16691"/>
                </a:lnTo>
                <a:cubicBezTo>
                  <a:pt x="18269" y="16691"/>
                  <a:pt x="18000" y="16911"/>
                  <a:pt x="18000" y="17182"/>
                </a:cubicBezTo>
                <a:cubicBezTo>
                  <a:pt x="18000" y="17453"/>
                  <a:pt x="18269" y="17673"/>
                  <a:pt x="18600" y="17673"/>
                </a:cubicBezTo>
                <a:lnTo>
                  <a:pt x="19200" y="17673"/>
                </a:lnTo>
                <a:cubicBezTo>
                  <a:pt x="20525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587">
            <a:extLst>
              <a:ext uri="{FF2B5EF4-FFF2-40B4-BE49-F238E27FC236}">
                <a16:creationId xmlns:a16="http://schemas.microsoft.com/office/drawing/2014/main" id="{D564BC17-4F8B-4253-93B9-918D16E39F0F}"/>
              </a:ext>
            </a:extLst>
          </p:cNvPr>
          <p:cNvSpPr/>
          <p:nvPr/>
        </p:nvSpPr>
        <p:spPr bwMode="gray">
          <a:xfrm>
            <a:off x="7301544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588">
            <a:extLst>
              <a:ext uri="{FF2B5EF4-FFF2-40B4-BE49-F238E27FC236}">
                <a16:creationId xmlns:a16="http://schemas.microsoft.com/office/drawing/2014/main" id="{973A4AF9-A042-4858-947E-20CF5E7A99B9}"/>
              </a:ext>
            </a:extLst>
          </p:cNvPr>
          <p:cNvSpPr/>
          <p:nvPr/>
        </p:nvSpPr>
        <p:spPr bwMode="gray">
          <a:xfrm>
            <a:off x="7853568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589">
            <a:extLst>
              <a:ext uri="{FF2B5EF4-FFF2-40B4-BE49-F238E27FC236}">
                <a16:creationId xmlns:a16="http://schemas.microsoft.com/office/drawing/2014/main" id="{5ACB5F67-5C2D-4BFE-AA70-E0B2557DEC79}"/>
              </a:ext>
            </a:extLst>
          </p:cNvPr>
          <p:cNvSpPr/>
          <p:nvPr/>
        </p:nvSpPr>
        <p:spPr bwMode="gray">
          <a:xfrm>
            <a:off x="8405593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5119"/>
                </a:moveTo>
                <a:cubicBezTo>
                  <a:pt x="7195" y="15119"/>
                  <a:pt x="7855" y="14394"/>
                  <a:pt x="7855" y="13500"/>
                </a:cubicBezTo>
                <a:cubicBezTo>
                  <a:pt x="7855" y="12605"/>
                  <a:pt x="7195" y="11880"/>
                  <a:pt x="6382" y="11880"/>
                </a:cubicBezTo>
                <a:cubicBezTo>
                  <a:pt x="5568" y="11880"/>
                  <a:pt x="4909" y="12605"/>
                  <a:pt x="4909" y="13500"/>
                </a:cubicBezTo>
                <a:cubicBezTo>
                  <a:pt x="4909" y="14394"/>
                  <a:pt x="5568" y="15119"/>
                  <a:pt x="6382" y="15119"/>
                </a:cubicBezTo>
                <a:moveTo>
                  <a:pt x="2455" y="3240"/>
                </a:moveTo>
                <a:cubicBezTo>
                  <a:pt x="2725" y="3240"/>
                  <a:pt x="2945" y="2999"/>
                  <a:pt x="2945" y="2700"/>
                </a:cubicBezTo>
                <a:cubicBezTo>
                  <a:pt x="2945" y="2402"/>
                  <a:pt x="2725" y="2160"/>
                  <a:pt x="2455" y="2160"/>
                </a:cubicBezTo>
                <a:cubicBezTo>
                  <a:pt x="2184" y="2160"/>
                  <a:pt x="1964" y="2402"/>
                  <a:pt x="1964" y="2700"/>
                </a:cubicBezTo>
                <a:cubicBezTo>
                  <a:pt x="1964" y="2999"/>
                  <a:pt x="2184" y="3240"/>
                  <a:pt x="2455" y="3240"/>
                </a:cubicBezTo>
                <a:moveTo>
                  <a:pt x="3927" y="8100"/>
                </a:moveTo>
                <a:cubicBezTo>
                  <a:pt x="3927" y="6609"/>
                  <a:pt x="5026" y="5400"/>
                  <a:pt x="6382" y="5400"/>
                </a:cubicBezTo>
                <a:cubicBezTo>
                  <a:pt x="7738" y="5400"/>
                  <a:pt x="8836" y="6609"/>
                  <a:pt x="8836" y="8100"/>
                </a:cubicBezTo>
                <a:lnTo>
                  <a:pt x="8836" y="13500"/>
                </a:lnTo>
                <a:cubicBezTo>
                  <a:pt x="8836" y="14991"/>
                  <a:pt x="7738" y="16199"/>
                  <a:pt x="6382" y="16199"/>
                </a:cubicBezTo>
                <a:cubicBezTo>
                  <a:pt x="5026" y="16199"/>
                  <a:pt x="3927" y="14991"/>
                  <a:pt x="3927" y="13500"/>
                </a:cubicBezTo>
                <a:cubicBezTo>
                  <a:pt x="3927" y="13500"/>
                  <a:pt x="3927" y="8100"/>
                  <a:pt x="3927" y="8100"/>
                </a:cubicBezTo>
                <a:close/>
                <a:moveTo>
                  <a:pt x="2945" y="13500"/>
                </a:moveTo>
                <a:cubicBezTo>
                  <a:pt x="2945" y="15587"/>
                  <a:pt x="4484" y="17279"/>
                  <a:pt x="6382" y="17279"/>
                </a:cubicBezTo>
                <a:cubicBezTo>
                  <a:pt x="8280" y="17279"/>
                  <a:pt x="9818" y="15587"/>
                  <a:pt x="9818" y="13500"/>
                </a:cubicBezTo>
                <a:lnTo>
                  <a:pt x="9818" y="8100"/>
                </a:lnTo>
                <a:cubicBezTo>
                  <a:pt x="9818" y="6012"/>
                  <a:pt x="8280" y="4320"/>
                  <a:pt x="6382" y="4320"/>
                </a:cubicBezTo>
                <a:cubicBezTo>
                  <a:pt x="4484" y="4320"/>
                  <a:pt x="2945" y="6012"/>
                  <a:pt x="2945" y="8100"/>
                </a:cubicBezTo>
                <a:cubicBezTo>
                  <a:pt x="2945" y="8100"/>
                  <a:pt x="2945" y="13500"/>
                  <a:pt x="2945" y="13500"/>
                </a:cubicBezTo>
                <a:close/>
                <a:moveTo>
                  <a:pt x="2455" y="19439"/>
                </a:moveTo>
                <a:cubicBezTo>
                  <a:pt x="2725" y="19439"/>
                  <a:pt x="2945" y="19198"/>
                  <a:pt x="2945" y="18899"/>
                </a:cubicBezTo>
                <a:cubicBezTo>
                  <a:pt x="2945" y="18601"/>
                  <a:pt x="2725" y="18359"/>
                  <a:pt x="2455" y="18359"/>
                </a:cubicBezTo>
                <a:cubicBezTo>
                  <a:pt x="2184" y="18359"/>
                  <a:pt x="1964" y="18601"/>
                  <a:pt x="1964" y="18899"/>
                </a:cubicBezTo>
                <a:cubicBezTo>
                  <a:pt x="1964" y="19198"/>
                  <a:pt x="2184" y="19439"/>
                  <a:pt x="2455" y="19439"/>
                </a:cubicBezTo>
                <a:moveTo>
                  <a:pt x="20618" y="20519"/>
                </a:moveTo>
                <a:lnTo>
                  <a:pt x="982" y="20519"/>
                </a:lnTo>
                <a:lnTo>
                  <a:pt x="982" y="1080"/>
                </a:lnTo>
                <a:lnTo>
                  <a:pt x="20618" y="1080"/>
                </a:lnTo>
                <a:cubicBezTo>
                  <a:pt x="20618" y="1080"/>
                  <a:pt x="20618" y="20519"/>
                  <a:pt x="20618" y="2051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20519"/>
                </a:lnTo>
                <a:cubicBezTo>
                  <a:pt x="0" y="2111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115"/>
                  <a:pt x="21600" y="20519"/>
                </a:cubicBezTo>
                <a:lnTo>
                  <a:pt x="21600" y="1080"/>
                </a:lnTo>
                <a:cubicBezTo>
                  <a:pt x="21600" y="484"/>
                  <a:pt x="21160" y="0"/>
                  <a:pt x="20618" y="0"/>
                </a:cubicBezTo>
                <a:moveTo>
                  <a:pt x="19145" y="3240"/>
                </a:moveTo>
                <a:cubicBezTo>
                  <a:pt x="19416" y="3240"/>
                  <a:pt x="19636" y="2999"/>
                  <a:pt x="19636" y="2700"/>
                </a:cubicBezTo>
                <a:cubicBezTo>
                  <a:pt x="19636" y="2402"/>
                  <a:pt x="19416" y="2160"/>
                  <a:pt x="19145" y="2160"/>
                </a:cubicBezTo>
                <a:cubicBezTo>
                  <a:pt x="18875" y="2160"/>
                  <a:pt x="18655" y="2402"/>
                  <a:pt x="18655" y="2700"/>
                </a:cubicBezTo>
                <a:cubicBezTo>
                  <a:pt x="18655" y="2999"/>
                  <a:pt x="18875" y="3240"/>
                  <a:pt x="19145" y="3240"/>
                </a:cubicBezTo>
                <a:moveTo>
                  <a:pt x="12764" y="8100"/>
                </a:moveTo>
                <a:cubicBezTo>
                  <a:pt x="12764" y="6609"/>
                  <a:pt x="13863" y="5400"/>
                  <a:pt x="15218" y="5400"/>
                </a:cubicBezTo>
                <a:cubicBezTo>
                  <a:pt x="16574" y="5400"/>
                  <a:pt x="17673" y="6609"/>
                  <a:pt x="17673" y="8100"/>
                </a:cubicBezTo>
                <a:lnTo>
                  <a:pt x="17673" y="13500"/>
                </a:lnTo>
                <a:cubicBezTo>
                  <a:pt x="17673" y="14991"/>
                  <a:pt x="16574" y="16199"/>
                  <a:pt x="15218" y="16199"/>
                </a:cubicBezTo>
                <a:cubicBezTo>
                  <a:pt x="13863" y="16199"/>
                  <a:pt x="12764" y="14991"/>
                  <a:pt x="12764" y="13500"/>
                </a:cubicBezTo>
                <a:cubicBezTo>
                  <a:pt x="12764" y="13500"/>
                  <a:pt x="12764" y="8100"/>
                  <a:pt x="12764" y="8100"/>
                </a:cubicBezTo>
                <a:close/>
                <a:moveTo>
                  <a:pt x="15218" y="17279"/>
                </a:moveTo>
                <a:cubicBezTo>
                  <a:pt x="17116" y="17279"/>
                  <a:pt x="18655" y="15587"/>
                  <a:pt x="18655" y="13500"/>
                </a:cubicBezTo>
                <a:lnTo>
                  <a:pt x="18655" y="8100"/>
                </a:lnTo>
                <a:cubicBezTo>
                  <a:pt x="18655" y="6012"/>
                  <a:pt x="17116" y="4320"/>
                  <a:pt x="15218" y="4320"/>
                </a:cubicBezTo>
                <a:cubicBezTo>
                  <a:pt x="13320" y="4320"/>
                  <a:pt x="11782" y="6012"/>
                  <a:pt x="11782" y="8100"/>
                </a:cubicBezTo>
                <a:lnTo>
                  <a:pt x="11782" y="13500"/>
                </a:lnTo>
                <a:cubicBezTo>
                  <a:pt x="11782" y="15587"/>
                  <a:pt x="13320" y="17279"/>
                  <a:pt x="15218" y="17279"/>
                </a:cubicBezTo>
                <a:moveTo>
                  <a:pt x="15218" y="9720"/>
                </a:moveTo>
                <a:cubicBezTo>
                  <a:pt x="16032" y="9720"/>
                  <a:pt x="16691" y="8995"/>
                  <a:pt x="16691" y="8100"/>
                </a:cubicBezTo>
                <a:cubicBezTo>
                  <a:pt x="16691" y="7206"/>
                  <a:pt x="16032" y="6480"/>
                  <a:pt x="15218" y="6480"/>
                </a:cubicBezTo>
                <a:cubicBezTo>
                  <a:pt x="14405" y="6480"/>
                  <a:pt x="13745" y="7206"/>
                  <a:pt x="13745" y="8100"/>
                </a:cubicBezTo>
                <a:cubicBezTo>
                  <a:pt x="13745" y="8995"/>
                  <a:pt x="14405" y="9720"/>
                  <a:pt x="15218" y="9720"/>
                </a:cubicBezTo>
                <a:moveTo>
                  <a:pt x="19145" y="18359"/>
                </a:moveTo>
                <a:cubicBezTo>
                  <a:pt x="18875" y="18359"/>
                  <a:pt x="18655" y="18601"/>
                  <a:pt x="18655" y="18899"/>
                </a:cubicBezTo>
                <a:cubicBezTo>
                  <a:pt x="18655" y="19198"/>
                  <a:pt x="18875" y="19439"/>
                  <a:pt x="19145" y="19439"/>
                </a:cubicBezTo>
                <a:cubicBezTo>
                  <a:pt x="19416" y="19439"/>
                  <a:pt x="19636" y="19198"/>
                  <a:pt x="19636" y="18899"/>
                </a:cubicBezTo>
                <a:cubicBezTo>
                  <a:pt x="19636" y="18601"/>
                  <a:pt x="19416" y="18359"/>
                  <a:pt x="19145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590">
            <a:extLst>
              <a:ext uri="{FF2B5EF4-FFF2-40B4-BE49-F238E27FC236}">
                <a16:creationId xmlns:a16="http://schemas.microsoft.com/office/drawing/2014/main" id="{ED1E1FC7-C65D-4B58-8BDD-8934BD594B94}"/>
              </a:ext>
            </a:extLst>
          </p:cNvPr>
          <p:cNvSpPr/>
          <p:nvPr/>
        </p:nvSpPr>
        <p:spPr bwMode="gray">
          <a:xfrm>
            <a:off x="8957617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5" y="6382"/>
                </a:moveTo>
                <a:cubicBezTo>
                  <a:pt x="7313" y="6382"/>
                  <a:pt x="6873" y="5943"/>
                  <a:pt x="6873" y="5400"/>
                </a:cubicBezTo>
                <a:cubicBezTo>
                  <a:pt x="6873" y="4858"/>
                  <a:pt x="7313" y="4418"/>
                  <a:pt x="7855" y="4418"/>
                </a:cubicBezTo>
                <a:cubicBezTo>
                  <a:pt x="8396" y="4418"/>
                  <a:pt x="8836" y="4858"/>
                  <a:pt x="8836" y="5400"/>
                </a:cubicBezTo>
                <a:cubicBezTo>
                  <a:pt x="8836" y="5943"/>
                  <a:pt x="8396" y="6382"/>
                  <a:pt x="7855" y="6382"/>
                </a:cubicBezTo>
                <a:moveTo>
                  <a:pt x="18164" y="4909"/>
                </a:moveTo>
                <a:lnTo>
                  <a:pt x="9749" y="4909"/>
                </a:lnTo>
                <a:cubicBezTo>
                  <a:pt x="9530" y="4064"/>
                  <a:pt x="8768" y="3436"/>
                  <a:pt x="7855" y="3436"/>
                </a:cubicBezTo>
                <a:cubicBezTo>
                  <a:pt x="6941" y="3436"/>
                  <a:pt x="6180" y="4064"/>
                  <a:pt x="5960" y="4909"/>
                </a:cubicBezTo>
                <a:lnTo>
                  <a:pt x="3436" y="4909"/>
                </a:lnTo>
                <a:cubicBezTo>
                  <a:pt x="3165" y="4909"/>
                  <a:pt x="2945" y="5129"/>
                  <a:pt x="2945" y="5400"/>
                </a:cubicBezTo>
                <a:cubicBezTo>
                  <a:pt x="2945" y="5672"/>
                  <a:pt x="3165" y="5891"/>
                  <a:pt x="3436" y="5891"/>
                </a:cubicBezTo>
                <a:lnTo>
                  <a:pt x="5960" y="5891"/>
                </a:lnTo>
                <a:cubicBezTo>
                  <a:pt x="6180" y="6737"/>
                  <a:pt x="6941" y="7364"/>
                  <a:pt x="7855" y="7364"/>
                </a:cubicBezTo>
                <a:cubicBezTo>
                  <a:pt x="8768" y="7364"/>
                  <a:pt x="9530" y="6737"/>
                  <a:pt x="9749" y="5891"/>
                </a:cubicBezTo>
                <a:lnTo>
                  <a:pt x="18164" y="5891"/>
                </a:lnTo>
                <a:cubicBezTo>
                  <a:pt x="18435" y="5891"/>
                  <a:pt x="18655" y="5672"/>
                  <a:pt x="18655" y="5400"/>
                </a:cubicBezTo>
                <a:cubicBezTo>
                  <a:pt x="18655" y="5129"/>
                  <a:pt x="18435" y="4909"/>
                  <a:pt x="18164" y="4909"/>
                </a:cubicBezTo>
                <a:moveTo>
                  <a:pt x="14727" y="11782"/>
                </a:moveTo>
                <a:cubicBezTo>
                  <a:pt x="14186" y="11782"/>
                  <a:pt x="13745" y="11342"/>
                  <a:pt x="13745" y="10800"/>
                </a:cubicBezTo>
                <a:cubicBezTo>
                  <a:pt x="13745" y="10258"/>
                  <a:pt x="14186" y="9818"/>
                  <a:pt x="14727" y="9818"/>
                </a:cubicBezTo>
                <a:cubicBezTo>
                  <a:pt x="15269" y="9818"/>
                  <a:pt x="15709" y="10258"/>
                  <a:pt x="15709" y="10800"/>
                </a:cubicBezTo>
                <a:cubicBezTo>
                  <a:pt x="15709" y="11342"/>
                  <a:pt x="15269" y="11782"/>
                  <a:pt x="14727" y="11782"/>
                </a:cubicBezTo>
                <a:moveTo>
                  <a:pt x="18164" y="10310"/>
                </a:moveTo>
                <a:lnTo>
                  <a:pt x="16621" y="10310"/>
                </a:lnTo>
                <a:cubicBezTo>
                  <a:pt x="16402" y="9464"/>
                  <a:pt x="15641" y="8836"/>
                  <a:pt x="14727" y="8836"/>
                </a:cubicBezTo>
                <a:cubicBezTo>
                  <a:pt x="13814" y="8836"/>
                  <a:pt x="13052" y="9464"/>
                  <a:pt x="12833" y="10310"/>
                </a:cubicBezTo>
                <a:lnTo>
                  <a:pt x="3436" y="10310"/>
                </a:lnTo>
                <a:cubicBezTo>
                  <a:pt x="3165" y="10310"/>
                  <a:pt x="2945" y="10529"/>
                  <a:pt x="2945" y="10800"/>
                </a:cubicBezTo>
                <a:cubicBezTo>
                  <a:pt x="2945" y="11072"/>
                  <a:pt x="3165" y="11291"/>
                  <a:pt x="3436" y="11291"/>
                </a:cubicBezTo>
                <a:lnTo>
                  <a:pt x="12833" y="11291"/>
                </a:lnTo>
                <a:cubicBezTo>
                  <a:pt x="13052" y="12137"/>
                  <a:pt x="13814" y="12764"/>
                  <a:pt x="14727" y="12764"/>
                </a:cubicBezTo>
                <a:cubicBezTo>
                  <a:pt x="15641" y="12764"/>
                  <a:pt x="16402" y="12137"/>
                  <a:pt x="16621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9818" y="17182"/>
                </a:moveTo>
                <a:cubicBezTo>
                  <a:pt x="9276" y="17182"/>
                  <a:pt x="8836" y="16743"/>
                  <a:pt x="8836" y="16200"/>
                </a:cubicBezTo>
                <a:cubicBezTo>
                  <a:pt x="8836" y="15658"/>
                  <a:pt x="9276" y="15218"/>
                  <a:pt x="9818" y="15218"/>
                </a:cubicBezTo>
                <a:cubicBezTo>
                  <a:pt x="10360" y="15218"/>
                  <a:pt x="10800" y="15658"/>
                  <a:pt x="10800" y="16200"/>
                </a:cubicBezTo>
                <a:cubicBezTo>
                  <a:pt x="10800" y="16743"/>
                  <a:pt x="10360" y="17182"/>
                  <a:pt x="9818" y="17182"/>
                </a:cubicBezTo>
                <a:moveTo>
                  <a:pt x="18164" y="15709"/>
                </a:moveTo>
                <a:lnTo>
                  <a:pt x="11712" y="15709"/>
                </a:lnTo>
                <a:cubicBezTo>
                  <a:pt x="11493" y="14863"/>
                  <a:pt x="10732" y="14237"/>
                  <a:pt x="9818" y="14237"/>
                </a:cubicBezTo>
                <a:cubicBezTo>
                  <a:pt x="8904" y="14237"/>
                  <a:pt x="8143" y="14863"/>
                  <a:pt x="7924" y="15709"/>
                </a:cubicBezTo>
                <a:lnTo>
                  <a:pt x="3436" y="15709"/>
                </a:lnTo>
                <a:cubicBezTo>
                  <a:pt x="3165" y="15709"/>
                  <a:pt x="2945" y="15929"/>
                  <a:pt x="2945" y="16200"/>
                </a:cubicBezTo>
                <a:cubicBezTo>
                  <a:pt x="2945" y="16472"/>
                  <a:pt x="3165" y="16691"/>
                  <a:pt x="3436" y="16691"/>
                </a:cubicBezTo>
                <a:lnTo>
                  <a:pt x="7924" y="16691"/>
                </a:lnTo>
                <a:cubicBezTo>
                  <a:pt x="8143" y="17537"/>
                  <a:pt x="8904" y="18164"/>
                  <a:pt x="9818" y="18164"/>
                </a:cubicBezTo>
                <a:cubicBezTo>
                  <a:pt x="10732" y="18164"/>
                  <a:pt x="11493" y="17537"/>
                  <a:pt x="11712" y="16691"/>
                </a:cubicBezTo>
                <a:lnTo>
                  <a:pt x="18164" y="16691"/>
                </a:lnTo>
                <a:cubicBezTo>
                  <a:pt x="18435" y="16691"/>
                  <a:pt x="18655" y="16472"/>
                  <a:pt x="18655" y="16200"/>
                </a:cubicBezTo>
                <a:cubicBezTo>
                  <a:pt x="18655" y="15929"/>
                  <a:pt x="18435" y="15709"/>
                  <a:pt x="18164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591">
            <a:extLst>
              <a:ext uri="{FF2B5EF4-FFF2-40B4-BE49-F238E27FC236}">
                <a16:creationId xmlns:a16="http://schemas.microsoft.com/office/drawing/2014/main" id="{BAB50533-5855-48A5-8918-54887D926304}"/>
              </a:ext>
            </a:extLst>
          </p:cNvPr>
          <p:cNvSpPr/>
          <p:nvPr/>
        </p:nvSpPr>
        <p:spPr bwMode="gray">
          <a:xfrm>
            <a:off x="9509642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592">
            <a:extLst>
              <a:ext uri="{FF2B5EF4-FFF2-40B4-BE49-F238E27FC236}">
                <a16:creationId xmlns:a16="http://schemas.microsoft.com/office/drawing/2014/main" id="{D52C477D-1B97-4DCC-890F-4C2992682832}"/>
              </a:ext>
            </a:extLst>
          </p:cNvPr>
          <p:cNvSpPr/>
          <p:nvPr/>
        </p:nvSpPr>
        <p:spPr bwMode="gray">
          <a:xfrm>
            <a:off x="10061666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2012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2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8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2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8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2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9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9"/>
                  <a:pt x="3000" y="4715"/>
                </a:cubicBezTo>
                <a:lnTo>
                  <a:pt x="4715" y="3000"/>
                </a:lnTo>
                <a:lnTo>
                  <a:pt x="5621" y="3543"/>
                </a:lnTo>
                <a:cubicBezTo>
                  <a:pt x="5777" y="3637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2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2"/>
                  <a:pt x="9331" y="2006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6"/>
                </a:lnTo>
                <a:cubicBezTo>
                  <a:pt x="12356" y="2352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2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7"/>
                  <a:pt x="15978" y="3543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9"/>
                  <a:pt x="18597" y="4722"/>
                  <a:pt x="18595" y="4725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2"/>
                  <a:pt x="20618" y="12012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9"/>
                  <a:pt x="17136" y="1968"/>
                  <a:pt x="16975" y="1968"/>
                </a:cubicBezTo>
                <a:cubicBezTo>
                  <a:pt x="16778" y="1968"/>
                  <a:pt x="16572" y="2043"/>
                  <a:pt x="16400" y="2145"/>
                </a:cubicBezTo>
                <a:lnTo>
                  <a:pt x="15473" y="2701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1"/>
                </a:cubicBezTo>
                <a:lnTo>
                  <a:pt x="5200" y="2145"/>
                </a:lnTo>
                <a:cubicBezTo>
                  <a:pt x="5028" y="2043"/>
                  <a:pt x="4822" y="1968"/>
                  <a:pt x="4625" y="1968"/>
                </a:cubicBezTo>
                <a:cubicBezTo>
                  <a:pt x="4464" y="1968"/>
                  <a:pt x="4308" y="2019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2"/>
                  <a:pt x="0" y="9361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9"/>
                </a:cubicBezTo>
                <a:lnTo>
                  <a:pt x="2145" y="16400"/>
                </a:lnTo>
                <a:cubicBezTo>
                  <a:pt x="1959" y="16713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3"/>
                  <a:pt x="19455" y="16400"/>
                </a:cubicBezTo>
                <a:lnTo>
                  <a:pt x="18902" y="15479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1"/>
                </a:lnTo>
                <a:cubicBezTo>
                  <a:pt x="21600" y="8962"/>
                  <a:pt x="21233" y="8730"/>
                  <a:pt x="20880" y="8641"/>
                </a:cubicBezTo>
                <a:moveTo>
                  <a:pt x="15709" y="10800"/>
                </a:moveTo>
                <a:cubicBezTo>
                  <a:pt x="15709" y="13346"/>
                  <a:pt x="13771" y="15438"/>
                  <a:pt x="11291" y="15685"/>
                </a:cubicBezTo>
                <a:lnTo>
                  <a:pt x="11291" y="12694"/>
                </a:lnTo>
                <a:cubicBezTo>
                  <a:pt x="12137" y="12476"/>
                  <a:pt x="12764" y="11714"/>
                  <a:pt x="12764" y="10800"/>
                </a:cubicBezTo>
                <a:cubicBezTo>
                  <a:pt x="12764" y="10630"/>
                  <a:pt x="12735" y="10468"/>
                  <a:pt x="12694" y="10310"/>
                </a:cubicBezTo>
                <a:lnTo>
                  <a:pt x="15308" y="8857"/>
                </a:lnTo>
                <a:cubicBezTo>
                  <a:pt x="15565" y="9453"/>
                  <a:pt x="15709" y="10110"/>
                  <a:pt x="15709" y="10800"/>
                </a:cubicBezTo>
                <a:moveTo>
                  <a:pt x="9818" y="10800"/>
                </a:move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cubicBezTo>
                  <a:pt x="10258" y="11782"/>
                  <a:pt x="9818" y="11342"/>
                  <a:pt x="9818" y="10800"/>
                </a:cubicBezTo>
                <a:moveTo>
                  <a:pt x="10309" y="15685"/>
                </a:moveTo>
                <a:cubicBezTo>
                  <a:pt x="7829" y="15438"/>
                  <a:pt x="5891" y="13346"/>
                  <a:pt x="5891" y="10800"/>
                </a:cubicBezTo>
                <a:cubicBezTo>
                  <a:pt x="5891" y="10110"/>
                  <a:pt x="6035" y="9453"/>
                  <a:pt x="6292" y="8857"/>
                </a:cubicBezTo>
                <a:lnTo>
                  <a:pt x="8906" y="10310"/>
                </a:lnTo>
                <a:cubicBezTo>
                  <a:pt x="8865" y="10468"/>
                  <a:pt x="8836" y="10630"/>
                  <a:pt x="8836" y="10800"/>
                </a:cubicBezTo>
                <a:cubicBezTo>
                  <a:pt x="8836" y="11714"/>
                  <a:pt x="9463" y="12476"/>
                  <a:pt x="10309" y="12694"/>
                </a:cubicBezTo>
                <a:cubicBezTo>
                  <a:pt x="10309" y="12694"/>
                  <a:pt x="10309" y="15685"/>
                  <a:pt x="10309" y="15685"/>
                </a:cubicBezTo>
                <a:close/>
                <a:moveTo>
                  <a:pt x="10800" y="5891"/>
                </a:moveTo>
                <a:cubicBezTo>
                  <a:pt x="12470" y="5891"/>
                  <a:pt x="13942" y="6727"/>
                  <a:pt x="14829" y="8000"/>
                </a:cubicBezTo>
                <a:lnTo>
                  <a:pt x="12220" y="9450"/>
                </a:lnTo>
                <a:cubicBezTo>
                  <a:pt x="11862" y="9074"/>
                  <a:pt x="11360" y="8836"/>
                  <a:pt x="10800" y="8836"/>
                </a:cubicBezTo>
                <a:cubicBezTo>
                  <a:pt x="10240" y="8836"/>
                  <a:pt x="9738" y="9074"/>
                  <a:pt x="9380" y="9450"/>
                </a:cubicBezTo>
                <a:lnTo>
                  <a:pt x="6771" y="8000"/>
                </a:lnTo>
                <a:cubicBezTo>
                  <a:pt x="7658" y="6727"/>
                  <a:pt x="9130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593">
            <a:extLst>
              <a:ext uri="{FF2B5EF4-FFF2-40B4-BE49-F238E27FC236}">
                <a16:creationId xmlns:a16="http://schemas.microsoft.com/office/drawing/2014/main" id="{CE79592E-9E50-4ABC-9CA2-84C91A7EBBDC}"/>
              </a:ext>
            </a:extLst>
          </p:cNvPr>
          <p:cNvSpPr/>
          <p:nvPr/>
        </p:nvSpPr>
        <p:spPr bwMode="gray">
          <a:xfrm>
            <a:off x="10613690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095"/>
                </a:moveTo>
                <a:lnTo>
                  <a:pt x="20091" y="8640"/>
                </a:lnTo>
                <a:cubicBezTo>
                  <a:pt x="19294" y="8426"/>
                  <a:pt x="18482" y="8322"/>
                  <a:pt x="17675" y="8322"/>
                </a:cubicBezTo>
                <a:lnTo>
                  <a:pt x="17150" y="7377"/>
                </a:lnTo>
                <a:cubicBezTo>
                  <a:pt x="17052" y="7203"/>
                  <a:pt x="16911" y="7035"/>
                  <a:pt x="16741" y="6937"/>
                </a:cubicBezTo>
                <a:cubicBezTo>
                  <a:pt x="16601" y="6856"/>
                  <a:pt x="16442" y="6822"/>
                  <a:pt x="16268" y="6868"/>
                </a:cubicBezTo>
                <a:lnTo>
                  <a:pt x="13487" y="7613"/>
                </a:lnTo>
                <a:cubicBezTo>
                  <a:pt x="13102" y="7716"/>
                  <a:pt x="12995" y="8125"/>
                  <a:pt x="12977" y="8495"/>
                </a:cubicBezTo>
                <a:lnTo>
                  <a:pt x="12996" y="9570"/>
                </a:lnTo>
                <a:cubicBezTo>
                  <a:pt x="12293" y="9973"/>
                  <a:pt x="11639" y="10471"/>
                  <a:pt x="11053" y="11057"/>
                </a:cubicBezTo>
                <a:lnTo>
                  <a:pt x="10023" y="10762"/>
                </a:lnTo>
                <a:cubicBezTo>
                  <a:pt x="9673" y="10664"/>
                  <a:pt x="9239" y="10682"/>
                  <a:pt x="9040" y="11026"/>
                </a:cubicBezTo>
                <a:lnTo>
                  <a:pt x="7600" y="13520"/>
                </a:lnTo>
                <a:cubicBezTo>
                  <a:pt x="7401" y="13864"/>
                  <a:pt x="7614" y="14229"/>
                  <a:pt x="7863" y="14504"/>
                </a:cubicBezTo>
                <a:lnTo>
                  <a:pt x="8633" y="15248"/>
                </a:lnTo>
                <a:cubicBezTo>
                  <a:pt x="8419" y="16049"/>
                  <a:pt x="8315" y="16864"/>
                  <a:pt x="8317" y="17674"/>
                </a:cubicBezTo>
                <a:lnTo>
                  <a:pt x="7377" y="18196"/>
                </a:lnTo>
                <a:cubicBezTo>
                  <a:pt x="7060" y="18373"/>
                  <a:pt x="6765" y="18693"/>
                  <a:pt x="6868" y="19077"/>
                </a:cubicBezTo>
                <a:lnTo>
                  <a:pt x="7281" y="20619"/>
                </a:ln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1291"/>
                </a:lnTo>
                <a:lnTo>
                  <a:pt x="1931" y="11291"/>
                </a:lnTo>
                <a:cubicBezTo>
                  <a:pt x="2328" y="11291"/>
                  <a:pt x="2538" y="10924"/>
                  <a:pt x="2651" y="10571"/>
                </a:cubicBezTo>
                <a:lnTo>
                  <a:pt x="2913" y="9523"/>
                </a:lnTo>
                <a:cubicBezTo>
                  <a:pt x="3711" y="9310"/>
                  <a:pt x="4466" y="8993"/>
                  <a:pt x="5164" y="8590"/>
                </a:cubicBezTo>
                <a:lnTo>
                  <a:pt x="6091" y="9146"/>
                </a:lnTo>
                <a:cubicBezTo>
                  <a:pt x="6275" y="9241"/>
                  <a:pt x="6484" y="9317"/>
                  <a:pt x="6681" y="9317"/>
                </a:cubicBezTo>
                <a:cubicBezTo>
                  <a:pt x="6837" y="9317"/>
                  <a:pt x="6985" y="9270"/>
                  <a:pt x="7110" y="9146"/>
                </a:cubicBezTo>
                <a:lnTo>
                  <a:pt x="9146" y="7109"/>
                </a:lnTo>
                <a:cubicBezTo>
                  <a:pt x="9427" y="6828"/>
                  <a:pt x="9332" y="6404"/>
                  <a:pt x="9146" y="6091"/>
                </a:cubicBezTo>
                <a:lnTo>
                  <a:pt x="8593" y="5169"/>
                </a:lnTo>
                <a:cubicBezTo>
                  <a:pt x="8999" y="4469"/>
                  <a:pt x="9317" y="3711"/>
                  <a:pt x="9531" y="2911"/>
                </a:cubicBezTo>
                <a:lnTo>
                  <a:pt x="10571" y="2651"/>
                </a:lnTo>
                <a:cubicBezTo>
                  <a:pt x="10924" y="2538"/>
                  <a:pt x="11291" y="2328"/>
                  <a:pt x="11291" y="1931"/>
                </a:cubicBezTo>
                <a:lnTo>
                  <a:pt x="11291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8095"/>
                  <a:pt x="20618" y="8095"/>
                </a:cubicBezTo>
                <a:close/>
                <a:moveTo>
                  <a:pt x="20618" y="12594"/>
                </a:moveTo>
                <a:cubicBezTo>
                  <a:pt x="19750" y="12088"/>
                  <a:pt x="18750" y="11782"/>
                  <a:pt x="17673" y="11782"/>
                </a:cubicBezTo>
                <a:cubicBezTo>
                  <a:pt x="14419" y="11782"/>
                  <a:pt x="11782" y="14419"/>
                  <a:pt x="11782" y="17673"/>
                </a:cubicBezTo>
                <a:cubicBezTo>
                  <a:pt x="11782" y="18751"/>
                  <a:pt x="12088" y="19750"/>
                  <a:pt x="12594" y="20619"/>
                </a:cubicBezTo>
                <a:lnTo>
                  <a:pt x="8298" y="20619"/>
                </a:lnTo>
                <a:lnTo>
                  <a:pt x="7875" y="19042"/>
                </a:lnTo>
                <a:lnTo>
                  <a:pt x="8794" y="18532"/>
                </a:lnTo>
                <a:cubicBezTo>
                  <a:pt x="9106" y="18358"/>
                  <a:pt x="9299" y="18028"/>
                  <a:pt x="9299" y="17671"/>
                </a:cubicBezTo>
                <a:cubicBezTo>
                  <a:pt x="9298" y="16938"/>
                  <a:pt x="9392" y="16208"/>
                  <a:pt x="9582" y="15502"/>
                </a:cubicBezTo>
                <a:cubicBezTo>
                  <a:pt x="9674" y="15158"/>
                  <a:pt x="9572" y="14791"/>
                  <a:pt x="9316" y="14543"/>
                </a:cubicBezTo>
                <a:lnTo>
                  <a:pt x="8572" y="13823"/>
                </a:lnTo>
                <a:cubicBezTo>
                  <a:pt x="8569" y="13820"/>
                  <a:pt x="8566" y="13817"/>
                  <a:pt x="8564" y="13813"/>
                </a:cubicBezTo>
                <a:lnTo>
                  <a:pt x="9776" y="11713"/>
                </a:lnTo>
                <a:lnTo>
                  <a:pt x="10783" y="12001"/>
                </a:lnTo>
                <a:cubicBezTo>
                  <a:pt x="11126" y="12099"/>
                  <a:pt x="11495" y="12003"/>
                  <a:pt x="11748" y="11751"/>
                </a:cubicBezTo>
                <a:cubicBezTo>
                  <a:pt x="12264" y="11234"/>
                  <a:pt x="12848" y="10787"/>
                  <a:pt x="13485" y="10421"/>
                </a:cubicBezTo>
                <a:cubicBezTo>
                  <a:pt x="13794" y="10243"/>
                  <a:pt x="13983" y="9911"/>
                  <a:pt x="13977" y="9554"/>
                </a:cubicBezTo>
                <a:lnTo>
                  <a:pt x="13960" y="8514"/>
                </a:lnTo>
                <a:lnTo>
                  <a:pt x="13960" y="8503"/>
                </a:lnTo>
                <a:lnTo>
                  <a:pt x="16304" y="7875"/>
                </a:lnTo>
                <a:lnTo>
                  <a:pt x="16817" y="8799"/>
                </a:lnTo>
                <a:cubicBezTo>
                  <a:pt x="16905" y="8958"/>
                  <a:pt x="17032" y="9085"/>
                  <a:pt x="17184" y="9172"/>
                </a:cubicBezTo>
                <a:cubicBezTo>
                  <a:pt x="17330" y="9257"/>
                  <a:pt x="17499" y="9304"/>
                  <a:pt x="17675" y="9304"/>
                </a:cubicBezTo>
                <a:cubicBezTo>
                  <a:pt x="18407" y="9304"/>
                  <a:pt x="19135" y="9399"/>
                  <a:pt x="19837" y="9589"/>
                </a:cubicBezTo>
                <a:cubicBezTo>
                  <a:pt x="20106" y="9660"/>
                  <a:pt x="20389" y="9611"/>
                  <a:pt x="20618" y="9464"/>
                </a:cubicBezTo>
                <a:cubicBezTo>
                  <a:pt x="20618" y="9464"/>
                  <a:pt x="20618" y="12594"/>
                  <a:pt x="20618" y="12594"/>
                </a:cubicBezTo>
                <a:close/>
                <a:moveTo>
                  <a:pt x="20618" y="15475"/>
                </a:moveTo>
                <a:lnTo>
                  <a:pt x="19093" y="16323"/>
                </a:lnTo>
                <a:cubicBezTo>
                  <a:pt x="18735" y="15946"/>
                  <a:pt x="18233" y="15709"/>
                  <a:pt x="17673" y="15709"/>
                </a:cubicBezTo>
                <a:cubicBezTo>
                  <a:pt x="17113" y="15709"/>
                  <a:pt x="16610" y="15946"/>
                  <a:pt x="16253" y="16323"/>
                </a:cubicBezTo>
                <a:lnTo>
                  <a:pt x="13643" y="14873"/>
                </a:lnTo>
                <a:cubicBezTo>
                  <a:pt x="14530" y="13599"/>
                  <a:pt x="16003" y="12764"/>
                  <a:pt x="17673" y="12764"/>
                </a:cubicBezTo>
                <a:cubicBezTo>
                  <a:pt x="18783" y="12764"/>
                  <a:pt x="19798" y="13141"/>
                  <a:pt x="20618" y="13764"/>
                </a:cubicBezTo>
                <a:cubicBezTo>
                  <a:pt x="20618" y="13764"/>
                  <a:pt x="20618" y="15475"/>
                  <a:pt x="20618" y="1547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8164" y="20619"/>
                </a:lnTo>
                <a:lnTo>
                  <a:pt x="18164" y="19567"/>
                </a:lnTo>
                <a:cubicBezTo>
                  <a:pt x="19009" y="19348"/>
                  <a:pt x="19636" y="18587"/>
                  <a:pt x="19636" y="17673"/>
                </a:cubicBezTo>
                <a:cubicBezTo>
                  <a:pt x="19636" y="17502"/>
                  <a:pt x="19608" y="17339"/>
                  <a:pt x="19567" y="17182"/>
                </a:cubicBezTo>
                <a:lnTo>
                  <a:pt x="20618" y="16598"/>
                </a:lnTo>
                <a:cubicBezTo>
                  <a:pt x="20618" y="16598"/>
                  <a:pt x="20618" y="19636"/>
                  <a:pt x="20618" y="19636"/>
                </a:cubicBezTo>
                <a:close/>
                <a:moveTo>
                  <a:pt x="16691" y="17673"/>
                </a:moveTo>
                <a:cubicBezTo>
                  <a:pt x="16691" y="17131"/>
                  <a:pt x="17131" y="16691"/>
                  <a:pt x="17673" y="16691"/>
                </a:cubicBezTo>
                <a:cubicBezTo>
                  <a:pt x="18214" y="16691"/>
                  <a:pt x="18655" y="17131"/>
                  <a:pt x="18655" y="17673"/>
                </a:cubicBezTo>
                <a:cubicBezTo>
                  <a:pt x="18655" y="18215"/>
                  <a:pt x="18214" y="18655"/>
                  <a:pt x="17673" y="18655"/>
                </a:cubicBezTo>
                <a:cubicBezTo>
                  <a:pt x="17131" y="18655"/>
                  <a:pt x="16691" y="18215"/>
                  <a:pt x="16691" y="17673"/>
                </a:cubicBezTo>
                <a:moveTo>
                  <a:pt x="17182" y="20619"/>
                </a:moveTo>
                <a:lnTo>
                  <a:pt x="13757" y="20619"/>
                </a:lnTo>
                <a:cubicBezTo>
                  <a:pt x="13138" y="19797"/>
                  <a:pt x="12764" y="18781"/>
                  <a:pt x="12764" y="17673"/>
                </a:cubicBezTo>
                <a:cubicBezTo>
                  <a:pt x="12764" y="16982"/>
                  <a:pt x="12907" y="16326"/>
                  <a:pt x="13165" y="15730"/>
                </a:cubicBezTo>
                <a:lnTo>
                  <a:pt x="15779" y="17182"/>
                </a:lnTo>
                <a:cubicBezTo>
                  <a:pt x="15738" y="17339"/>
                  <a:pt x="15709" y="17502"/>
                  <a:pt x="15709" y="17673"/>
                </a:cubicBezTo>
                <a:cubicBezTo>
                  <a:pt x="15709" y="18587"/>
                  <a:pt x="16336" y="19348"/>
                  <a:pt x="17182" y="19567"/>
                </a:cubicBezTo>
                <a:cubicBezTo>
                  <a:pt x="17182" y="19567"/>
                  <a:pt x="17182" y="20619"/>
                  <a:pt x="17182" y="20619"/>
                </a:cubicBezTo>
                <a:close/>
                <a:moveTo>
                  <a:pt x="982" y="5376"/>
                </a:moveTo>
                <a:cubicBezTo>
                  <a:pt x="3301" y="5145"/>
                  <a:pt x="5145" y="3301"/>
                  <a:pt x="5375" y="982"/>
                </a:cubicBezTo>
                <a:lnTo>
                  <a:pt x="10309" y="982"/>
                </a:lnTo>
                <a:lnTo>
                  <a:pt x="10309" y="1703"/>
                </a:lnTo>
                <a:cubicBezTo>
                  <a:pt x="10305" y="1705"/>
                  <a:pt x="10302" y="1706"/>
                  <a:pt x="10298" y="1707"/>
                </a:cubicBezTo>
                <a:lnTo>
                  <a:pt x="9293" y="1958"/>
                </a:lnTo>
                <a:cubicBezTo>
                  <a:pt x="8947" y="2045"/>
                  <a:pt x="8675" y="2313"/>
                  <a:pt x="8583" y="2657"/>
                </a:cubicBezTo>
                <a:cubicBezTo>
                  <a:pt x="8394" y="3363"/>
                  <a:pt x="8112" y="4042"/>
                  <a:pt x="7744" y="4676"/>
                </a:cubicBezTo>
                <a:cubicBezTo>
                  <a:pt x="7564" y="4986"/>
                  <a:pt x="7567" y="5368"/>
                  <a:pt x="7751" y="5674"/>
                </a:cubicBezTo>
                <a:lnTo>
                  <a:pt x="8292" y="6575"/>
                </a:lnTo>
                <a:lnTo>
                  <a:pt x="6576" y="8291"/>
                </a:lnTo>
                <a:cubicBezTo>
                  <a:pt x="6573" y="8290"/>
                  <a:pt x="6569" y="8288"/>
                  <a:pt x="6566" y="8286"/>
                </a:cubicBezTo>
                <a:lnTo>
                  <a:pt x="5669" y="7748"/>
                </a:lnTo>
                <a:cubicBezTo>
                  <a:pt x="5513" y="7655"/>
                  <a:pt x="5339" y="7608"/>
                  <a:pt x="5164" y="7608"/>
                </a:cubicBezTo>
                <a:cubicBezTo>
                  <a:pt x="4995" y="7608"/>
                  <a:pt x="4825" y="7652"/>
                  <a:pt x="4673" y="7739"/>
                </a:cubicBezTo>
                <a:cubicBezTo>
                  <a:pt x="4039" y="8106"/>
                  <a:pt x="3362" y="8387"/>
                  <a:pt x="2659" y="8575"/>
                </a:cubicBezTo>
                <a:cubicBezTo>
                  <a:pt x="2315" y="8666"/>
                  <a:pt x="2047" y="8938"/>
                  <a:pt x="1960" y="9285"/>
                </a:cubicBezTo>
                <a:lnTo>
                  <a:pt x="1707" y="10298"/>
                </a:lnTo>
                <a:cubicBezTo>
                  <a:pt x="1706" y="10302"/>
                  <a:pt x="1705" y="10305"/>
                  <a:pt x="1703" y="10310"/>
                </a:cubicBezTo>
                <a:lnTo>
                  <a:pt x="982" y="10310"/>
                </a:lnTo>
                <a:cubicBezTo>
                  <a:pt x="982" y="10310"/>
                  <a:pt x="982" y="5376"/>
                  <a:pt x="982" y="5376"/>
                </a:cubicBezTo>
                <a:close/>
                <a:moveTo>
                  <a:pt x="982" y="1964"/>
                </a:moveTo>
                <a:cubicBezTo>
                  <a:pt x="982" y="1421"/>
                  <a:pt x="1422" y="982"/>
                  <a:pt x="1964" y="982"/>
                </a:cubicBezTo>
                <a:lnTo>
                  <a:pt x="4384" y="982"/>
                </a:lnTo>
                <a:cubicBezTo>
                  <a:pt x="4162" y="2758"/>
                  <a:pt x="2758" y="4162"/>
                  <a:pt x="982" y="4384"/>
                </a:cubicBezTo>
                <a:cubicBezTo>
                  <a:pt x="982" y="4384"/>
                  <a:pt x="982" y="1964"/>
                  <a:pt x="982" y="1964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594">
            <a:extLst>
              <a:ext uri="{FF2B5EF4-FFF2-40B4-BE49-F238E27FC236}">
                <a16:creationId xmlns:a16="http://schemas.microsoft.com/office/drawing/2014/main" id="{E709E859-ED57-40C7-AC06-29FA3A152272}"/>
              </a:ext>
            </a:extLst>
          </p:cNvPr>
          <p:cNvSpPr/>
          <p:nvPr/>
        </p:nvSpPr>
        <p:spPr bwMode="gray">
          <a:xfrm>
            <a:off x="11165715" y="1785342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8400"/>
                </a:moveTo>
                <a:lnTo>
                  <a:pt x="18164" y="8400"/>
                </a:lnTo>
                <a:cubicBezTo>
                  <a:pt x="18435" y="8400"/>
                  <a:pt x="18655" y="8132"/>
                  <a:pt x="18655" y="7800"/>
                </a:cubicBezTo>
                <a:cubicBezTo>
                  <a:pt x="18655" y="7468"/>
                  <a:pt x="18435" y="7200"/>
                  <a:pt x="18164" y="7200"/>
                </a:cubicBezTo>
                <a:lnTo>
                  <a:pt x="3436" y="7200"/>
                </a:lnTo>
                <a:cubicBezTo>
                  <a:pt x="3165" y="7200"/>
                  <a:pt x="2945" y="7468"/>
                  <a:pt x="2945" y="7800"/>
                </a:cubicBezTo>
                <a:cubicBezTo>
                  <a:pt x="2945" y="8132"/>
                  <a:pt x="3165" y="8400"/>
                  <a:pt x="3436" y="8400"/>
                </a:cubicBezTo>
                <a:moveTo>
                  <a:pt x="3436" y="10800"/>
                </a:moveTo>
                <a:lnTo>
                  <a:pt x="18164" y="10800"/>
                </a:lnTo>
                <a:cubicBezTo>
                  <a:pt x="18435" y="10800"/>
                  <a:pt x="18655" y="10532"/>
                  <a:pt x="18655" y="10200"/>
                </a:cubicBezTo>
                <a:cubicBezTo>
                  <a:pt x="18655" y="9868"/>
                  <a:pt x="18435" y="9600"/>
                  <a:pt x="18164" y="9600"/>
                </a:cubicBezTo>
                <a:lnTo>
                  <a:pt x="3436" y="9600"/>
                </a:lnTo>
                <a:cubicBezTo>
                  <a:pt x="3165" y="9600"/>
                  <a:pt x="2945" y="9868"/>
                  <a:pt x="2945" y="10200"/>
                </a:cubicBezTo>
                <a:cubicBezTo>
                  <a:pt x="2945" y="10532"/>
                  <a:pt x="3165" y="10800"/>
                  <a:pt x="3436" y="10800"/>
                </a:cubicBezTo>
                <a:moveTo>
                  <a:pt x="3436" y="13200"/>
                </a:moveTo>
                <a:lnTo>
                  <a:pt x="13255" y="13200"/>
                </a:lnTo>
                <a:cubicBezTo>
                  <a:pt x="13526" y="13200"/>
                  <a:pt x="13745" y="12931"/>
                  <a:pt x="13745" y="12601"/>
                </a:cubicBezTo>
                <a:cubicBezTo>
                  <a:pt x="13745" y="12268"/>
                  <a:pt x="13526" y="12000"/>
                  <a:pt x="13255" y="12000"/>
                </a:cubicBezTo>
                <a:lnTo>
                  <a:pt x="3436" y="12000"/>
                </a:lnTo>
                <a:cubicBezTo>
                  <a:pt x="3165" y="12000"/>
                  <a:pt x="2945" y="12268"/>
                  <a:pt x="2945" y="12601"/>
                </a:cubicBezTo>
                <a:cubicBezTo>
                  <a:pt x="2945" y="12931"/>
                  <a:pt x="3165" y="13200"/>
                  <a:pt x="3436" y="13200"/>
                </a:cubicBezTo>
                <a:moveTo>
                  <a:pt x="20618" y="19200"/>
                </a:moveTo>
                <a:lnTo>
                  <a:pt x="18114" y="19200"/>
                </a:lnTo>
                <a:cubicBezTo>
                  <a:pt x="17887" y="17831"/>
                  <a:pt x="16897" y="16800"/>
                  <a:pt x="15709" y="16800"/>
                </a:cubicBezTo>
                <a:cubicBezTo>
                  <a:pt x="14522" y="16800"/>
                  <a:pt x="13532" y="17831"/>
                  <a:pt x="13304" y="19200"/>
                </a:cubicBezTo>
                <a:lnTo>
                  <a:pt x="8296" y="19200"/>
                </a:lnTo>
                <a:cubicBezTo>
                  <a:pt x="8068" y="17831"/>
                  <a:pt x="7078" y="16800"/>
                  <a:pt x="5891" y="16800"/>
                </a:cubicBezTo>
                <a:cubicBezTo>
                  <a:pt x="4703" y="16800"/>
                  <a:pt x="3713" y="17831"/>
                  <a:pt x="3486" y="19200"/>
                </a:cubicBezTo>
                <a:lnTo>
                  <a:pt x="982" y="192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19200"/>
                  <a:pt x="20618" y="1920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9200"/>
                </a:lnTo>
                <a:cubicBezTo>
                  <a:pt x="0" y="19862"/>
                  <a:pt x="440" y="20400"/>
                  <a:pt x="982" y="20400"/>
                </a:cubicBezTo>
                <a:lnTo>
                  <a:pt x="3927" y="20400"/>
                </a:lnTo>
                <a:cubicBezTo>
                  <a:pt x="4199" y="20400"/>
                  <a:pt x="4418" y="20132"/>
                  <a:pt x="4418" y="19800"/>
                </a:cubicBezTo>
                <a:cubicBezTo>
                  <a:pt x="4418" y="18807"/>
                  <a:pt x="5078" y="18000"/>
                  <a:pt x="5891" y="18000"/>
                </a:cubicBezTo>
                <a:cubicBezTo>
                  <a:pt x="6704" y="18000"/>
                  <a:pt x="7364" y="18807"/>
                  <a:pt x="7364" y="19800"/>
                </a:cubicBezTo>
                <a:cubicBezTo>
                  <a:pt x="7364" y="20132"/>
                  <a:pt x="7583" y="20400"/>
                  <a:pt x="7855" y="20400"/>
                </a:cubicBezTo>
                <a:lnTo>
                  <a:pt x="13745" y="20400"/>
                </a:lnTo>
                <a:cubicBezTo>
                  <a:pt x="14017" y="20400"/>
                  <a:pt x="14236" y="20132"/>
                  <a:pt x="14236" y="19800"/>
                </a:cubicBezTo>
                <a:cubicBezTo>
                  <a:pt x="14236" y="18807"/>
                  <a:pt x="14896" y="18000"/>
                  <a:pt x="15709" y="18000"/>
                </a:cubicBezTo>
                <a:cubicBezTo>
                  <a:pt x="16523" y="18000"/>
                  <a:pt x="17182" y="18807"/>
                  <a:pt x="17182" y="19800"/>
                </a:cubicBezTo>
                <a:cubicBezTo>
                  <a:pt x="17182" y="20132"/>
                  <a:pt x="17401" y="20400"/>
                  <a:pt x="17673" y="20400"/>
                </a:cubicBezTo>
                <a:lnTo>
                  <a:pt x="20618" y="20400"/>
                </a:lnTo>
                <a:cubicBezTo>
                  <a:pt x="21160" y="20400"/>
                  <a:pt x="21600" y="19862"/>
                  <a:pt x="21600" y="192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5891" y="19200"/>
                </a:moveTo>
                <a:cubicBezTo>
                  <a:pt x="5620" y="19200"/>
                  <a:pt x="5400" y="19468"/>
                  <a:pt x="5400" y="19800"/>
                </a:cubicBezTo>
                <a:lnTo>
                  <a:pt x="5400" y="21000"/>
                </a:lnTo>
                <a:cubicBezTo>
                  <a:pt x="5400" y="21332"/>
                  <a:pt x="5620" y="21600"/>
                  <a:pt x="5891" y="21600"/>
                </a:cubicBezTo>
                <a:cubicBezTo>
                  <a:pt x="6162" y="21600"/>
                  <a:pt x="6382" y="21332"/>
                  <a:pt x="6382" y="21000"/>
                </a:cubicBezTo>
                <a:lnTo>
                  <a:pt x="6382" y="19800"/>
                </a:lnTo>
                <a:cubicBezTo>
                  <a:pt x="6382" y="19468"/>
                  <a:pt x="6162" y="19200"/>
                  <a:pt x="5891" y="19200"/>
                </a:cubicBezTo>
                <a:moveTo>
                  <a:pt x="3436" y="6000"/>
                </a:moveTo>
                <a:lnTo>
                  <a:pt x="18164" y="6000"/>
                </a:lnTo>
                <a:cubicBezTo>
                  <a:pt x="18435" y="6000"/>
                  <a:pt x="18655" y="5732"/>
                  <a:pt x="18655" y="5400"/>
                </a:cubicBezTo>
                <a:cubicBezTo>
                  <a:pt x="18655" y="5069"/>
                  <a:pt x="18435" y="4800"/>
                  <a:pt x="18164" y="4800"/>
                </a:cubicBezTo>
                <a:lnTo>
                  <a:pt x="3436" y="4800"/>
                </a:lnTo>
                <a:cubicBezTo>
                  <a:pt x="3165" y="4800"/>
                  <a:pt x="2945" y="5069"/>
                  <a:pt x="2945" y="5400"/>
                </a:cubicBezTo>
                <a:cubicBezTo>
                  <a:pt x="2945" y="5732"/>
                  <a:pt x="3165" y="6000"/>
                  <a:pt x="3436" y="6000"/>
                </a:cubicBezTo>
                <a:moveTo>
                  <a:pt x="15709" y="19200"/>
                </a:moveTo>
                <a:cubicBezTo>
                  <a:pt x="15438" y="19200"/>
                  <a:pt x="15218" y="19468"/>
                  <a:pt x="15218" y="19800"/>
                </a:cubicBezTo>
                <a:lnTo>
                  <a:pt x="15218" y="21000"/>
                </a:lnTo>
                <a:cubicBezTo>
                  <a:pt x="15218" y="21332"/>
                  <a:pt x="15438" y="21600"/>
                  <a:pt x="15709" y="21600"/>
                </a:cubicBezTo>
                <a:cubicBezTo>
                  <a:pt x="15980" y="21600"/>
                  <a:pt x="16200" y="21332"/>
                  <a:pt x="16200" y="21000"/>
                </a:cubicBezTo>
                <a:lnTo>
                  <a:pt x="16200" y="19800"/>
                </a:lnTo>
                <a:cubicBezTo>
                  <a:pt x="16200" y="19468"/>
                  <a:pt x="15980" y="19200"/>
                  <a:pt x="15709" y="19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595">
            <a:extLst>
              <a:ext uri="{FF2B5EF4-FFF2-40B4-BE49-F238E27FC236}">
                <a16:creationId xmlns:a16="http://schemas.microsoft.com/office/drawing/2014/main" id="{4DBCEF92-2567-4941-9F75-0AFAB66F1008}"/>
              </a:ext>
            </a:extLst>
          </p:cNvPr>
          <p:cNvSpPr/>
          <p:nvPr/>
        </p:nvSpPr>
        <p:spPr bwMode="gray">
          <a:xfrm>
            <a:off x="6197495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4040"/>
                </a:moveTo>
                <a:lnTo>
                  <a:pt x="14236" y="14040"/>
                </a:lnTo>
                <a:cubicBezTo>
                  <a:pt x="14507" y="14040"/>
                  <a:pt x="14727" y="13799"/>
                  <a:pt x="14727" y="13500"/>
                </a:cubicBezTo>
                <a:cubicBezTo>
                  <a:pt x="14727" y="13202"/>
                  <a:pt x="14507" y="12960"/>
                  <a:pt x="14236" y="12960"/>
                </a:cubicBezTo>
                <a:lnTo>
                  <a:pt x="7364" y="12960"/>
                </a:lnTo>
                <a:cubicBezTo>
                  <a:pt x="7093" y="12960"/>
                  <a:pt x="6873" y="13202"/>
                  <a:pt x="6873" y="13500"/>
                </a:cubicBezTo>
                <a:cubicBezTo>
                  <a:pt x="6873" y="13799"/>
                  <a:pt x="7093" y="14040"/>
                  <a:pt x="7364" y="14040"/>
                </a:cubicBezTo>
                <a:moveTo>
                  <a:pt x="7364" y="11880"/>
                </a:moveTo>
                <a:lnTo>
                  <a:pt x="18164" y="11880"/>
                </a:lnTo>
                <a:cubicBezTo>
                  <a:pt x="18434" y="11880"/>
                  <a:pt x="18655" y="11639"/>
                  <a:pt x="18655" y="11340"/>
                </a:cubicBezTo>
                <a:cubicBezTo>
                  <a:pt x="18655" y="11042"/>
                  <a:pt x="18434" y="10800"/>
                  <a:pt x="18164" y="10800"/>
                </a:cubicBezTo>
                <a:lnTo>
                  <a:pt x="7364" y="10800"/>
                </a:lnTo>
                <a:cubicBezTo>
                  <a:pt x="7093" y="10800"/>
                  <a:pt x="6873" y="11042"/>
                  <a:pt x="6873" y="11340"/>
                </a:cubicBezTo>
                <a:cubicBezTo>
                  <a:pt x="6873" y="11639"/>
                  <a:pt x="7093" y="11880"/>
                  <a:pt x="7364" y="11880"/>
                </a:cubicBezTo>
                <a:moveTo>
                  <a:pt x="20618" y="19440"/>
                </a:moveTo>
                <a:lnTo>
                  <a:pt x="18605" y="19440"/>
                </a:lnTo>
                <a:cubicBezTo>
                  <a:pt x="18378" y="18208"/>
                  <a:pt x="17387" y="17280"/>
                  <a:pt x="16200" y="17280"/>
                </a:cubicBezTo>
                <a:cubicBezTo>
                  <a:pt x="15013" y="17280"/>
                  <a:pt x="14022" y="18208"/>
                  <a:pt x="13795" y="19440"/>
                </a:cubicBezTo>
                <a:lnTo>
                  <a:pt x="11732" y="19440"/>
                </a:lnTo>
                <a:cubicBezTo>
                  <a:pt x="11505" y="18208"/>
                  <a:pt x="10515" y="17280"/>
                  <a:pt x="9327" y="17280"/>
                </a:cubicBezTo>
                <a:cubicBezTo>
                  <a:pt x="8140" y="17280"/>
                  <a:pt x="7150" y="18208"/>
                  <a:pt x="6922" y="19440"/>
                </a:cubicBezTo>
                <a:lnTo>
                  <a:pt x="4909" y="19440"/>
                </a:lnTo>
                <a:lnTo>
                  <a:pt x="4909" y="5400"/>
                </a:lnTo>
                <a:lnTo>
                  <a:pt x="20618" y="5400"/>
                </a:lnTo>
                <a:cubicBezTo>
                  <a:pt x="20618" y="5400"/>
                  <a:pt x="20618" y="19440"/>
                  <a:pt x="20618" y="19440"/>
                </a:cubicBezTo>
                <a:close/>
                <a:moveTo>
                  <a:pt x="20618" y="4320"/>
                </a:moveTo>
                <a:lnTo>
                  <a:pt x="4909" y="4320"/>
                </a:lnTo>
                <a:cubicBezTo>
                  <a:pt x="4367" y="4320"/>
                  <a:pt x="3927" y="4804"/>
                  <a:pt x="3927" y="5400"/>
                </a:cubicBezTo>
                <a:lnTo>
                  <a:pt x="3927" y="19440"/>
                </a:lnTo>
                <a:cubicBezTo>
                  <a:pt x="3927" y="20036"/>
                  <a:pt x="4367" y="20520"/>
                  <a:pt x="4909" y="20520"/>
                </a:cubicBezTo>
                <a:lnTo>
                  <a:pt x="7364" y="20520"/>
                </a:lnTo>
                <a:cubicBezTo>
                  <a:pt x="7634" y="20520"/>
                  <a:pt x="7855" y="20279"/>
                  <a:pt x="7855" y="19980"/>
                </a:cubicBezTo>
                <a:cubicBezTo>
                  <a:pt x="7855" y="19085"/>
                  <a:pt x="8514" y="18360"/>
                  <a:pt x="9327" y="18360"/>
                </a:cubicBezTo>
                <a:cubicBezTo>
                  <a:pt x="10141" y="18360"/>
                  <a:pt x="10800" y="19085"/>
                  <a:pt x="10800" y="19980"/>
                </a:cubicBezTo>
                <a:cubicBezTo>
                  <a:pt x="10800" y="20279"/>
                  <a:pt x="11020" y="20520"/>
                  <a:pt x="11291" y="20520"/>
                </a:cubicBezTo>
                <a:lnTo>
                  <a:pt x="14236" y="20520"/>
                </a:lnTo>
                <a:cubicBezTo>
                  <a:pt x="14507" y="20520"/>
                  <a:pt x="14727" y="20279"/>
                  <a:pt x="14727" y="19980"/>
                </a:cubicBezTo>
                <a:cubicBezTo>
                  <a:pt x="14727" y="19085"/>
                  <a:pt x="15386" y="18360"/>
                  <a:pt x="16200" y="18360"/>
                </a:cubicBezTo>
                <a:cubicBezTo>
                  <a:pt x="17014" y="18360"/>
                  <a:pt x="17673" y="19085"/>
                  <a:pt x="17673" y="19980"/>
                </a:cubicBezTo>
                <a:cubicBezTo>
                  <a:pt x="17673" y="20279"/>
                  <a:pt x="17893" y="20520"/>
                  <a:pt x="18164" y="20520"/>
                </a:cubicBezTo>
                <a:lnTo>
                  <a:pt x="20618" y="20520"/>
                </a:lnTo>
                <a:cubicBezTo>
                  <a:pt x="21160" y="20520"/>
                  <a:pt x="21600" y="20036"/>
                  <a:pt x="21600" y="19440"/>
                </a:cubicBezTo>
                <a:lnTo>
                  <a:pt x="21600" y="5400"/>
                </a:lnTo>
                <a:cubicBezTo>
                  <a:pt x="21600" y="4804"/>
                  <a:pt x="21160" y="4320"/>
                  <a:pt x="20618" y="4320"/>
                </a:cubicBezTo>
                <a:moveTo>
                  <a:pt x="7364" y="9720"/>
                </a:moveTo>
                <a:lnTo>
                  <a:pt x="18164" y="9720"/>
                </a:lnTo>
                <a:cubicBezTo>
                  <a:pt x="18434" y="9720"/>
                  <a:pt x="18655" y="9479"/>
                  <a:pt x="18655" y="9180"/>
                </a:cubicBezTo>
                <a:cubicBezTo>
                  <a:pt x="18655" y="8882"/>
                  <a:pt x="18434" y="8640"/>
                  <a:pt x="18164" y="8640"/>
                </a:cubicBezTo>
                <a:lnTo>
                  <a:pt x="7364" y="8640"/>
                </a:lnTo>
                <a:cubicBezTo>
                  <a:pt x="7093" y="8640"/>
                  <a:pt x="6873" y="8882"/>
                  <a:pt x="6873" y="9180"/>
                </a:cubicBezTo>
                <a:cubicBezTo>
                  <a:pt x="6873" y="9479"/>
                  <a:pt x="7093" y="9720"/>
                  <a:pt x="7364" y="9720"/>
                </a:cubicBezTo>
                <a:moveTo>
                  <a:pt x="9327" y="19440"/>
                </a:moveTo>
                <a:cubicBezTo>
                  <a:pt x="9056" y="19440"/>
                  <a:pt x="8836" y="19682"/>
                  <a:pt x="8836" y="19980"/>
                </a:cubicBezTo>
                <a:lnTo>
                  <a:pt x="8836" y="21060"/>
                </a:lnTo>
                <a:cubicBezTo>
                  <a:pt x="8836" y="21359"/>
                  <a:pt x="9056" y="21600"/>
                  <a:pt x="9327" y="21600"/>
                </a:cubicBezTo>
                <a:cubicBezTo>
                  <a:pt x="9598" y="21600"/>
                  <a:pt x="9818" y="21359"/>
                  <a:pt x="9818" y="21060"/>
                </a:cubicBezTo>
                <a:lnTo>
                  <a:pt x="9818" y="19980"/>
                </a:lnTo>
                <a:cubicBezTo>
                  <a:pt x="9818" y="19682"/>
                  <a:pt x="9598" y="19440"/>
                  <a:pt x="9327" y="19440"/>
                </a:cubicBezTo>
                <a:moveTo>
                  <a:pt x="2455" y="15120"/>
                </a:moveTo>
                <a:lnTo>
                  <a:pt x="982" y="15120"/>
                </a:lnTo>
                <a:lnTo>
                  <a:pt x="982" y="1080"/>
                </a:lnTo>
                <a:lnTo>
                  <a:pt x="16691" y="1080"/>
                </a:lnTo>
                <a:lnTo>
                  <a:pt x="16691" y="2700"/>
                </a:lnTo>
                <a:cubicBezTo>
                  <a:pt x="16691" y="2999"/>
                  <a:pt x="16911" y="3240"/>
                  <a:pt x="17182" y="3240"/>
                </a:cubicBezTo>
                <a:cubicBezTo>
                  <a:pt x="17453" y="3240"/>
                  <a:pt x="17673" y="2999"/>
                  <a:pt x="17673" y="2700"/>
                </a:cubicBezTo>
                <a:lnTo>
                  <a:pt x="17673" y="1080"/>
                </a:lnTo>
                <a:cubicBezTo>
                  <a:pt x="17673" y="484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15120"/>
                </a:lnTo>
                <a:cubicBezTo>
                  <a:pt x="0" y="15716"/>
                  <a:pt x="440" y="16201"/>
                  <a:pt x="982" y="16201"/>
                </a:cubicBezTo>
                <a:lnTo>
                  <a:pt x="2455" y="16201"/>
                </a:lnTo>
                <a:cubicBezTo>
                  <a:pt x="2725" y="16201"/>
                  <a:pt x="2945" y="15959"/>
                  <a:pt x="2945" y="15660"/>
                </a:cubicBezTo>
                <a:cubicBezTo>
                  <a:pt x="2945" y="15362"/>
                  <a:pt x="2725" y="15120"/>
                  <a:pt x="2455" y="15120"/>
                </a:cubicBezTo>
                <a:moveTo>
                  <a:pt x="16200" y="19440"/>
                </a:moveTo>
                <a:cubicBezTo>
                  <a:pt x="15929" y="19440"/>
                  <a:pt x="15709" y="19682"/>
                  <a:pt x="15709" y="19980"/>
                </a:cubicBezTo>
                <a:lnTo>
                  <a:pt x="15709" y="21060"/>
                </a:lnTo>
                <a:cubicBezTo>
                  <a:pt x="15709" y="21359"/>
                  <a:pt x="15929" y="21600"/>
                  <a:pt x="16200" y="21600"/>
                </a:cubicBezTo>
                <a:cubicBezTo>
                  <a:pt x="16471" y="21600"/>
                  <a:pt x="16691" y="21359"/>
                  <a:pt x="16691" y="21060"/>
                </a:cubicBezTo>
                <a:lnTo>
                  <a:pt x="16691" y="19980"/>
                </a:lnTo>
                <a:cubicBezTo>
                  <a:pt x="16691" y="19682"/>
                  <a:pt x="16471" y="19440"/>
                  <a:pt x="16200" y="194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596">
            <a:extLst>
              <a:ext uri="{FF2B5EF4-FFF2-40B4-BE49-F238E27FC236}">
                <a16:creationId xmlns:a16="http://schemas.microsoft.com/office/drawing/2014/main" id="{B4CCA6D5-7B16-4C77-AB5F-3A4B3987F7B4}"/>
              </a:ext>
            </a:extLst>
          </p:cNvPr>
          <p:cNvSpPr/>
          <p:nvPr/>
        </p:nvSpPr>
        <p:spPr bwMode="gray">
          <a:xfrm>
            <a:off x="6749520" y="2350510"/>
            <a:ext cx="289156" cy="2102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5400"/>
                </a:moveTo>
                <a:lnTo>
                  <a:pt x="9327" y="5400"/>
                </a:lnTo>
                <a:cubicBezTo>
                  <a:pt x="9598" y="5400"/>
                  <a:pt x="9818" y="5098"/>
                  <a:pt x="9818" y="4725"/>
                </a:cubicBezTo>
                <a:cubicBezTo>
                  <a:pt x="9818" y="4353"/>
                  <a:pt x="9598" y="4050"/>
                  <a:pt x="9327" y="4050"/>
                </a:cubicBezTo>
                <a:lnTo>
                  <a:pt x="3436" y="4050"/>
                </a:lnTo>
                <a:cubicBezTo>
                  <a:pt x="3166" y="4050"/>
                  <a:pt x="2945" y="4353"/>
                  <a:pt x="2945" y="4725"/>
                </a:cubicBezTo>
                <a:cubicBezTo>
                  <a:pt x="2945" y="5098"/>
                  <a:pt x="3166" y="5400"/>
                  <a:pt x="3436" y="5400"/>
                </a:cubicBezTo>
                <a:moveTo>
                  <a:pt x="3436" y="8100"/>
                </a:moveTo>
                <a:lnTo>
                  <a:pt x="7364" y="8100"/>
                </a:lnTo>
                <a:cubicBezTo>
                  <a:pt x="7634" y="8100"/>
                  <a:pt x="7855" y="7798"/>
                  <a:pt x="7855" y="7425"/>
                </a:cubicBezTo>
                <a:cubicBezTo>
                  <a:pt x="7855" y="7053"/>
                  <a:pt x="7634" y="6750"/>
                  <a:pt x="7364" y="6750"/>
                </a:cubicBezTo>
                <a:lnTo>
                  <a:pt x="3436" y="6750"/>
                </a:lnTo>
                <a:cubicBezTo>
                  <a:pt x="3166" y="6750"/>
                  <a:pt x="2945" y="7053"/>
                  <a:pt x="2945" y="7425"/>
                </a:cubicBezTo>
                <a:cubicBezTo>
                  <a:pt x="2945" y="7798"/>
                  <a:pt x="3166" y="8100"/>
                  <a:pt x="3436" y="8100"/>
                </a:cubicBezTo>
                <a:moveTo>
                  <a:pt x="3436" y="10800"/>
                </a:moveTo>
                <a:lnTo>
                  <a:pt x="9327" y="10800"/>
                </a:lnTo>
                <a:cubicBezTo>
                  <a:pt x="9598" y="10800"/>
                  <a:pt x="9818" y="10498"/>
                  <a:pt x="9818" y="10125"/>
                </a:cubicBezTo>
                <a:cubicBezTo>
                  <a:pt x="9818" y="9753"/>
                  <a:pt x="9598" y="9450"/>
                  <a:pt x="9327" y="9450"/>
                </a:cubicBezTo>
                <a:lnTo>
                  <a:pt x="3436" y="9450"/>
                </a:lnTo>
                <a:cubicBezTo>
                  <a:pt x="3166" y="9450"/>
                  <a:pt x="2945" y="9753"/>
                  <a:pt x="2945" y="10125"/>
                </a:cubicBezTo>
                <a:cubicBezTo>
                  <a:pt x="2945" y="10498"/>
                  <a:pt x="3166" y="10800"/>
                  <a:pt x="3436" y="10800"/>
                </a:cubicBezTo>
                <a:moveTo>
                  <a:pt x="20618" y="20250"/>
                </a:moveTo>
                <a:lnTo>
                  <a:pt x="15709" y="20250"/>
                </a:lnTo>
                <a:lnTo>
                  <a:pt x="15709" y="17551"/>
                </a:lnTo>
                <a:lnTo>
                  <a:pt x="16691" y="17551"/>
                </a:lnTo>
                <a:cubicBezTo>
                  <a:pt x="16962" y="17551"/>
                  <a:pt x="17182" y="17248"/>
                  <a:pt x="17182" y="16875"/>
                </a:cubicBezTo>
                <a:cubicBezTo>
                  <a:pt x="17182" y="16503"/>
                  <a:pt x="16962" y="16200"/>
                  <a:pt x="16691" y="16200"/>
                </a:cubicBezTo>
                <a:lnTo>
                  <a:pt x="13745" y="16200"/>
                </a:lnTo>
                <a:cubicBezTo>
                  <a:pt x="13475" y="16200"/>
                  <a:pt x="13255" y="16503"/>
                  <a:pt x="13255" y="16875"/>
                </a:cubicBezTo>
                <a:cubicBezTo>
                  <a:pt x="13255" y="17248"/>
                  <a:pt x="13475" y="17551"/>
                  <a:pt x="13745" y="17551"/>
                </a:cubicBezTo>
                <a:lnTo>
                  <a:pt x="14727" y="17551"/>
                </a:lnTo>
                <a:lnTo>
                  <a:pt x="14727" y="20250"/>
                </a:lnTo>
                <a:lnTo>
                  <a:pt x="6873" y="20250"/>
                </a:lnTo>
                <a:lnTo>
                  <a:pt x="6873" y="17551"/>
                </a:lnTo>
                <a:lnTo>
                  <a:pt x="7855" y="17551"/>
                </a:lnTo>
                <a:cubicBezTo>
                  <a:pt x="8125" y="17551"/>
                  <a:pt x="8345" y="17248"/>
                  <a:pt x="8345" y="16875"/>
                </a:cubicBezTo>
                <a:cubicBezTo>
                  <a:pt x="8345" y="16503"/>
                  <a:pt x="8125" y="16200"/>
                  <a:pt x="7855" y="16200"/>
                </a:cubicBezTo>
                <a:lnTo>
                  <a:pt x="4909" y="16200"/>
                </a:lnTo>
                <a:cubicBezTo>
                  <a:pt x="4638" y="16200"/>
                  <a:pt x="4418" y="16503"/>
                  <a:pt x="4418" y="16875"/>
                </a:cubicBezTo>
                <a:cubicBezTo>
                  <a:pt x="4418" y="17248"/>
                  <a:pt x="4638" y="17551"/>
                  <a:pt x="4909" y="17551"/>
                </a:cubicBezTo>
                <a:lnTo>
                  <a:pt x="5891" y="17551"/>
                </a:lnTo>
                <a:lnTo>
                  <a:pt x="5891" y="20250"/>
                </a:lnTo>
                <a:lnTo>
                  <a:pt x="982" y="202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3436" y="13500"/>
                </a:moveTo>
                <a:lnTo>
                  <a:pt x="7364" y="13500"/>
                </a:lnTo>
                <a:cubicBezTo>
                  <a:pt x="7634" y="13500"/>
                  <a:pt x="7855" y="13198"/>
                  <a:pt x="7855" y="12825"/>
                </a:cubicBezTo>
                <a:cubicBezTo>
                  <a:pt x="7855" y="12452"/>
                  <a:pt x="7634" y="12150"/>
                  <a:pt x="7364" y="12150"/>
                </a:cubicBezTo>
                <a:lnTo>
                  <a:pt x="3436" y="12150"/>
                </a:lnTo>
                <a:cubicBezTo>
                  <a:pt x="3166" y="12150"/>
                  <a:pt x="2945" y="12452"/>
                  <a:pt x="2945" y="12825"/>
                </a:cubicBezTo>
                <a:cubicBezTo>
                  <a:pt x="2945" y="13198"/>
                  <a:pt x="3166" y="13500"/>
                  <a:pt x="3436" y="13500"/>
                </a:cubicBezTo>
                <a:moveTo>
                  <a:pt x="12273" y="5400"/>
                </a:moveTo>
                <a:lnTo>
                  <a:pt x="16200" y="5400"/>
                </a:lnTo>
                <a:cubicBezTo>
                  <a:pt x="16471" y="5400"/>
                  <a:pt x="16691" y="5098"/>
                  <a:pt x="16691" y="4725"/>
                </a:cubicBezTo>
                <a:cubicBezTo>
                  <a:pt x="16691" y="4353"/>
                  <a:pt x="16471" y="4050"/>
                  <a:pt x="16200" y="4050"/>
                </a:cubicBezTo>
                <a:lnTo>
                  <a:pt x="12273" y="4050"/>
                </a:lnTo>
                <a:cubicBezTo>
                  <a:pt x="12002" y="4050"/>
                  <a:pt x="11782" y="4353"/>
                  <a:pt x="11782" y="4725"/>
                </a:cubicBezTo>
                <a:cubicBezTo>
                  <a:pt x="11782" y="5098"/>
                  <a:pt x="12002" y="5400"/>
                  <a:pt x="12273" y="5400"/>
                </a:cubicBezTo>
                <a:moveTo>
                  <a:pt x="12273" y="10800"/>
                </a:moveTo>
                <a:lnTo>
                  <a:pt x="16200" y="10800"/>
                </a:lnTo>
                <a:cubicBezTo>
                  <a:pt x="16471" y="10800"/>
                  <a:pt x="16691" y="10498"/>
                  <a:pt x="16691" y="10125"/>
                </a:cubicBezTo>
                <a:cubicBezTo>
                  <a:pt x="16691" y="9753"/>
                  <a:pt x="16471" y="9450"/>
                  <a:pt x="16200" y="9450"/>
                </a:cubicBezTo>
                <a:lnTo>
                  <a:pt x="12273" y="9450"/>
                </a:lnTo>
                <a:cubicBezTo>
                  <a:pt x="12002" y="9450"/>
                  <a:pt x="11782" y="9753"/>
                  <a:pt x="11782" y="10125"/>
                </a:cubicBezTo>
                <a:cubicBezTo>
                  <a:pt x="11782" y="10498"/>
                  <a:pt x="12002" y="10800"/>
                  <a:pt x="12273" y="10800"/>
                </a:cubicBezTo>
                <a:moveTo>
                  <a:pt x="12273" y="13500"/>
                </a:moveTo>
                <a:lnTo>
                  <a:pt x="18164" y="13500"/>
                </a:lnTo>
                <a:cubicBezTo>
                  <a:pt x="18434" y="13500"/>
                  <a:pt x="18655" y="13198"/>
                  <a:pt x="18655" y="12825"/>
                </a:cubicBezTo>
                <a:cubicBezTo>
                  <a:pt x="18655" y="12452"/>
                  <a:pt x="18434" y="12150"/>
                  <a:pt x="18164" y="12150"/>
                </a:cubicBezTo>
                <a:lnTo>
                  <a:pt x="12273" y="12150"/>
                </a:lnTo>
                <a:cubicBezTo>
                  <a:pt x="12002" y="12150"/>
                  <a:pt x="11782" y="12452"/>
                  <a:pt x="11782" y="12825"/>
                </a:cubicBezTo>
                <a:cubicBezTo>
                  <a:pt x="11782" y="13198"/>
                  <a:pt x="12002" y="13500"/>
                  <a:pt x="12273" y="13500"/>
                </a:cubicBezTo>
                <a:moveTo>
                  <a:pt x="12273" y="8100"/>
                </a:moveTo>
                <a:lnTo>
                  <a:pt x="18164" y="8100"/>
                </a:lnTo>
                <a:cubicBezTo>
                  <a:pt x="18434" y="8100"/>
                  <a:pt x="18655" y="7798"/>
                  <a:pt x="18655" y="7425"/>
                </a:cubicBezTo>
                <a:cubicBezTo>
                  <a:pt x="18655" y="7053"/>
                  <a:pt x="18434" y="6750"/>
                  <a:pt x="18164" y="6750"/>
                </a:cubicBezTo>
                <a:lnTo>
                  <a:pt x="12273" y="6750"/>
                </a:lnTo>
                <a:cubicBezTo>
                  <a:pt x="12002" y="6750"/>
                  <a:pt x="11782" y="7053"/>
                  <a:pt x="11782" y="7425"/>
                </a:cubicBezTo>
                <a:cubicBezTo>
                  <a:pt x="11782" y="7798"/>
                  <a:pt x="12002" y="8100"/>
                  <a:pt x="12273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597">
            <a:extLst>
              <a:ext uri="{FF2B5EF4-FFF2-40B4-BE49-F238E27FC236}">
                <a16:creationId xmlns:a16="http://schemas.microsoft.com/office/drawing/2014/main" id="{F6C7FDBB-6E9A-4977-82F0-26E1BB7847D4}"/>
              </a:ext>
            </a:extLst>
          </p:cNvPr>
          <p:cNvSpPr/>
          <p:nvPr/>
        </p:nvSpPr>
        <p:spPr bwMode="gray">
          <a:xfrm>
            <a:off x="7301544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9600"/>
                </a:moveTo>
                <a:lnTo>
                  <a:pt x="11291" y="9600"/>
                </a:lnTo>
                <a:cubicBezTo>
                  <a:pt x="11562" y="9600"/>
                  <a:pt x="11782" y="9332"/>
                  <a:pt x="11782" y="9000"/>
                </a:cubicBezTo>
                <a:cubicBezTo>
                  <a:pt x="11782" y="8669"/>
                  <a:pt x="11562" y="8400"/>
                  <a:pt x="11291" y="8400"/>
                </a:cubicBezTo>
                <a:lnTo>
                  <a:pt x="7364" y="8400"/>
                </a:lnTo>
                <a:cubicBezTo>
                  <a:pt x="7093" y="8400"/>
                  <a:pt x="6873" y="8669"/>
                  <a:pt x="6873" y="9000"/>
                </a:cubicBezTo>
                <a:cubicBezTo>
                  <a:pt x="6873" y="9332"/>
                  <a:pt x="7093" y="9600"/>
                  <a:pt x="7364" y="9600"/>
                </a:cubicBezTo>
                <a:moveTo>
                  <a:pt x="7364" y="12000"/>
                </a:moveTo>
                <a:lnTo>
                  <a:pt x="9327" y="12000"/>
                </a:lnTo>
                <a:cubicBezTo>
                  <a:pt x="9598" y="12000"/>
                  <a:pt x="9818" y="11732"/>
                  <a:pt x="9818" y="11400"/>
                </a:cubicBezTo>
                <a:cubicBezTo>
                  <a:pt x="9818" y="11069"/>
                  <a:pt x="9598" y="10800"/>
                  <a:pt x="9327" y="10800"/>
                </a:cubicBezTo>
                <a:lnTo>
                  <a:pt x="7364" y="10800"/>
                </a:lnTo>
                <a:cubicBezTo>
                  <a:pt x="7093" y="10800"/>
                  <a:pt x="6873" y="11069"/>
                  <a:pt x="6873" y="11400"/>
                </a:cubicBezTo>
                <a:cubicBezTo>
                  <a:pt x="6873" y="11732"/>
                  <a:pt x="7093" y="12000"/>
                  <a:pt x="7364" y="12000"/>
                </a:cubicBezTo>
                <a:moveTo>
                  <a:pt x="20618" y="20400"/>
                </a:moveTo>
                <a:lnTo>
                  <a:pt x="16691" y="20400"/>
                </a:lnTo>
                <a:lnTo>
                  <a:pt x="16691" y="19200"/>
                </a:lnTo>
                <a:lnTo>
                  <a:pt x="17182" y="19200"/>
                </a:lnTo>
                <a:cubicBezTo>
                  <a:pt x="17453" y="19200"/>
                  <a:pt x="17673" y="18932"/>
                  <a:pt x="17673" y="18600"/>
                </a:cubicBezTo>
                <a:cubicBezTo>
                  <a:pt x="17673" y="18269"/>
                  <a:pt x="17453" y="18000"/>
                  <a:pt x="17182" y="18000"/>
                </a:cubicBezTo>
                <a:lnTo>
                  <a:pt x="15218" y="18000"/>
                </a:lnTo>
                <a:cubicBezTo>
                  <a:pt x="14947" y="18000"/>
                  <a:pt x="14727" y="18269"/>
                  <a:pt x="14727" y="18600"/>
                </a:cubicBezTo>
                <a:cubicBezTo>
                  <a:pt x="14727" y="18932"/>
                  <a:pt x="14947" y="19200"/>
                  <a:pt x="15218" y="19200"/>
                </a:cubicBezTo>
                <a:lnTo>
                  <a:pt x="15709" y="19200"/>
                </a:lnTo>
                <a:lnTo>
                  <a:pt x="15709" y="20400"/>
                </a:lnTo>
                <a:lnTo>
                  <a:pt x="9818" y="20400"/>
                </a:lnTo>
                <a:lnTo>
                  <a:pt x="9818" y="19200"/>
                </a:lnTo>
                <a:lnTo>
                  <a:pt x="10309" y="19200"/>
                </a:lnTo>
                <a:cubicBezTo>
                  <a:pt x="10580" y="19200"/>
                  <a:pt x="10800" y="18932"/>
                  <a:pt x="10800" y="18600"/>
                </a:cubicBezTo>
                <a:cubicBezTo>
                  <a:pt x="10800" y="18269"/>
                  <a:pt x="10580" y="18000"/>
                  <a:pt x="10309" y="18000"/>
                </a:cubicBezTo>
                <a:lnTo>
                  <a:pt x="8345" y="18000"/>
                </a:lnTo>
                <a:cubicBezTo>
                  <a:pt x="8075" y="18000"/>
                  <a:pt x="7855" y="18269"/>
                  <a:pt x="7855" y="18600"/>
                </a:cubicBezTo>
                <a:cubicBezTo>
                  <a:pt x="7855" y="18932"/>
                  <a:pt x="8075" y="19200"/>
                  <a:pt x="8345" y="19200"/>
                </a:cubicBezTo>
                <a:lnTo>
                  <a:pt x="8836" y="19200"/>
                </a:lnTo>
                <a:lnTo>
                  <a:pt x="8836" y="20400"/>
                </a:ln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7364" y="14400"/>
                </a:moveTo>
                <a:lnTo>
                  <a:pt x="11291" y="14400"/>
                </a:lnTo>
                <a:cubicBezTo>
                  <a:pt x="11562" y="14400"/>
                  <a:pt x="11782" y="14132"/>
                  <a:pt x="11782" y="13800"/>
                </a:cubicBezTo>
                <a:cubicBezTo>
                  <a:pt x="11782" y="13469"/>
                  <a:pt x="11562" y="13200"/>
                  <a:pt x="11291" y="13200"/>
                </a:cubicBezTo>
                <a:lnTo>
                  <a:pt x="7364" y="13200"/>
                </a:lnTo>
                <a:cubicBezTo>
                  <a:pt x="7093" y="13200"/>
                  <a:pt x="6873" y="13469"/>
                  <a:pt x="6873" y="13800"/>
                </a:cubicBezTo>
                <a:cubicBezTo>
                  <a:pt x="6873" y="14132"/>
                  <a:pt x="7093" y="14400"/>
                  <a:pt x="7364" y="14400"/>
                </a:cubicBezTo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1"/>
                  <a:pt x="982" y="16801"/>
                </a:cubicBezTo>
                <a:lnTo>
                  <a:pt x="2455" y="16801"/>
                </a:lnTo>
                <a:cubicBezTo>
                  <a:pt x="2725" y="16801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14236" y="14400"/>
                </a:moveTo>
                <a:lnTo>
                  <a:pt x="16200" y="14400"/>
                </a:lnTo>
                <a:cubicBezTo>
                  <a:pt x="16471" y="14400"/>
                  <a:pt x="16691" y="14132"/>
                  <a:pt x="16691" y="13800"/>
                </a:cubicBezTo>
                <a:cubicBezTo>
                  <a:pt x="16691" y="13469"/>
                  <a:pt x="16471" y="13200"/>
                  <a:pt x="16200" y="13200"/>
                </a:cubicBezTo>
                <a:lnTo>
                  <a:pt x="14236" y="13200"/>
                </a:lnTo>
                <a:cubicBezTo>
                  <a:pt x="13966" y="13200"/>
                  <a:pt x="13745" y="13469"/>
                  <a:pt x="13745" y="13800"/>
                </a:cubicBezTo>
                <a:cubicBezTo>
                  <a:pt x="13745" y="14132"/>
                  <a:pt x="13966" y="14400"/>
                  <a:pt x="14236" y="14400"/>
                </a:cubicBezTo>
                <a:moveTo>
                  <a:pt x="14236" y="9600"/>
                </a:move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cubicBezTo>
                  <a:pt x="16691" y="8669"/>
                  <a:pt x="16471" y="8400"/>
                  <a:pt x="16200" y="8400"/>
                </a:cubicBezTo>
                <a:lnTo>
                  <a:pt x="14236" y="8400"/>
                </a:lnTo>
                <a:cubicBezTo>
                  <a:pt x="13966" y="8400"/>
                  <a:pt x="13745" y="8669"/>
                  <a:pt x="13745" y="9000"/>
                </a:cubicBezTo>
                <a:cubicBezTo>
                  <a:pt x="13745" y="9332"/>
                  <a:pt x="13966" y="9600"/>
                  <a:pt x="14236" y="9600"/>
                </a:cubicBezTo>
                <a:moveTo>
                  <a:pt x="14236" y="12000"/>
                </a:moveTo>
                <a:lnTo>
                  <a:pt x="18164" y="12000"/>
                </a:lnTo>
                <a:cubicBezTo>
                  <a:pt x="18434" y="12000"/>
                  <a:pt x="18655" y="11732"/>
                  <a:pt x="18655" y="11400"/>
                </a:cubicBezTo>
                <a:cubicBezTo>
                  <a:pt x="18655" y="11069"/>
                  <a:pt x="18434" y="10800"/>
                  <a:pt x="18164" y="10800"/>
                </a:cubicBezTo>
                <a:lnTo>
                  <a:pt x="14236" y="10800"/>
                </a:lnTo>
                <a:cubicBezTo>
                  <a:pt x="13966" y="10800"/>
                  <a:pt x="13745" y="11069"/>
                  <a:pt x="13745" y="11400"/>
                </a:cubicBezTo>
                <a:cubicBezTo>
                  <a:pt x="13745" y="11732"/>
                  <a:pt x="13966" y="12000"/>
                  <a:pt x="14236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598">
            <a:extLst>
              <a:ext uri="{FF2B5EF4-FFF2-40B4-BE49-F238E27FC236}">
                <a16:creationId xmlns:a16="http://schemas.microsoft.com/office/drawing/2014/main" id="{89610F87-8994-44A0-AC9B-1441FCED5332}"/>
              </a:ext>
            </a:extLst>
          </p:cNvPr>
          <p:cNvSpPr/>
          <p:nvPr/>
        </p:nvSpPr>
        <p:spPr bwMode="gray">
          <a:xfrm>
            <a:off x="7853568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873" y="8400"/>
                </a:moveTo>
                <a:lnTo>
                  <a:pt x="10800" y="8400"/>
                </a:lnTo>
                <a:lnTo>
                  <a:pt x="10800" y="12001"/>
                </a:lnTo>
                <a:lnTo>
                  <a:pt x="6873" y="12001"/>
                </a:lnTo>
                <a:cubicBezTo>
                  <a:pt x="6873" y="12001"/>
                  <a:pt x="6873" y="8400"/>
                  <a:pt x="6873" y="8400"/>
                </a:cubicBezTo>
                <a:close/>
                <a:moveTo>
                  <a:pt x="6382" y="13200"/>
                </a:moveTo>
                <a:lnTo>
                  <a:pt x="11291" y="13200"/>
                </a:lnTo>
                <a:cubicBezTo>
                  <a:pt x="11562" y="13200"/>
                  <a:pt x="11782" y="12932"/>
                  <a:pt x="11782" y="12600"/>
                </a:cubicBezTo>
                <a:lnTo>
                  <a:pt x="11782" y="7800"/>
                </a:lnTo>
                <a:cubicBezTo>
                  <a:pt x="11782" y="7469"/>
                  <a:pt x="11562" y="7200"/>
                  <a:pt x="11291" y="7200"/>
                </a:cubicBezTo>
                <a:lnTo>
                  <a:pt x="6382" y="7200"/>
                </a:lnTo>
                <a:cubicBezTo>
                  <a:pt x="6111" y="7200"/>
                  <a:pt x="5891" y="7469"/>
                  <a:pt x="5891" y="7800"/>
                </a:cubicBezTo>
                <a:lnTo>
                  <a:pt x="5891" y="12600"/>
                </a:lnTo>
                <a:cubicBezTo>
                  <a:pt x="5891" y="12932"/>
                  <a:pt x="6111" y="13200"/>
                  <a:pt x="6382" y="13200"/>
                </a:cubicBezTo>
                <a:moveTo>
                  <a:pt x="6382" y="4800"/>
                </a:moveTo>
                <a:cubicBezTo>
                  <a:pt x="6653" y="4800"/>
                  <a:pt x="6873" y="4531"/>
                  <a:pt x="6873" y="4200"/>
                </a:cubicBezTo>
                <a:cubicBezTo>
                  <a:pt x="6873" y="3868"/>
                  <a:pt x="6653" y="3600"/>
                  <a:pt x="6382" y="3600"/>
                </a:cubicBezTo>
                <a:cubicBezTo>
                  <a:pt x="6111" y="3600"/>
                  <a:pt x="5891" y="3868"/>
                  <a:pt x="5891" y="4200"/>
                </a:cubicBezTo>
                <a:cubicBezTo>
                  <a:pt x="5891" y="4531"/>
                  <a:pt x="6111" y="4800"/>
                  <a:pt x="6382" y="4800"/>
                </a:cubicBezTo>
                <a:moveTo>
                  <a:pt x="20618" y="20400"/>
                </a:moveTo>
                <a:lnTo>
                  <a:pt x="2945" y="20400"/>
                </a:lnTo>
                <a:cubicBezTo>
                  <a:pt x="1861" y="20400"/>
                  <a:pt x="982" y="19325"/>
                  <a:pt x="982" y="18000"/>
                </a:cubicBezTo>
                <a:lnTo>
                  <a:pt x="982" y="4800"/>
                </a:lnTo>
                <a:lnTo>
                  <a:pt x="2945" y="4800"/>
                </a:lnTo>
                <a:lnTo>
                  <a:pt x="2945" y="17400"/>
                </a:lnTo>
                <a:cubicBezTo>
                  <a:pt x="2945" y="17732"/>
                  <a:pt x="3166" y="18000"/>
                  <a:pt x="3436" y="18000"/>
                </a:cubicBezTo>
                <a:cubicBezTo>
                  <a:pt x="3707" y="18000"/>
                  <a:pt x="3927" y="17732"/>
                  <a:pt x="3927" y="17400"/>
                </a:cubicBezTo>
                <a:lnTo>
                  <a:pt x="3927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0618" y="0"/>
                </a:moveTo>
                <a:lnTo>
                  <a:pt x="3927" y="0"/>
                </a:lnTo>
                <a:cubicBezTo>
                  <a:pt x="3385" y="0"/>
                  <a:pt x="2945" y="538"/>
                  <a:pt x="2945" y="1200"/>
                </a:cubicBezTo>
                <a:lnTo>
                  <a:pt x="2945" y="3600"/>
                </a:lnTo>
                <a:lnTo>
                  <a:pt x="982" y="3600"/>
                </a:lnTo>
                <a:cubicBezTo>
                  <a:pt x="440" y="3600"/>
                  <a:pt x="0" y="4138"/>
                  <a:pt x="0" y="4800"/>
                </a:cubicBezTo>
                <a:lnTo>
                  <a:pt x="0" y="18000"/>
                </a:lnTo>
                <a:cubicBezTo>
                  <a:pt x="0" y="19988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6382" y="18000"/>
                </a:moveTo>
                <a:lnTo>
                  <a:pt x="18164" y="18000"/>
                </a:lnTo>
                <a:cubicBezTo>
                  <a:pt x="18434" y="18000"/>
                  <a:pt x="18655" y="17732"/>
                  <a:pt x="18655" y="17400"/>
                </a:cubicBezTo>
                <a:cubicBezTo>
                  <a:pt x="18655" y="17068"/>
                  <a:pt x="18434" y="16801"/>
                  <a:pt x="18164" y="16801"/>
                </a:cubicBezTo>
                <a:lnTo>
                  <a:pt x="6382" y="16801"/>
                </a:lnTo>
                <a:cubicBezTo>
                  <a:pt x="6111" y="16801"/>
                  <a:pt x="5891" y="17068"/>
                  <a:pt x="5891" y="17400"/>
                </a:cubicBezTo>
                <a:cubicBezTo>
                  <a:pt x="5891" y="17732"/>
                  <a:pt x="6111" y="18000"/>
                  <a:pt x="6382" y="18000"/>
                </a:cubicBezTo>
                <a:moveTo>
                  <a:pt x="6382" y="15600"/>
                </a:moveTo>
                <a:lnTo>
                  <a:pt x="18164" y="15600"/>
                </a:lnTo>
                <a:cubicBezTo>
                  <a:pt x="18434" y="15600"/>
                  <a:pt x="18655" y="15332"/>
                  <a:pt x="18655" y="15000"/>
                </a:cubicBezTo>
                <a:cubicBezTo>
                  <a:pt x="18655" y="14668"/>
                  <a:pt x="18434" y="14401"/>
                  <a:pt x="18164" y="14401"/>
                </a:cubicBezTo>
                <a:lnTo>
                  <a:pt x="6382" y="14401"/>
                </a:lnTo>
                <a:cubicBezTo>
                  <a:pt x="6111" y="14401"/>
                  <a:pt x="5891" y="14668"/>
                  <a:pt x="5891" y="15000"/>
                </a:cubicBezTo>
                <a:cubicBezTo>
                  <a:pt x="5891" y="15332"/>
                  <a:pt x="6111" y="15600"/>
                  <a:pt x="6382" y="15600"/>
                </a:cubicBezTo>
                <a:moveTo>
                  <a:pt x="8345" y="4800"/>
                </a:moveTo>
                <a:cubicBezTo>
                  <a:pt x="8616" y="4800"/>
                  <a:pt x="8836" y="4531"/>
                  <a:pt x="8836" y="4200"/>
                </a:cubicBezTo>
                <a:cubicBezTo>
                  <a:pt x="8836" y="3868"/>
                  <a:pt x="8616" y="3600"/>
                  <a:pt x="8345" y="3600"/>
                </a:cubicBezTo>
                <a:cubicBezTo>
                  <a:pt x="8075" y="3600"/>
                  <a:pt x="7855" y="3868"/>
                  <a:pt x="7855" y="4200"/>
                </a:cubicBezTo>
                <a:cubicBezTo>
                  <a:pt x="7855" y="4531"/>
                  <a:pt x="8075" y="4800"/>
                  <a:pt x="8345" y="4800"/>
                </a:cubicBezTo>
                <a:moveTo>
                  <a:pt x="18164" y="7200"/>
                </a:moveTo>
                <a:lnTo>
                  <a:pt x="14236" y="7200"/>
                </a:lnTo>
                <a:cubicBezTo>
                  <a:pt x="13966" y="7200"/>
                  <a:pt x="13745" y="7469"/>
                  <a:pt x="13745" y="7800"/>
                </a:cubicBezTo>
                <a:cubicBezTo>
                  <a:pt x="13745" y="8132"/>
                  <a:pt x="13966" y="8400"/>
                  <a:pt x="14236" y="8400"/>
                </a:cubicBezTo>
                <a:lnTo>
                  <a:pt x="18164" y="8400"/>
                </a:lnTo>
                <a:cubicBezTo>
                  <a:pt x="18434" y="8400"/>
                  <a:pt x="18655" y="8132"/>
                  <a:pt x="18655" y="7800"/>
                </a:cubicBezTo>
                <a:cubicBezTo>
                  <a:pt x="18655" y="7469"/>
                  <a:pt x="18434" y="7200"/>
                  <a:pt x="18164" y="7200"/>
                </a:cubicBezTo>
                <a:moveTo>
                  <a:pt x="18164" y="12001"/>
                </a:moveTo>
                <a:lnTo>
                  <a:pt x="14236" y="12001"/>
                </a:lnTo>
                <a:cubicBezTo>
                  <a:pt x="13966" y="12001"/>
                  <a:pt x="13745" y="12268"/>
                  <a:pt x="13745" y="12600"/>
                </a:cubicBezTo>
                <a:cubicBezTo>
                  <a:pt x="13745" y="12932"/>
                  <a:pt x="13966" y="13200"/>
                  <a:pt x="14236" y="13200"/>
                </a:cubicBezTo>
                <a:lnTo>
                  <a:pt x="18164" y="13200"/>
                </a:lnTo>
                <a:cubicBezTo>
                  <a:pt x="18434" y="13200"/>
                  <a:pt x="18655" y="12932"/>
                  <a:pt x="18655" y="12600"/>
                </a:cubicBezTo>
                <a:cubicBezTo>
                  <a:pt x="18655" y="12268"/>
                  <a:pt x="18434" y="12001"/>
                  <a:pt x="18164" y="12001"/>
                </a:cubicBezTo>
                <a:moveTo>
                  <a:pt x="18164" y="9600"/>
                </a:moveTo>
                <a:lnTo>
                  <a:pt x="14236" y="9600"/>
                </a:lnTo>
                <a:cubicBezTo>
                  <a:pt x="13966" y="9600"/>
                  <a:pt x="13745" y="9869"/>
                  <a:pt x="13745" y="10200"/>
                </a:cubicBezTo>
                <a:cubicBezTo>
                  <a:pt x="13745" y="10532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32"/>
                  <a:pt x="18655" y="10200"/>
                </a:cubicBezTo>
                <a:cubicBezTo>
                  <a:pt x="18655" y="9869"/>
                  <a:pt x="18434" y="9600"/>
                  <a:pt x="18164" y="9600"/>
                </a:cubicBezTo>
                <a:moveTo>
                  <a:pt x="18164" y="4800"/>
                </a:moveTo>
                <a:cubicBezTo>
                  <a:pt x="18434" y="4800"/>
                  <a:pt x="18655" y="4531"/>
                  <a:pt x="18655" y="4200"/>
                </a:cubicBezTo>
                <a:cubicBezTo>
                  <a:pt x="18655" y="3868"/>
                  <a:pt x="18434" y="3600"/>
                  <a:pt x="18164" y="3600"/>
                </a:cubicBezTo>
                <a:cubicBezTo>
                  <a:pt x="17893" y="3600"/>
                  <a:pt x="17673" y="3868"/>
                  <a:pt x="17673" y="4200"/>
                </a:cubicBezTo>
                <a:cubicBezTo>
                  <a:pt x="17673" y="4531"/>
                  <a:pt x="17893" y="4800"/>
                  <a:pt x="18164" y="4800"/>
                </a:cubicBezTo>
                <a:moveTo>
                  <a:pt x="16200" y="4800"/>
                </a:moveTo>
                <a:cubicBezTo>
                  <a:pt x="16471" y="4800"/>
                  <a:pt x="16691" y="4531"/>
                  <a:pt x="16691" y="4200"/>
                </a:cubicBezTo>
                <a:cubicBezTo>
                  <a:pt x="16691" y="3868"/>
                  <a:pt x="16471" y="3600"/>
                  <a:pt x="16200" y="3600"/>
                </a:cubicBezTo>
                <a:cubicBezTo>
                  <a:pt x="15929" y="3600"/>
                  <a:pt x="15709" y="3868"/>
                  <a:pt x="15709" y="4200"/>
                </a:cubicBezTo>
                <a:cubicBezTo>
                  <a:pt x="15709" y="4531"/>
                  <a:pt x="15929" y="4800"/>
                  <a:pt x="16200" y="4800"/>
                </a:cubicBezTo>
                <a:moveTo>
                  <a:pt x="10309" y="4800"/>
                </a:moveTo>
                <a:lnTo>
                  <a:pt x="14236" y="4800"/>
                </a:lnTo>
                <a:cubicBezTo>
                  <a:pt x="14507" y="4800"/>
                  <a:pt x="14727" y="4531"/>
                  <a:pt x="14727" y="4200"/>
                </a:cubicBezTo>
                <a:cubicBezTo>
                  <a:pt x="14727" y="3868"/>
                  <a:pt x="14507" y="3600"/>
                  <a:pt x="14236" y="3600"/>
                </a:cubicBezTo>
                <a:lnTo>
                  <a:pt x="10309" y="3600"/>
                </a:lnTo>
                <a:cubicBezTo>
                  <a:pt x="10038" y="3600"/>
                  <a:pt x="9818" y="3868"/>
                  <a:pt x="9818" y="4200"/>
                </a:cubicBezTo>
                <a:cubicBezTo>
                  <a:pt x="9818" y="4531"/>
                  <a:pt x="10038" y="4800"/>
                  <a:pt x="10309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599">
            <a:extLst>
              <a:ext uri="{FF2B5EF4-FFF2-40B4-BE49-F238E27FC236}">
                <a16:creationId xmlns:a16="http://schemas.microsoft.com/office/drawing/2014/main" id="{7F527932-0E05-4A61-B08F-2356BFBAF51D}"/>
              </a:ext>
            </a:extLst>
          </p:cNvPr>
          <p:cNvSpPr/>
          <p:nvPr/>
        </p:nvSpPr>
        <p:spPr bwMode="gray">
          <a:xfrm>
            <a:off x="8405593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7855"/>
                </a:moveTo>
                <a:cubicBezTo>
                  <a:pt x="6653" y="7855"/>
                  <a:pt x="6873" y="7635"/>
                  <a:pt x="6873" y="7364"/>
                </a:cubicBezTo>
                <a:cubicBezTo>
                  <a:pt x="6873" y="7092"/>
                  <a:pt x="6653" y="6873"/>
                  <a:pt x="6382" y="6873"/>
                </a:cubicBezTo>
                <a:cubicBezTo>
                  <a:pt x="6111" y="6873"/>
                  <a:pt x="5891" y="7092"/>
                  <a:pt x="5891" y="7364"/>
                </a:cubicBezTo>
                <a:cubicBezTo>
                  <a:pt x="5891" y="7635"/>
                  <a:pt x="6111" y="7855"/>
                  <a:pt x="6382" y="7855"/>
                </a:cubicBezTo>
                <a:moveTo>
                  <a:pt x="6873" y="10800"/>
                </a:moveTo>
                <a:lnTo>
                  <a:pt x="10800" y="10800"/>
                </a:lnTo>
                <a:lnTo>
                  <a:pt x="10800" y="13746"/>
                </a:lnTo>
                <a:lnTo>
                  <a:pt x="6873" y="13746"/>
                </a:lnTo>
                <a:cubicBezTo>
                  <a:pt x="6873" y="13746"/>
                  <a:pt x="6873" y="10800"/>
                  <a:pt x="6873" y="10800"/>
                </a:cubicBezTo>
                <a:close/>
                <a:moveTo>
                  <a:pt x="6382" y="14727"/>
                </a:moveTo>
                <a:lnTo>
                  <a:pt x="11291" y="14727"/>
                </a:lnTo>
                <a:cubicBezTo>
                  <a:pt x="11562" y="14727"/>
                  <a:pt x="11782" y="14508"/>
                  <a:pt x="11782" y="14236"/>
                </a:cubicBezTo>
                <a:lnTo>
                  <a:pt x="11782" y="10309"/>
                </a:lnTo>
                <a:cubicBezTo>
                  <a:pt x="11782" y="10038"/>
                  <a:pt x="11562" y="9818"/>
                  <a:pt x="11291" y="9818"/>
                </a:cubicBezTo>
                <a:lnTo>
                  <a:pt x="6382" y="9818"/>
                </a:lnTo>
                <a:cubicBezTo>
                  <a:pt x="6111" y="9818"/>
                  <a:pt x="5891" y="10038"/>
                  <a:pt x="5891" y="10309"/>
                </a:cubicBezTo>
                <a:lnTo>
                  <a:pt x="5891" y="14236"/>
                </a:lnTo>
                <a:cubicBezTo>
                  <a:pt x="5891" y="14508"/>
                  <a:pt x="6111" y="14727"/>
                  <a:pt x="6382" y="14727"/>
                </a:cubicBezTo>
                <a:moveTo>
                  <a:pt x="8345" y="7855"/>
                </a:moveTo>
                <a:cubicBezTo>
                  <a:pt x="8616" y="7855"/>
                  <a:pt x="8836" y="7635"/>
                  <a:pt x="8836" y="7364"/>
                </a:cubicBezTo>
                <a:cubicBezTo>
                  <a:pt x="8836" y="7092"/>
                  <a:pt x="8616" y="6873"/>
                  <a:pt x="8345" y="6873"/>
                </a:cubicBezTo>
                <a:cubicBezTo>
                  <a:pt x="8075" y="6873"/>
                  <a:pt x="7855" y="7092"/>
                  <a:pt x="7855" y="7364"/>
                </a:cubicBezTo>
                <a:cubicBezTo>
                  <a:pt x="7855" y="7635"/>
                  <a:pt x="8075" y="7855"/>
                  <a:pt x="8345" y="7855"/>
                </a:cubicBezTo>
                <a:moveTo>
                  <a:pt x="20618" y="20618"/>
                </a:move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7855"/>
                </a:lnTo>
                <a:lnTo>
                  <a:pt x="2945" y="7855"/>
                </a:lnTo>
                <a:lnTo>
                  <a:pt x="2945" y="18164"/>
                </a:lnTo>
                <a:cubicBezTo>
                  <a:pt x="2945" y="18435"/>
                  <a:pt x="3166" y="18655"/>
                  <a:pt x="3436" y="18655"/>
                </a:cubicBezTo>
                <a:cubicBezTo>
                  <a:pt x="3707" y="18655"/>
                  <a:pt x="3927" y="18435"/>
                  <a:pt x="3927" y="18164"/>
                </a:cubicBezTo>
                <a:lnTo>
                  <a:pt x="3927" y="4909"/>
                </a:lnTo>
                <a:lnTo>
                  <a:pt x="20618" y="4909"/>
                </a:lnTo>
                <a:cubicBezTo>
                  <a:pt x="20618" y="4909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3927" y="3927"/>
                </a:lnTo>
                <a:cubicBezTo>
                  <a:pt x="3385" y="3927"/>
                  <a:pt x="2945" y="4367"/>
                  <a:pt x="2945" y="4909"/>
                </a:cubicBezTo>
                <a:lnTo>
                  <a:pt x="2945" y="6873"/>
                </a:lnTo>
                <a:lnTo>
                  <a:pt x="982" y="6873"/>
                </a:lnTo>
                <a:cubicBezTo>
                  <a:pt x="440" y="6873"/>
                  <a:pt x="0" y="7313"/>
                  <a:pt x="0" y="7855"/>
                </a:cubicBezTo>
                <a:lnTo>
                  <a:pt x="0" y="18655"/>
                </a:lnTo>
                <a:cubicBezTo>
                  <a:pt x="0" y="20282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  <a:moveTo>
                  <a:pt x="6382" y="16691"/>
                </a:moveTo>
                <a:lnTo>
                  <a:pt x="18164" y="16691"/>
                </a:lnTo>
                <a:cubicBezTo>
                  <a:pt x="18434" y="16691"/>
                  <a:pt x="18655" y="16472"/>
                  <a:pt x="18655" y="16200"/>
                </a:cubicBezTo>
                <a:cubicBezTo>
                  <a:pt x="18655" y="15929"/>
                  <a:pt x="18434" y="15710"/>
                  <a:pt x="18164" y="15710"/>
                </a:cubicBezTo>
                <a:lnTo>
                  <a:pt x="6382" y="15710"/>
                </a:lnTo>
                <a:cubicBezTo>
                  <a:pt x="6111" y="15710"/>
                  <a:pt x="5891" y="15929"/>
                  <a:pt x="5891" y="16200"/>
                </a:cubicBezTo>
                <a:cubicBezTo>
                  <a:pt x="5891" y="16472"/>
                  <a:pt x="6111" y="16691"/>
                  <a:pt x="6382" y="16691"/>
                </a:cubicBezTo>
                <a:moveTo>
                  <a:pt x="10309" y="7855"/>
                </a:moveTo>
                <a:lnTo>
                  <a:pt x="14236" y="7855"/>
                </a:lnTo>
                <a:cubicBezTo>
                  <a:pt x="14507" y="7855"/>
                  <a:pt x="14727" y="7635"/>
                  <a:pt x="14727" y="7364"/>
                </a:cubicBezTo>
                <a:cubicBezTo>
                  <a:pt x="14727" y="7092"/>
                  <a:pt x="14507" y="6873"/>
                  <a:pt x="14236" y="6873"/>
                </a:cubicBezTo>
                <a:lnTo>
                  <a:pt x="10309" y="6873"/>
                </a:lnTo>
                <a:cubicBezTo>
                  <a:pt x="10038" y="6873"/>
                  <a:pt x="9818" y="7092"/>
                  <a:pt x="9818" y="7364"/>
                </a:cubicBezTo>
                <a:cubicBezTo>
                  <a:pt x="9818" y="7635"/>
                  <a:pt x="10038" y="7855"/>
                  <a:pt x="10309" y="7855"/>
                </a:cubicBezTo>
                <a:moveTo>
                  <a:pt x="6382" y="18655"/>
                </a:moveTo>
                <a:lnTo>
                  <a:pt x="18164" y="18655"/>
                </a:lnTo>
                <a:cubicBezTo>
                  <a:pt x="18434" y="18655"/>
                  <a:pt x="18655" y="18435"/>
                  <a:pt x="18655" y="18164"/>
                </a:cubicBezTo>
                <a:cubicBezTo>
                  <a:pt x="18655" y="17893"/>
                  <a:pt x="18434" y="17673"/>
                  <a:pt x="18164" y="17673"/>
                </a:cubicBezTo>
                <a:lnTo>
                  <a:pt x="6382" y="17673"/>
                </a:lnTo>
                <a:cubicBezTo>
                  <a:pt x="6111" y="17673"/>
                  <a:pt x="5891" y="17893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moveTo>
                  <a:pt x="4909" y="2945"/>
                </a:moveTo>
                <a:lnTo>
                  <a:pt x="20127" y="2945"/>
                </a:lnTo>
                <a:cubicBezTo>
                  <a:pt x="20398" y="2945"/>
                  <a:pt x="20618" y="2726"/>
                  <a:pt x="20618" y="2455"/>
                </a:cubicBezTo>
                <a:cubicBezTo>
                  <a:pt x="20618" y="2184"/>
                  <a:pt x="20398" y="1964"/>
                  <a:pt x="20127" y="1964"/>
                </a:cubicBezTo>
                <a:lnTo>
                  <a:pt x="4909" y="1964"/>
                </a:lnTo>
                <a:cubicBezTo>
                  <a:pt x="4638" y="1964"/>
                  <a:pt x="4418" y="2184"/>
                  <a:pt x="4418" y="2455"/>
                </a:cubicBezTo>
                <a:cubicBezTo>
                  <a:pt x="4418" y="2726"/>
                  <a:pt x="4638" y="2945"/>
                  <a:pt x="4909" y="2945"/>
                </a:cubicBezTo>
                <a:moveTo>
                  <a:pt x="18164" y="11783"/>
                </a:moveTo>
                <a:lnTo>
                  <a:pt x="14236" y="11783"/>
                </a:lnTo>
                <a:cubicBezTo>
                  <a:pt x="13966" y="11783"/>
                  <a:pt x="13745" y="12001"/>
                  <a:pt x="13745" y="12273"/>
                </a:cubicBezTo>
                <a:cubicBezTo>
                  <a:pt x="13745" y="12544"/>
                  <a:pt x="13966" y="12764"/>
                  <a:pt x="14236" y="12764"/>
                </a:cubicBezTo>
                <a:lnTo>
                  <a:pt x="18164" y="12764"/>
                </a:lnTo>
                <a:cubicBezTo>
                  <a:pt x="18434" y="12764"/>
                  <a:pt x="18655" y="12544"/>
                  <a:pt x="18655" y="12273"/>
                </a:cubicBezTo>
                <a:cubicBezTo>
                  <a:pt x="18655" y="12001"/>
                  <a:pt x="18434" y="11783"/>
                  <a:pt x="18164" y="11783"/>
                </a:cubicBezTo>
                <a:moveTo>
                  <a:pt x="6382" y="982"/>
                </a:moveTo>
                <a:lnTo>
                  <a:pt x="19145" y="982"/>
                </a:lnTo>
                <a:cubicBezTo>
                  <a:pt x="19416" y="982"/>
                  <a:pt x="19636" y="762"/>
                  <a:pt x="19636" y="491"/>
                </a:cubicBezTo>
                <a:cubicBezTo>
                  <a:pt x="19636" y="220"/>
                  <a:pt x="19416" y="0"/>
                  <a:pt x="19145" y="0"/>
                </a:cubicBezTo>
                <a:lnTo>
                  <a:pt x="6382" y="0"/>
                </a:lnTo>
                <a:cubicBezTo>
                  <a:pt x="6111" y="0"/>
                  <a:pt x="5891" y="220"/>
                  <a:pt x="5891" y="491"/>
                </a:cubicBezTo>
                <a:cubicBezTo>
                  <a:pt x="5891" y="762"/>
                  <a:pt x="6111" y="982"/>
                  <a:pt x="6382" y="982"/>
                </a:cubicBezTo>
                <a:moveTo>
                  <a:pt x="18164" y="13746"/>
                </a:moveTo>
                <a:lnTo>
                  <a:pt x="14236" y="13746"/>
                </a:lnTo>
                <a:cubicBezTo>
                  <a:pt x="13966" y="13746"/>
                  <a:pt x="13745" y="13965"/>
                  <a:pt x="13745" y="14236"/>
                </a:cubicBezTo>
                <a:cubicBezTo>
                  <a:pt x="13745" y="14508"/>
                  <a:pt x="13966" y="14727"/>
                  <a:pt x="14236" y="14727"/>
                </a:cubicBezTo>
                <a:lnTo>
                  <a:pt x="18164" y="14727"/>
                </a:lnTo>
                <a:cubicBezTo>
                  <a:pt x="18434" y="14727"/>
                  <a:pt x="18655" y="14508"/>
                  <a:pt x="18655" y="14236"/>
                </a:cubicBezTo>
                <a:cubicBezTo>
                  <a:pt x="18655" y="13965"/>
                  <a:pt x="18434" y="13746"/>
                  <a:pt x="18164" y="13746"/>
                </a:cubicBezTo>
                <a:moveTo>
                  <a:pt x="16200" y="7855"/>
                </a:moveTo>
                <a:cubicBezTo>
                  <a:pt x="16471" y="7855"/>
                  <a:pt x="16691" y="7635"/>
                  <a:pt x="16691" y="7364"/>
                </a:cubicBezTo>
                <a:cubicBezTo>
                  <a:pt x="16691" y="7092"/>
                  <a:pt x="16471" y="6873"/>
                  <a:pt x="16200" y="6873"/>
                </a:cubicBezTo>
                <a:cubicBezTo>
                  <a:pt x="15929" y="6873"/>
                  <a:pt x="15709" y="7092"/>
                  <a:pt x="15709" y="7364"/>
                </a:cubicBezTo>
                <a:cubicBezTo>
                  <a:pt x="15709" y="7635"/>
                  <a:pt x="15929" y="7855"/>
                  <a:pt x="16200" y="7855"/>
                </a:cubicBezTo>
                <a:moveTo>
                  <a:pt x="18164" y="7855"/>
                </a:moveTo>
                <a:cubicBezTo>
                  <a:pt x="18434" y="7855"/>
                  <a:pt x="18655" y="7635"/>
                  <a:pt x="18655" y="7364"/>
                </a:cubicBezTo>
                <a:cubicBezTo>
                  <a:pt x="18655" y="7092"/>
                  <a:pt x="18434" y="6873"/>
                  <a:pt x="18164" y="6873"/>
                </a:cubicBezTo>
                <a:cubicBezTo>
                  <a:pt x="17893" y="6873"/>
                  <a:pt x="17673" y="7092"/>
                  <a:pt x="17673" y="7364"/>
                </a:cubicBezTo>
                <a:cubicBezTo>
                  <a:pt x="17673" y="7635"/>
                  <a:pt x="17893" y="7855"/>
                  <a:pt x="18164" y="7855"/>
                </a:cubicBezTo>
                <a:moveTo>
                  <a:pt x="18164" y="9818"/>
                </a:moveTo>
                <a:lnTo>
                  <a:pt x="14236" y="9818"/>
                </a:lnTo>
                <a:cubicBezTo>
                  <a:pt x="13966" y="9818"/>
                  <a:pt x="13745" y="10038"/>
                  <a:pt x="13745" y="10309"/>
                </a:cubicBezTo>
                <a:cubicBezTo>
                  <a:pt x="13745" y="10581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81"/>
                  <a:pt x="18655" y="10309"/>
                </a:cubicBezTo>
                <a:cubicBezTo>
                  <a:pt x="18655" y="10038"/>
                  <a:pt x="18434" y="9818"/>
                  <a:pt x="18164" y="98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600">
            <a:extLst>
              <a:ext uri="{FF2B5EF4-FFF2-40B4-BE49-F238E27FC236}">
                <a16:creationId xmlns:a16="http://schemas.microsoft.com/office/drawing/2014/main" id="{CAD2D9B5-9860-45E0-A1C8-0DA0612E52B5}"/>
              </a:ext>
            </a:extLst>
          </p:cNvPr>
          <p:cNvSpPr/>
          <p:nvPr/>
        </p:nvSpPr>
        <p:spPr bwMode="gray">
          <a:xfrm>
            <a:off x="8957617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11291" y="10309"/>
                </a:lnTo>
                <a:lnTo>
                  <a:pt x="11291" y="5401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1"/>
                </a:cubicBezTo>
                <a:lnTo>
                  <a:pt x="10309" y="10309"/>
                </a:ln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0309" y="11292"/>
                </a:lnTo>
                <a:lnTo>
                  <a:pt x="10309" y="16200"/>
                </a:lnTo>
                <a:cubicBezTo>
                  <a:pt x="10309" y="16472"/>
                  <a:pt x="10529" y="16691"/>
                  <a:pt x="10800" y="16691"/>
                </a:cubicBezTo>
                <a:cubicBezTo>
                  <a:pt x="11071" y="16691"/>
                  <a:pt x="11291" y="16472"/>
                  <a:pt x="11291" y="16200"/>
                </a:cubicBezTo>
                <a:lnTo>
                  <a:pt x="11291" y="11292"/>
                </a:ln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601">
            <a:extLst>
              <a:ext uri="{FF2B5EF4-FFF2-40B4-BE49-F238E27FC236}">
                <a16:creationId xmlns:a16="http://schemas.microsoft.com/office/drawing/2014/main" id="{8C9F8E41-B6BA-427C-9901-84B578DDB45B}"/>
              </a:ext>
            </a:extLst>
          </p:cNvPr>
          <p:cNvSpPr/>
          <p:nvPr/>
        </p:nvSpPr>
        <p:spPr bwMode="gray">
          <a:xfrm>
            <a:off x="9509642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602">
            <a:extLst>
              <a:ext uri="{FF2B5EF4-FFF2-40B4-BE49-F238E27FC236}">
                <a16:creationId xmlns:a16="http://schemas.microsoft.com/office/drawing/2014/main" id="{B870B8BE-4BFB-40C9-8666-7AD7AAE6F934}"/>
              </a:ext>
            </a:extLst>
          </p:cNvPr>
          <p:cNvSpPr/>
          <p:nvPr/>
        </p:nvSpPr>
        <p:spPr bwMode="gray">
          <a:xfrm>
            <a:off x="10061666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6001"/>
                </a:moveTo>
                <a:lnTo>
                  <a:pt x="8345" y="6001"/>
                </a:lnTo>
                <a:cubicBezTo>
                  <a:pt x="8617" y="6001"/>
                  <a:pt x="8836" y="5732"/>
                  <a:pt x="8836" y="5400"/>
                </a:cubicBezTo>
                <a:cubicBezTo>
                  <a:pt x="8836" y="5069"/>
                  <a:pt x="8617" y="4800"/>
                  <a:pt x="8345" y="4800"/>
                </a:cubicBezTo>
                <a:lnTo>
                  <a:pt x="5400" y="4800"/>
                </a:lnTo>
                <a:cubicBezTo>
                  <a:pt x="5129" y="4800"/>
                  <a:pt x="4909" y="5069"/>
                  <a:pt x="4909" y="5400"/>
                </a:cubicBezTo>
                <a:cubicBezTo>
                  <a:pt x="4909" y="5732"/>
                  <a:pt x="5129" y="6001"/>
                  <a:pt x="5400" y="6001"/>
                </a:cubicBezTo>
                <a:moveTo>
                  <a:pt x="20618" y="20400"/>
                </a:moveTo>
                <a:lnTo>
                  <a:pt x="18655" y="20400"/>
                </a:lnTo>
                <a:lnTo>
                  <a:pt x="18655" y="18000"/>
                </a:lnTo>
                <a:cubicBezTo>
                  <a:pt x="18926" y="18000"/>
                  <a:pt x="19145" y="17732"/>
                  <a:pt x="19145" y="17400"/>
                </a:cubicBezTo>
                <a:cubicBezTo>
                  <a:pt x="19145" y="17069"/>
                  <a:pt x="18926" y="16801"/>
                  <a:pt x="18655" y="16801"/>
                </a:cubicBezTo>
                <a:lnTo>
                  <a:pt x="18655" y="3601"/>
                </a:lnTo>
                <a:lnTo>
                  <a:pt x="20618" y="3601"/>
                </a:lnTo>
                <a:cubicBezTo>
                  <a:pt x="20618" y="3601"/>
                  <a:pt x="20618" y="20400"/>
                  <a:pt x="20618" y="20400"/>
                </a:cubicBezTo>
                <a:close/>
                <a:moveTo>
                  <a:pt x="17673" y="16801"/>
                </a:moveTo>
                <a:cubicBezTo>
                  <a:pt x="17401" y="16801"/>
                  <a:pt x="17182" y="17069"/>
                  <a:pt x="17182" y="17400"/>
                </a:cubicBezTo>
                <a:cubicBezTo>
                  <a:pt x="17182" y="17732"/>
                  <a:pt x="17401" y="18000"/>
                  <a:pt x="17673" y="18000"/>
                </a:cubicBezTo>
                <a:lnTo>
                  <a:pt x="17673" y="20400"/>
                </a:lnTo>
                <a:lnTo>
                  <a:pt x="3927" y="20400"/>
                </a:lnTo>
                <a:lnTo>
                  <a:pt x="3927" y="18000"/>
                </a:lnTo>
                <a:cubicBezTo>
                  <a:pt x="4199" y="18000"/>
                  <a:pt x="4418" y="17732"/>
                  <a:pt x="4418" y="17400"/>
                </a:cubicBezTo>
                <a:cubicBezTo>
                  <a:pt x="4418" y="17069"/>
                  <a:pt x="4199" y="16801"/>
                  <a:pt x="3927" y="16801"/>
                </a:cubicBezTo>
                <a:lnTo>
                  <a:pt x="3927" y="3601"/>
                </a:lnTo>
                <a:lnTo>
                  <a:pt x="17673" y="3601"/>
                </a:lnTo>
                <a:cubicBezTo>
                  <a:pt x="17673" y="3601"/>
                  <a:pt x="17673" y="16801"/>
                  <a:pt x="17673" y="16801"/>
                </a:cubicBezTo>
                <a:close/>
                <a:moveTo>
                  <a:pt x="2945" y="16801"/>
                </a:moveTo>
                <a:cubicBezTo>
                  <a:pt x="2674" y="16801"/>
                  <a:pt x="2455" y="17069"/>
                  <a:pt x="2455" y="17400"/>
                </a:cubicBezTo>
                <a:cubicBezTo>
                  <a:pt x="2455" y="17732"/>
                  <a:pt x="2674" y="18000"/>
                  <a:pt x="2945" y="18000"/>
                </a:cubicBezTo>
                <a:lnTo>
                  <a:pt x="2945" y="20400"/>
                </a:lnTo>
                <a:lnTo>
                  <a:pt x="982" y="20400"/>
                </a:lnTo>
                <a:lnTo>
                  <a:pt x="982" y="3601"/>
                </a:lnTo>
                <a:lnTo>
                  <a:pt x="2945" y="3601"/>
                </a:lnTo>
                <a:cubicBezTo>
                  <a:pt x="2945" y="3601"/>
                  <a:pt x="2945" y="16801"/>
                  <a:pt x="2945" y="16801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39" y="2400"/>
                  <a:pt x="0" y="2938"/>
                  <a:pt x="0" y="3601"/>
                </a:cubicBezTo>
                <a:lnTo>
                  <a:pt x="0" y="20400"/>
                </a:lnTo>
                <a:cubicBezTo>
                  <a:pt x="0" y="2106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3"/>
                  <a:pt x="21600" y="204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  <a:moveTo>
                  <a:pt x="5400" y="8400"/>
                </a:moveTo>
                <a:lnTo>
                  <a:pt x="6382" y="8400"/>
                </a:lnTo>
                <a:cubicBezTo>
                  <a:pt x="6653" y="8400"/>
                  <a:pt x="6873" y="8132"/>
                  <a:pt x="6873" y="7800"/>
                </a:cubicBezTo>
                <a:cubicBezTo>
                  <a:pt x="6873" y="7469"/>
                  <a:pt x="6653" y="7200"/>
                  <a:pt x="6382" y="7200"/>
                </a:cubicBez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0"/>
                  <a:pt x="5400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603">
            <a:extLst>
              <a:ext uri="{FF2B5EF4-FFF2-40B4-BE49-F238E27FC236}">
                <a16:creationId xmlns:a16="http://schemas.microsoft.com/office/drawing/2014/main" id="{18E5FD88-4B17-4730-AFD9-870E85CD38C5}"/>
              </a:ext>
            </a:extLst>
          </p:cNvPr>
          <p:cNvSpPr/>
          <p:nvPr/>
        </p:nvSpPr>
        <p:spPr bwMode="gray">
          <a:xfrm>
            <a:off x="10613690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520"/>
                </a:moveTo>
                <a:lnTo>
                  <a:pt x="14727" y="20520"/>
                </a:lnTo>
                <a:lnTo>
                  <a:pt x="14727" y="18360"/>
                </a:lnTo>
                <a:cubicBezTo>
                  <a:pt x="14999" y="18360"/>
                  <a:pt x="15218" y="18119"/>
                  <a:pt x="15218" y="17820"/>
                </a:cubicBezTo>
                <a:cubicBezTo>
                  <a:pt x="15218" y="17522"/>
                  <a:pt x="14999" y="17280"/>
                  <a:pt x="14727" y="17280"/>
                </a:cubicBezTo>
                <a:lnTo>
                  <a:pt x="14727" y="7560"/>
                </a:lnTo>
                <a:lnTo>
                  <a:pt x="16691" y="7560"/>
                </a:lnTo>
                <a:cubicBezTo>
                  <a:pt x="16691" y="7560"/>
                  <a:pt x="16691" y="20520"/>
                  <a:pt x="16691" y="20520"/>
                </a:cubicBezTo>
                <a:close/>
                <a:moveTo>
                  <a:pt x="13745" y="17280"/>
                </a:moveTo>
                <a:cubicBezTo>
                  <a:pt x="13474" y="17280"/>
                  <a:pt x="13255" y="17522"/>
                  <a:pt x="13255" y="17820"/>
                </a:cubicBezTo>
                <a:cubicBezTo>
                  <a:pt x="13255" y="18119"/>
                  <a:pt x="13474" y="18360"/>
                  <a:pt x="13745" y="18360"/>
                </a:cubicBezTo>
                <a:lnTo>
                  <a:pt x="13745" y="20520"/>
                </a:lnTo>
                <a:lnTo>
                  <a:pt x="3927" y="20520"/>
                </a:lnTo>
                <a:lnTo>
                  <a:pt x="3927" y="18360"/>
                </a:lnTo>
                <a:cubicBezTo>
                  <a:pt x="4199" y="18360"/>
                  <a:pt x="4418" y="18119"/>
                  <a:pt x="4418" y="17820"/>
                </a:cubicBezTo>
                <a:cubicBezTo>
                  <a:pt x="4418" y="17522"/>
                  <a:pt x="4199" y="17280"/>
                  <a:pt x="3927" y="17280"/>
                </a:cubicBezTo>
                <a:lnTo>
                  <a:pt x="3927" y="7560"/>
                </a:lnTo>
                <a:lnTo>
                  <a:pt x="13745" y="7560"/>
                </a:lnTo>
                <a:cubicBezTo>
                  <a:pt x="13745" y="7560"/>
                  <a:pt x="13745" y="17280"/>
                  <a:pt x="13745" y="17280"/>
                </a:cubicBezTo>
                <a:close/>
                <a:moveTo>
                  <a:pt x="2945" y="17280"/>
                </a:moveTo>
                <a:cubicBezTo>
                  <a:pt x="2674" y="17280"/>
                  <a:pt x="2455" y="17522"/>
                  <a:pt x="2455" y="17820"/>
                </a:cubicBezTo>
                <a:cubicBezTo>
                  <a:pt x="2455" y="18119"/>
                  <a:pt x="2674" y="18360"/>
                  <a:pt x="2945" y="18360"/>
                </a:cubicBezTo>
                <a:lnTo>
                  <a:pt x="2945" y="20520"/>
                </a:lnTo>
                <a:lnTo>
                  <a:pt x="982" y="20520"/>
                </a:lnTo>
                <a:lnTo>
                  <a:pt x="982" y="7560"/>
                </a:lnTo>
                <a:lnTo>
                  <a:pt x="2945" y="7560"/>
                </a:lnTo>
                <a:cubicBezTo>
                  <a:pt x="2945" y="7560"/>
                  <a:pt x="2945" y="17280"/>
                  <a:pt x="2945" y="17280"/>
                </a:cubicBezTo>
                <a:close/>
                <a:moveTo>
                  <a:pt x="7855" y="5400"/>
                </a:moveTo>
                <a:lnTo>
                  <a:pt x="9818" y="5400"/>
                </a:lnTo>
                <a:cubicBezTo>
                  <a:pt x="10360" y="5400"/>
                  <a:pt x="10800" y="5884"/>
                  <a:pt x="10800" y="6481"/>
                </a:cubicBezTo>
                <a:lnTo>
                  <a:pt x="6873" y="6481"/>
                </a:lnTo>
                <a:cubicBezTo>
                  <a:pt x="6873" y="5884"/>
                  <a:pt x="7313" y="5400"/>
                  <a:pt x="7855" y="5400"/>
                </a:cubicBezTo>
                <a:moveTo>
                  <a:pt x="16691" y="6481"/>
                </a:moveTo>
                <a:lnTo>
                  <a:pt x="11782" y="6481"/>
                </a:lnTo>
                <a:cubicBezTo>
                  <a:pt x="11782" y="5287"/>
                  <a:pt x="10903" y="4321"/>
                  <a:pt x="9818" y="4321"/>
                </a:cubicBezTo>
                <a:lnTo>
                  <a:pt x="7855" y="4321"/>
                </a:lnTo>
                <a:cubicBezTo>
                  <a:pt x="6770" y="4321"/>
                  <a:pt x="5891" y="5287"/>
                  <a:pt x="5891" y="6481"/>
                </a:cubicBezTo>
                <a:lnTo>
                  <a:pt x="982" y="6481"/>
                </a:lnTo>
                <a:cubicBezTo>
                  <a:pt x="440" y="6481"/>
                  <a:pt x="0" y="6964"/>
                  <a:pt x="0" y="7560"/>
                </a:cubicBezTo>
                <a:lnTo>
                  <a:pt x="0" y="20520"/>
                </a:lnTo>
                <a:cubicBezTo>
                  <a:pt x="0" y="21116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116"/>
                  <a:pt x="17673" y="20520"/>
                </a:cubicBezTo>
                <a:lnTo>
                  <a:pt x="17673" y="7560"/>
                </a:lnTo>
                <a:cubicBezTo>
                  <a:pt x="17673" y="6964"/>
                  <a:pt x="17233" y="6481"/>
                  <a:pt x="16691" y="6481"/>
                </a:cubicBezTo>
                <a:moveTo>
                  <a:pt x="10800" y="2161"/>
                </a:moveTo>
                <a:cubicBezTo>
                  <a:pt x="10800" y="1564"/>
                  <a:pt x="11240" y="1080"/>
                  <a:pt x="11782" y="1080"/>
                </a:cubicBezTo>
                <a:lnTo>
                  <a:pt x="13745" y="1080"/>
                </a:lnTo>
                <a:cubicBezTo>
                  <a:pt x="14287" y="1080"/>
                  <a:pt x="14727" y="1564"/>
                  <a:pt x="14727" y="2161"/>
                </a:cubicBezTo>
                <a:cubicBezTo>
                  <a:pt x="14727" y="2161"/>
                  <a:pt x="10800" y="2161"/>
                  <a:pt x="10800" y="2161"/>
                </a:cubicBezTo>
                <a:close/>
                <a:moveTo>
                  <a:pt x="20618" y="2161"/>
                </a:moveTo>
                <a:lnTo>
                  <a:pt x="15709" y="2161"/>
                </a:lnTo>
                <a:cubicBezTo>
                  <a:pt x="15709" y="967"/>
                  <a:pt x="14830" y="0"/>
                  <a:pt x="13745" y="0"/>
                </a:cubicBezTo>
                <a:lnTo>
                  <a:pt x="11782" y="0"/>
                </a:lnTo>
                <a:cubicBezTo>
                  <a:pt x="10697" y="0"/>
                  <a:pt x="9818" y="967"/>
                  <a:pt x="9818" y="2161"/>
                </a:cubicBezTo>
                <a:lnTo>
                  <a:pt x="4909" y="2161"/>
                </a:lnTo>
                <a:cubicBezTo>
                  <a:pt x="4367" y="2161"/>
                  <a:pt x="3927" y="2644"/>
                  <a:pt x="3927" y="3240"/>
                </a:cubicBezTo>
                <a:lnTo>
                  <a:pt x="3927" y="4860"/>
                </a:lnTo>
                <a:cubicBezTo>
                  <a:pt x="3927" y="5159"/>
                  <a:pt x="4147" y="5400"/>
                  <a:pt x="4418" y="5400"/>
                </a:cubicBezTo>
                <a:cubicBezTo>
                  <a:pt x="4690" y="5400"/>
                  <a:pt x="4909" y="5159"/>
                  <a:pt x="4909" y="4860"/>
                </a:cubicBezTo>
                <a:lnTo>
                  <a:pt x="4909" y="3240"/>
                </a:lnTo>
                <a:lnTo>
                  <a:pt x="20618" y="3240"/>
                </a:lnTo>
                <a:lnTo>
                  <a:pt x="20618" y="16201"/>
                </a:lnTo>
                <a:lnTo>
                  <a:pt x="19145" y="16201"/>
                </a:lnTo>
                <a:cubicBezTo>
                  <a:pt x="18874" y="16201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20618" y="17280"/>
                </a:lnTo>
                <a:cubicBezTo>
                  <a:pt x="21160" y="17280"/>
                  <a:pt x="21600" y="16796"/>
                  <a:pt x="21600" y="16201"/>
                </a:cubicBezTo>
                <a:lnTo>
                  <a:pt x="21600" y="3240"/>
                </a:lnTo>
                <a:cubicBezTo>
                  <a:pt x="21600" y="2644"/>
                  <a:pt x="21160" y="2161"/>
                  <a:pt x="20618" y="2161"/>
                </a:cubicBezTo>
                <a:moveTo>
                  <a:pt x="5400" y="11881"/>
                </a:moveTo>
                <a:lnTo>
                  <a:pt x="6382" y="11881"/>
                </a:lnTo>
                <a:cubicBezTo>
                  <a:pt x="6653" y="11881"/>
                  <a:pt x="6873" y="11639"/>
                  <a:pt x="6873" y="11341"/>
                </a:cubicBezTo>
                <a:cubicBezTo>
                  <a:pt x="6873" y="11042"/>
                  <a:pt x="6653" y="10800"/>
                  <a:pt x="6382" y="10800"/>
                </a:cubicBezTo>
                <a:lnTo>
                  <a:pt x="5400" y="10800"/>
                </a:lnTo>
                <a:cubicBezTo>
                  <a:pt x="5129" y="10800"/>
                  <a:pt x="4909" y="11042"/>
                  <a:pt x="4909" y="11341"/>
                </a:cubicBezTo>
                <a:cubicBezTo>
                  <a:pt x="4909" y="11639"/>
                  <a:pt x="5129" y="11881"/>
                  <a:pt x="5400" y="11881"/>
                </a:cubicBezTo>
                <a:moveTo>
                  <a:pt x="5400" y="9720"/>
                </a:moveTo>
                <a:lnTo>
                  <a:pt x="8345" y="9720"/>
                </a:lnTo>
                <a:cubicBezTo>
                  <a:pt x="8617" y="9720"/>
                  <a:pt x="8836" y="9479"/>
                  <a:pt x="8836" y="9181"/>
                </a:cubicBezTo>
                <a:cubicBezTo>
                  <a:pt x="8836" y="8882"/>
                  <a:pt x="8617" y="8640"/>
                  <a:pt x="8345" y="8640"/>
                </a:cubicBezTo>
                <a:lnTo>
                  <a:pt x="5400" y="8640"/>
                </a:lnTo>
                <a:cubicBezTo>
                  <a:pt x="5129" y="8640"/>
                  <a:pt x="4909" y="8882"/>
                  <a:pt x="4909" y="9181"/>
                </a:cubicBezTo>
                <a:cubicBezTo>
                  <a:pt x="4909" y="9479"/>
                  <a:pt x="5129" y="9720"/>
                  <a:pt x="5400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604">
            <a:extLst>
              <a:ext uri="{FF2B5EF4-FFF2-40B4-BE49-F238E27FC236}">
                <a16:creationId xmlns:a16="http://schemas.microsoft.com/office/drawing/2014/main" id="{0ED5B742-C952-48C1-9ED3-418D7E807617}"/>
              </a:ext>
            </a:extLst>
          </p:cNvPr>
          <p:cNvSpPr/>
          <p:nvPr/>
        </p:nvSpPr>
        <p:spPr bwMode="gray">
          <a:xfrm>
            <a:off x="11165715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17673" y="9600"/>
                </a:lnTo>
                <a:lnTo>
                  <a:pt x="17673" y="8400"/>
                </a:lnTo>
                <a:cubicBezTo>
                  <a:pt x="17673" y="7738"/>
                  <a:pt x="17233" y="7200"/>
                  <a:pt x="16691" y="7200"/>
                </a:cubicBezTo>
                <a:lnTo>
                  <a:pt x="14727" y="7200"/>
                </a:lnTo>
                <a:cubicBezTo>
                  <a:pt x="14186" y="7200"/>
                  <a:pt x="13745" y="7738"/>
                  <a:pt x="13745" y="8400"/>
                </a:cubicBezTo>
                <a:lnTo>
                  <a:pt x="13745" y="9600"/>
                </a:lnTo>
                <a:lnTo>
                  <a:pt x="7855" y="9600"/>
                </a:lnTo>
                <a:lnTo>
                  <a:pt x="7855" y="8400"/>
                </a:lnTo>
                <a:cubicBezTo>
                  <a:pt x="7855" y="7738"/>
                  <a:pt x="7414" y="7200"/>
                  <a:pt x="6873" y="7200"/>
                </a:cubicBezTo>
                <a:lnTo>
                  <a:pt x="4909" y="7200"/>
                </a:lnTo>
                <a:cubicBezTo>
                  <a:pt x="4367" y="7200"/>
                  <a:pt x="3927" y="7738"/>
                  <a:pt x="3927" y="8400"/>
                </a:cubicBezTo>
                <a:lnTo>
                  <a:pt x="3927" y="9600"/>
                </a:lnTo>
                <a:lnTo>
                  <a:pt x="982" y="9600"/>
                </a:lnTo>
                <a:lnTo>
                  <a:pt x="982" y="3601"/>
                </a:lnTo>
                <a:lnTo>
                  <a:pt x="20618" y="3601"/>
                </a:lnTo>
                <a:cubicBezTo>
                  <a:pt x="20618" y="3601"/>
                  <a:pt x="20618" y="9600"/>
                  <a:pt x="20618" y="9600"/>
                </a:cubicBezTo>
                <a:close/>
                <a:moveTo>
                  <a:pt x="14727" y="8400"/>
                </a:moveTo>
                <a:lnTo>
                  <a:pt x="16691" y="8400"/>
                </a:lnTo>
                <a:lnTo>
                  <a:pt x="16691" y="12001"/>
                </a:lnTo>
                <a:lnTo>
                  <a:pt x="14727" y="12001"/>
                </a:lnTo>
                <a:cubicBezTo>
                  <a:pt x="14727" y="12001"/>
                  <a:pt x="14727" y="8400"/>
                  <a:pt x="14727" y="8400"/>
                </a:cubicBezTo>
                <a:close/>
                <a:moveTo>
                  <a:pt x="4909" y="8400"/>
                </a:moveTo>
                <a:lnTo>
                  <a:pt x="6873" y="8400"/>
                </a:lnTo>
                <a:lnTo>
                  <a:pt x="6873" y="12001"/>
                </a:lnTo>
                <a:lnTo>
                  <a:pt x="4909" y="12001"/>
                </a:lnTo>
                <a:cubicBezTo>
                  <a:pt x="4909" y="12001"/>
                  <a:pt x="4909" y="8400"/>
                  <a:pt x="4909" y="8400"/>
                </a:cubicBezTo>
                <a:close/>
                <a:moveTo>
                  <a:pt x="19636" y="20400"/>
                </a:moveTo>
                <a:lnTo>
                  <a:pt x="1964" y="20400"/>
                </a:lnTo>
                <a:lnTo>
                  <a:pt x="1964" y="10800"/>
                </a:lnTo>
                <a:lnTo>
                  <a:pt x="3927" y="10800"/>
                </a:lnTo>
                <a:lnTo>
                  <a:pt x="3927" y="12001"/>
                </a:lnTo>
                <a:cubicBezTo>
                  <a:pt x="3927" y="12662"/>
                  <a:pt x="4367" y="13200"/>
                  <a:pt x="4909" y="13200"/>
                </a:cubicBezTo>
                <a:lnTo>
                  <a:pt x="6873" y="13200"/>
                </a:lnTo>
                <a:cubicBezTo>
                  <a:pt x="7414" y="13200"/>
                  <a:pt x="7855" y="12662"/>
                  <a:pt x="7855" y="12001"/>
                </a:cubicBezTo>
                <a:lnTo>
                  <a:pt x="7855" y="10800"/>
                </a:lnTo>
                <a:lnTo>
                  <a:pt x="13745" y="10800"/>
                </a:lnTo>
                <a:lnTo>
                  <a:pt x="13745" y="12001"/>
                </a:lnTo>
                <a:cubicBezTo>
                  <a:pt x="13745" y="12662"/>
                  <a:pt x="14186" y="13200"/>
                  <a:pt x="14727" y="13200"/>
                </a:cubicBezTo>
                <a:lnTo>
                  <a:pt x="16691" y="13200"/>
                </a:lnTo>
                <a:cubicBezTo>
                  <a:pt x="17233" y="13200"/>
                  <a:pt x="17673" y="12662"/>
                  <a:pt x="17673" y="12001"/>
                </a:cubicBezTo>
                <a:lnTo>
                  <a:pt x="17673" y="10800"/>
                </a:lnTo>
                <a:lnTo>
                  <a:pt x="19636" y="10800"/>
                </a:lnTo>
                <a:cubicBezTo>
                  <a:pt x="19636" y="10800"/>
                  <a:pt x="19636" y="20400"/>
                  <a:pt x="19636" y="20400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40" y="2400"/>
                  <a:pt x="0" y="2938"/>
                  <a:pt x="0" y="3601"/>
                </a:cubicBezTo>
                <a:lnTo>
                  <a:pt x="0" y="9600"/>
                </a:lnTo>
                <a:cubicBezTo>
                  <a:pt x="0" y="10262"/>
                  <a:pt x="440" y="10800"/>
                  <a:pt x="982" y="10800"/>
                </a:cubicBezTo>
                <a:lnTo>
                  <a:pt x="982" y="20400"/>
                </a:lnTo>
                <a:cubicBezTo>
                  <a:pt x="982" y="21062"/>
                  <a:pt x="1422" y="21600"/>
                  <a:pt x="1964" y="21600"/>
                </a:cubicBezTo>
                <a:lnTo>
                  <a:pt x="19636" y="21600"/>
                </a:lnTo>
                <a:cubicBezTo>
                  <a:pt x="20178" y="21600"/>
                  <a:pt x="20618" y="21062"/>
                  <a:pt x="20618" y="20400"/>
                </a:cubicBez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605">
            <a:extLst>
              <a:ext uri="{FF2B5EF4-FFF2-40B4-BE49-F238E27FC236}">
                <a16:creationId xmlns:a16="http://schemas.microsoft.com/office/drawing/2014/main" id="{85F49AC1-6DF5-4A75-AD16-54EE6670EE34}"/>
              </a:ext>
            </a:extLst>
          </p:cNvPr>
          <p:cNvSpPr/>
          <p:nvPr/>
        </p:nvSpPr>
        <p:spPr bwMode="gray">
          <a:xfrm>
            <a:off x="6197495" y="2863104"/>
            <a:ext cx="289293" cy="2892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606">
            <a:extLst>
              <a:ext uri="{FF2B5EF4-FFF2-40B4-BE49-F238E27FC236}">
                <a16:creationId xmlns:a16="http://schemas.microsoft.com/office/drawing/2014/main" id="{84727B9A-A322-43F9-AFBF-D0F52A3926D6}"/>
              </a:ext>
            </a:extLst>
          </p:cNvPr>
          <p:cNvSpPr/>
          <p:nvPr/>
        </p:nvSpPr>
        <p:spPr bwMode="gray">
          <a:xfrm>
            <a:off x="674952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309"/>
                </a:moveTo>
                <a:cubicBezTo>
                  <a:pt x="10800" y="10581"/>
                  <a:pt x="10580" y="10800"/>
                  <a:pt x="10309" y="10800"/>
                </a:cubicBezTo>
                <a:cubicBezTo>
                  <a:pt x="10038" y="10800"/>
                  <a:pt x="9818" y="10581"/>
                  <a:pt x="9818" y="10309"/>
                </a:cubicBezTo>
                <a:cubicBezTo>
                  <a:pt x="9818" y="10038"/>
                  <a:pt x="10038" y="9818"/>
                  <a:pt x="10309" y="9818"/>
                </a:cubicBezTo>
                <a:cubicBezTo>
                  <a:pt x="10580" y="9818"/>
                  <a:pt x="10800" y="10038"/>
                  <a:pt x="10800" y="10309"/>
                </a:cubicBezTo>
                <a:moveTo>
                  <a:pt x="20618" y="20618"/>
                </a:moveTo>
                <a:lnTo>
                  <a:pt x="18655" y="20618"/>
                </a:lnTo>
                <a:lnTo>
                  <a:pt x="18655" y="19145"/>
                </a:lnTo>
                <a:cubicBezTo>
                  <a:pt x="18655" y="18875"/>
                  <a:pt x="18434" y="18655"/>
                  <a:pt x="18164" y="18655"/>
                </a:cubicBezTo>
                <a:lnTo>
                  <a:pt x="16691" y="18655"/>
                </a:lnTo>
                <a:lnTo>
                  <a:pt x="16691" y="17182"/>
                </a:lnTo>
                <a:cubicBezTo>
                  <a:pt x="16691" y="16911"/>
                  <a:pt x="16471" y="16691"/>
                  <a:pt x="16200" y="16691"/>
                </a:cubicBezTo>
                <a:lnTo>
                  <a:pt x="14441" y="16691"/>
                </a:lnTo>
                <a:lnTo>
                  <a:pt x="12850" y="15086"/>
                </a:lnTo>
                <a:cubicBezTo>
                  <a:pt x="12761" y="14997"/>
                  <a:pt x="12639" y="14943"/>
                  <a:pt x="12503" y="14943"/>
                </a:cubicBezTo>
                <a:cubicBezTo>
                  <a:pt x="12356" y="14943"/>
                  <a:pt x="12228" y="15010"/>
                  <a:pt x="12138" y="15113"/>
                </a:cubicBezTo>
                <a:lnTo>
                  <a:pt x="11833" y="15418"/>
                </a:lnTo>
                <a:cubicBezTo>
                  <a:pt x="11450" y="15801"/>
                  <a:pt x="10829" y="15801"/>
                  <a:pt x="10445" y="15418"/>
                </a:cubicBezTo>
                <a:lnTo>
                  <a:pt x="6167" y="11139"/>
                </a:lnTo>
                <a:cubicBezTo>
                  <a:pt x="5784" y="10756"/>
                  <a:pt x="5784" y="10136"/>
                  <a:pt x="6167" y="9752"/>
                </a:cubicBezTo>
                <a:lnTo>
                  <a:pt x="9752" y="6167"/>
                </a:lnTo>
                <a:cubicBezTo>
                  <a:pt x="10135" y="5784"/>
                  <a:pt x="10756" y="5784"/>
                  <a:pt x="11139" y="6167"/>
                </a:cubicBezTo>
                <a:lnTo>
                  <a:pt x="11761" y="6789"/>
                </a:lnTo>
                <a:cubicBezTo>
                  <a:pt x="11699" y="7609"/>
                  <a:pt x="11457" y="8377"/>
                  <a:pt x="11069" y="9054"/>
                </a:cubicBezTo>
                <a:cubicBezTo>
                  <a:pt x="10847" y="8919"/>
                  <a:pt x="10588" y="8837"/>
                  <a:pt x="10309" y="8837"/>
                </a:cubicBezTo>
                <a:cubicBezTo>
                  <a:pt x="9496" y="8837"/>
                  <a:pt x="8836" y="9496"/>
                  <a:pt x="8836" y="10309"/>
                </a:cubicBezTo>
                <a:cubicBezTo>
                  <a:pt x="8836" y="11123"/>
                  <a:pt x="9496" y="11782"/>
                  <a:pt x="10309" y="11782"/>
                </a:cubicBezTo>
                <a:cubicBezTo>
                  <a:pt x="11123" y="11782"/>
                  <a:pt x="11782" y="11123"/>
                  <a:pt x="11782" y="10309"/>
                </a:cubicBezTo>
                <a:cubicBezTo>
                  <a:pt x="11782" y="10156"/>
                  <a:pt x="11752" y="10012"/>
                  <a:pt x="11709" y="9873"/>
                </a:cubicBezTo>
                <a:cubicBezTo>
                  <a:pt x="12146" y="9210"/>
                  <a:pt x="12466" y="8463"/>
                  <a:pt x="12631" y="7659"/>
                </a:cubicBezTo>
                <a:lnTo>
                  <a:pt x="15417" y="10446"/>
                </a:lnTo>
                <a:cubicBezTo>
                  <a:pt x="15800" y="10829"/>
                  <a:pt x="15800" y="11450"/>
                  <a:pt x="15417" y="11833"/>
                </a:cubicBezTo>
                <a:lnTo>
                  <a:pt x="15128" y="12122"/>
                </a:lnTo>
                <a:cubicBezTo>
                  <a:pt x="15025" y="12213"/>
                  <a:pt x="14957" y="12341"/>
                  <a:pt x="14957" y="12487"/>
                </a:cubicBezTo>
                <a:cubicBezTo>
                  <a:pt x="14957" y="12623"/>
                  <a:pt x="15013" y="12746"/>
                  <a:pt x="15101" y="12835"/>
                </a:cubicBezTo>
                <a:lnTo>
                  <a:pt x="20618" y="18367"/>
                </a:lnTo>
                <a:cubicBezTo>
                  <a:pt x="20618" y="18367"/>
                  <a:pt x="20618" y="20618"/>
                  <a:pt x="20618" y="20618"/>
                </a:cubicBezTo>
                <a:close/>
                <a:moveTo>
                  <a:pt x="5343" y="11673"/>
                </a:moveTo>
                <a:cubicBezTo>
                  <a:pt x="2859" y="11190"/>
                  <a:pt x="982" y="9008"/>
                  <a:pt x="982" y="6383"/>
                </a:cubicBezTo>
                <a:cubicBezTo>
                  <a:pt x="982" y="3400"/>
                  <a:pt x="3399" y="982"/>
                  <a:pt x="6382" y="982"/>
                </a:cubicBezTo>
                <a:cubicBezTo>
                  <a:pt x="9011" y="982"/>
                  <a:pt x="11198" y="2862"/>
                  <a:pt x="11681" y="5349"/>
                </a:cubicBezTo>
                <a:cubicBezTo>
                  <a:pt x="10910" y="4719"/>
                  <a:pt x="9777" y="4755"/>
                  <a:pt x="9058" y="5473"/>
                </a:cubicBezTo>
                <a:lnTo>
                  <a:pt x="5474" y="9058"/>
                </a:lnTo>
                <a:cubicBezTo>
                  <a:pt x="4757" y="9775"/>
                  <a:pt x="4719" y="10904"/>
                  <a:pt x="5343" y="11673"/>
                </a:cubicBezTo>
                <a:moveTo>
                  <a:pt x="21456" y="17817"/>
                </a:moveTo>
                <a:lnTo>
                  <a:pt x="16142" y="12488"/>
                </a:lnTo>
                <a:cubicBezTo>
                  <a:pt x="16874" y="11720"/>
                  <a:pt x="16865" y="10507"/>
                  <a:pt x="16111" y="9752"/>
                </a:cubicBezTo>
                <a:lnTo>
                  <a:pt x="12763" y="6404"/>
                </a:lnTo>
                <a:cubicBezTo>
                  <a:pt x="12763" y="6396"/>
                  <a:pt x="12764" y="6389"/>
                  <a:pt x="12764" y="6383"/>
                </a:cubicBezTo>
                <a:cubicBezTo>
                  <a:pt x="12764" y="2857"/>
                  <a:pt x="9907" y="0"/>
                  <a:pt x="6382" y="0"/>
                </a:cubicBezTo>
                <a:cubicBezTo>
                  <a:pt x="2857" y="0"/>
                  <a:pt x="0" y="2857"/>
                  <a:pt x="0" y="6383"/>
                </a:cubicBezTo>
                <a:cubicBezTo>
                  <a:pt x="0" y="9907"/>
                  <a:pt x="2857" y="12764"/>
                  <a:pt x="6382" y="12764"/>
                </a:cubicBezTo>
                <a:cubicBezTo>
                  <a:pt x="6389" y="12764"/>
                  <a:pt x="6396" y="12763"/>
                  <a:pt x="6403" y="12763"/>
                </a:cubicBezTo>
                <a:lnTo>
                  <a:pt x="9752" y="16111"/>
                </a:lnTo>
                <a:cubicBezTo>
                  <a:pt x="10511" y="16870"/>
                  <a:pt x="11735" y="16875"/>
                  <a:pt x="12503" y="16130"/>
                </a:cubicBezTo>
                <a:lnTo>
                  <a:pt x="13889" y="17529"/>
                </a:lnTo>
                <a:cubicBezTo>
                  <a:pt x="13978" y="17618"/>
                  <a:pt x="14101" y="17673"/>
                  <a:pt x="14236" y="17673"/>
                </a:cubicBezTo>
                <a:lnTo>
                  <a:pt x="15709" y="17673"/>
                </a:lnTo>
                <a:lnTo>
                  <a:pt x="15709" y="19145"/>
                </a:lnTo>
                <a:cubicBezTo>
                  <a:pt x="15709" y="19417"/>
                  <a:pt x="15929" y="19636"/>
                  <a:pt x="16200" y="19636"/>
                </a:cubicBezTo>
                <a:lnTo>
                  <a:pt x="17673" y="19636"/>
                </a:lnTo>
                <a:lnTo>
                  <a:pt x="17673" y="21109"/>
                </a:lnTo>
                <a:cubicBezTo>
                  <a:pt x="17673" y="21381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lnTo>
                  <a:pt x="21600" y="18164"/>
                </a:lnTo>
                <a:cubicBezTo>
                  <a:pt x="21600" y="18029"/>
                  <a:pt x="21545" y="17906"/>
                  <a:pt x="21456" y="1781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607">
            <a:extLst>
              <a:ext uri="{FF2B5EF4-FFF2-40B4-BE49-F238E27FC236}">
                <a16:creationId xmlns:a16="http://schemas.microsoft.com/office/drawing/2014/main" id="{7BEBBA04-C4E3-43B0-BC58-220A740B4349}"/>
              </a:ext>
            </a:extLst>
          </p:cNvPr>
          <p:cNvSpPr/>
          <p:nvPr/>
        </p:nvSpPr>
        <p:spPr bwMode="gray">
          <a:xfrm>
            <a:off x="7301544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1964" y="16800"/>
                </a:lnTo>
                <a:cubicBezTo>
                  <a:pt x="879" y="16800"/>
                  <a:pt x="0" y="17874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4"/>
                  <a:pt x="20721" y="16800"/>
                  <a:pt x="19636" y="16800"/>
                </a:cubicBezTo>
                <a:moveTo>
                  <a:pt x="1964" y="1200"/>
                </a:moveTo>
                <a:lnTo>
                  <a:pt x="19636" y="1200"/>
                </a:lnTo>
                <a:cubicBezTo>
                  <a:pt x="20178" y="1200"/>
                  <a:pt x="20618" y="1737"/>
                  <a:pt x="20618" y="2399"/>
                </a:cubicBezTo>
                <a:cubicBezTo>
                  <a:pt x="20618" y="3063"/>
                  <a:pt x="20178" y="3599"/>
                  <a:pt x="19636" y="3599"/>
                </a:cubicBezTo>
                <a:lnTo>
                  <a:pt x="1964" y="3599"/>
                </a:lnTo>
                <a:cubicBezTo>
                  <a:pt x="1422" y="3599"/>
                  <a:pt x="982" y="3063"/>
                  <a:pt x="982" y="2399"/>
                </a:cubicBezTo>
                <a:cubicBezTo>
                  <a:pt x="982" y="1737"/>
                  <a:pt x="1422" y="1200"/>
                  <a:pt x="1964" y="1200"/>
                </a:cubicBezTo>
                <a:moveTo>
                  <a:pt x="1964" y="4799"/>
                </a:moveTo>
                <a:lnTo>
                  <a:pt x="19636" y="4799"/>
                </a:lnTo>
                <a:cubicBezTo>
                  <a:pt x="20721" y="4799"/>
                  <a:pt x="21600" y="3725"/>
                  <a:pt x="21600" y="2399"/>
                </a:cubicBezTo>
                <a:cubicBezTo>
                  <a:pt x="21600" y="1074"/>
                  <a:pt x="20721" y="0"/>
                  <a:pt x="19636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cubicBezTo>
                  <a:pt x="0" y="3725"/>
                  <a:pt x="879" y="4799"/>
                  <a:pt x="1964" y="4799"/>
                </a:cubicBezTo>
                <a:moveTo>
                  <a:pt x="19636" y="12000"/>
                </a:moveTo>
                <a:lnTo>
                  <a:pt x="1964" y="12000"/>
                </a:lnTo>
                <a:cubicBezTo>
                  <a:pt x="1422" y="12000"/>
                  <a:pt x="982" y="11463"/>
                  <a:pt x="982" y="10800"/>
                </a:cubicBezTo>
                <a:cubicBezTo>
                  <a:pt x="982" y="10137"/>
                  <a:pt x="1422" y="9600"/>
                  <a:pt x="1964" y="9600"/>
                </a:cubicBezTo>
                <a:lnTo>
                  <a:pt x="19636" y="9600"/>
                </a:lnTo>
                <a:cubicBezTo>
                  <a:pt x="20178" y="9600"/>
                  <a:pt x="20618" y="10137"/>
                  <a:pt x="20618" y="10800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0"/>
                </a:moveTo>
                <a:lnTo>
                  <a:pt x="1964" y="8400"/>
                </a:lnTo>
                <a:cubicBezTo>
                  <a:pt x="879" y="8400"/>
                  <a:pt x="0" y="9474"/>
                  <a:pt x="0" y="10800"/>
                </a:cubicBezTo>
                <a:cubicBezTo>
                  <a:pt x="0" y="12125"/>
                  <a:pt x="879" y="13200"/>
                  <a:pt x="1964" y="13200"/>
                </a:cubicBezTo>
                <a:lnTo>
                  <a:pt x="19636" y="13200"/>
                </a:lnTo>
                <a:cubicBezTo>
                  <a:pt x="20721" y="13200"/>
                  <a:pt x="21600" y="12125"/>
                  <a:pt x="21600" y="10800"/>
                </a:cubicBezTo>
                <a:cubicBezTo>
                  <a:pt x="21600" y="9474"/>
                  <a:pt x="20721" y="8400"/>
                  <a:pt x="19636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608">
            <a:extLst>
              <a:ext uri="{FF2B5EF4-FFF2-40B4-BE49-F238E27FC236}">
                <a16:creationId xmlns:a16="http://schemas.microsoft.com/office/drawing/2014/main" id="{697EBC40-B935-4C0A-AD14-35A6548FD5F1}"/>
              </a:ext>
            </a:extLst>
          </p:cNvPr>
          <p:cNvSpPr/>
          <p:nvPr/>
        </p:nvSpPr>
        <p:spPr bwMode="gray">
          <a:xfrm>
            <a:off x="7853568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3600"/>
                </a:moveTo>
                <a:cubicBezTo>
                  <a:pt x="1422" y="3600"/>
                  <a:pt x="982" y="3063"/>
                  <a:pt x="982" y="2400"/>
                </a:cubicBezTo>
                <a:cubicBezTo>
                  <a:pt x="982" y="1738"/>
                  <a:pt x="1422" y="1200"/>
                  <a:pt x="1964" y="1200"/>
                </a:cubicBezTo>
                <a:cubicBezTo>
                  <a:pt x="2506" y="1200"/>
                  <a:pt x="2945" y="1738"/>
                  <a:pt x="2945" y="2400"/>
                </a:cubicBezTo>
                <a:cubicBezTo>
                  <a:pt x="2945" y="3063"/>
                  <a:pt x="2506" y="3600"/>
                  <a:pt x="1964" y="3600"/>
                </a:cubicBezTo>
                <a:moveTo>
                  <a:pt x="1964" y="0"/>
                </a:moveTo>
                <a:cubicBezTo>
                  <a:pt x="879" y="0"/>
                  <a:pt x="0" y="1075"/>
                  <a:pt x="0" y="2400"/>
                </a:cubicBezTo>
                <a:cubicBezTo>
                  <a:pt x="0" y="3726"/>
                  <a:pt x="879" y="4800"/>
                  <a:pt x="1964" y="4800"/>
                </a:cubicBezTo>
                <a:cubicBezTo>
                  <a:pt x="3048" y="4800"/>
                  <a:pt x="3927" y="3726"/>
                  <a:pt x="3927" y="2400"/>
                </a:cubicBezTo>
                <a:cubicBezTo>
                  <a:pt x="3927" y="1075"/>
                  <a:pt x="3048" y="0"/>
                  <a:pt x="1964" y="0"/>
                </a:cubicBezTo>
                <a:moveTo>
                  <a:pt x="1964" y="12000"/>
                </a:moveTo>
                <a:cubicBezTo>
                  <a:pt x="1422" y="12000"/>
                  <a:pt x="982" y="11463"/>
                  <a:pt x="982" y="10800"/>
                </a:cubicBezTo>
                <a:cubicBezTo>
                  <a:pt x="982" y="10138"/>
                  <a:pt x="1422" y="9600"/>
                  <a:pt x="1964" y="9600"/>
                </a:cubicBezTo>
                <a:cubicBezTo>
                  <a:pt x="2506" y="9600"/>
                  <a:pt x="2945" y="10138"/>
                  <a:pt x="2945" y="10800"/>
                </a:cubicBezTo>
                <a:cubicBezTo>
                  <a:pt x="2945" y="11463"/>
                  <a:pt x="2506" y="12000"/>
                  <a:pt x="1964" y="12000"/>
                </a:cubicBezTo>
                <a:moveTo>
                  <a:pt x="1964" y="8401"/>
                </a:moveTo>
                <a:cubicBezTo>
                  <a:pt x="879" y="8401"/>
                  <a:pt x="0" y="9475"/>
                  <a:pt x="0" y="10800"/>
                </a:cubicBezTo>
                <a:cubicBezTo>
                  <a:pt x="0" y="12126"/>
                  <a:pt x="879" y="13200"/>
                  <a:pt x="1964" y="13200"/>
                </a:cubicBezTo>
                <a:cubicBezTo>
                  <a:pt x="3048" y="13200"/>
                  <a:pt x="3927" y="12126"/>
                  <a:pt x="3927" y="10800"/>
                </a:cubicBezTo>
                <a:cubicBezTo>
                  <a:pt x="3927" y="9475"/>
                  <a:pt x="3048" y="8401"/>
                  <a:pt x="1964" y="8401"/>
                </a:cubicBezTo>
                <a:moveTo>
                  <a:pt x="19636" y="12000"/>
                </a:moveTo>
                <a:lnTo>
                  <a:pt x="7855" y="12000"/>
                </a:lnTo>
                <a:cubicBezTo>
                  <a:pt x="7313" y="12000"/>
                  <a:pt x="6873" y="11463"/>
                  <a:pt x="6873" y="10801"/>
                </a:cubicBezTo>
                <a:cubicBezTo>
                  <a:pt x="6873" y="10138"/>
                  <a:pt x="7313" y="9600"/>
                  <a:pt x="7855" y="9600"/>
                </a:cubicBezTo>
                <a:lnTo>
                  <a:pt x="19636" y="9600"/>
                </a:lnTo>
                <a:cubicBezTo>
                  <a:pt x="20178" y="9600"/>
                  <a:pt x="20618" y="10138"/>
                  <a:pt x="20618" y="10801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1"/>
                </a:moveTo>
                <a:lnTo>
                  <a:pt x="7855" y="8401"/>
                </a:lnTo>
                <a:cubicBezTo>
                  <a:pt x="6770" y="8401"/>
                  <a:pt x="5891" y="9475"/>
                  <a:pt x="5891" y="10801"/>
                </a:cubicBezTo>
                <a:cubicBezTo>
                  <a:pt x="5891" y="12126"/>
                  <a:pt x="6770" y="13200"/>
                  <a:pt x="7855" y="13200"/>
                </a:cubicBezTo>
                <a:lnTo>
                  <a:pt x="19636" y="13200"/>
                </a:lnTo>
                <a:cubicBezTo>
                  <a:pt x="20721" y="13200"/>
                  <a:pt x="21600" y="12126"/>
                  <a:pt x="21600" y="10801"/>
                </a:cubicBezTo>
                <a:cubicBezTo>
                  <a:pt x="21600" y="9475"/>
                  <a:pt x="20721" y="8401"/>
                  <a:pt x="19636" y="8401"/>
                </a:cubicBezTo>
                <a:moveTo>
                  <a:pt x="19636" y="20400"/>
                </a:moveTo>
                <a:lnTo>
                  <a:pt x="7855" y="20400"/>
                </a:lnTo>
                <a:cubicBezTo>
                  <a:pt x="7313" y="20400"/>
                  <a:pt x="6873" y="19862"/>
                  <a:pt x="6873" y="19200"/>
                </a:cubicBezTo>
                <a:cubicBezTo>
                  <a:pt x="6873" y="18538"/>
                  <a:pt x="7313" y="18000"/>
                  <a:pt x="7855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7855" y="16800"/>
                </a:lnTo>
                <a:cubicBezTo>
                  <a:pt x="6770" y="16800"/>
                  <a:pt x="5891" y="17875"/>
                  <a:pt x="5891" y="19200"/>
                </a:cubicBezTo>
                <a:cubicBezTo>
                  <a:pt x="5891" y="20526"/>
                  <a:pt x="6770" y="21600"/>
                  <a:pt x="7855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5"/>
                  <a:pt x="20721" y="16800"/>
                  <a:pt x="19636" y="16800"/>
                </a:cubicBezTo>
                <a:moveTo>
                  <a:pt x="7855" y="1201"/>
                </a:moveTo>
                <a:lnTo>
                  <a:pt x="19636" y="1201"/>
                </a:lnTo>
                <a:cubicBezTo>
                  <a:pt x="20178" y="1201"/>
                  <a:pt x="20618" y="1738"/>
                  <a:pt x="20618" y="2400"/>
                </a:cubicBezTo>
                <a:cubicBezTo>
                  <a:pt x="20618" y="3063"/>
                  <a:pt x="20178" y="3600"/>
                  <a:pt x="19636" y="3600"/>
                </a:cubicBezTo>
                <a:lnTo>
                  <a:pt x="7855" y="3600"/>
                </a:lnTo>
                <a:cubicBezTo>
                  <a:pt x="7313" y="3600"/>
                  <a:pt x="6873" y="3063"/>
                  <a:pt x="6873" y="2400"/>
                </a:cubicBezTo>
                <a:cubicBezTo>
                  <a:pt x="6873" y="1738"/>
                  <a:pt x="7313" y="1201"/>
                  <a:pt x="7855" y="1201"/>
                </a:cubicBezTo>
                <a:moveTo>
                  <a:pt x="7855" y="4800"/>
                </a:moveTo>
                <a:lnTo>
                  <a:pt x="19636" y="4800"/>
                </a:lnTo>
                <a:cubicBezTo>
                  <a:pt x="20721" y="4800"/>
                  <a:pt x="21600" y="3726"/>
                  <a:pt x="21600" y="2400"/>
                </a:cubicBezTo>
                <a:cubicBezTo>
                  <a:pt x="21600" y="1075"/>
                  <a:pt x="20721" y="1"/>
                  <a:pt x="19636" y="1"/>
                </a:cubicBezTo>
                <a:lnTo>
                  <a:pt x="7855" y="1"/>
                </a:lnTo>
                <a:cubicBezTo>
                  <a:pt x="6770" y="1"/>
                  <a:pt x="5891" y="1075"/>
                  <a:pt x="5891" y="2400"/>
                </a:cubicBezTo>
                <a:cubicBezTo>
                  <a:pt x="5891" y="3726"/>
                  <a:pt x="6770" y="4800"/>
                  <a:pt x="7855" y="4800"/>
                </a:cubicBezTo>
                <a:moveTo>
                  <a:pt x="1964" y="20400"/>
                </a:move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cubicBezTo>
                  <a:pt x="2506" y="18000"/>
                  <a:pt x="2945" y="18538"/>
                  <a:pt x="2945" y="19200"/>
                </a:cubicBezTo>
                <a:cubicBezTo>
                  <a:pt x="2945" y="19862"/>
                  <a:pt x="2506" y="20400"/>
                  <a:pt x="1964" y="20400"/>
                </a:cubicBezTo>
                <a:moveTo>
                  <a:pt x="1964" y="16800"/>
                </a:moveTo>
                <a:cubicBezTo>
                  <a:pt x="879" y="16800"/>
                  <a:pt x="0" y="17875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cubicBezTo>
                  <a:pt x="3048" y="21600"/>
                  <a:pt x="3927" y="20526"/>
                  <a:pt x="3927" y="19200"/>
                </a:cubicBezTo>
                <a:cubicBezTo>
                  <a:pt x="3927" y="17875"/>
                  <a:pt x="3048" y="16800"/>
                  <a:pt x="1964" y="16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609">
            <a:extLst>
              <a:ext uri="{FF2B5EF4-FFF2-40B4-BE49-F238E27FC236}">
                <a16:creationId xmlns:a16="http://schemas.microsoft.com/office/drawing/2014/main" id="{DC12E784-0686-49EF-980C-C14A8781A8D6}"/>
              </a:ext>
            </a:extLst>
          </p:cNvPr>
          <p:cNvSpPr/>
          <p:nvPr/>
        </p:nvSpPr>
        <p:spPr bwMode="gray">
          <a:xfrm>
            <a:off x="8405593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3200"/>
                </a:moveTo>
                <a:lnTo>
                  <a:pt x="5400" y="13200"/>
                </a:lnTo>
                <a:cubicBezTo>
                  <a:pt x="5129" y="13200"/>
                  <a:pt x="4909" y="13469"/>
                  <a:pt x="4909" y="13800"/>
                </a:cubicBezTo>
                <a:cubicBezTo>
                  <a:pt x="4909" y="14132"/>
                  <a:pt x="5129" y="14400"/>
                  <a:pt x="5400" y="14400"/>
                </a:cubicBezTo>
                <a:lnTo>
                  <a:pt x="21109" y="14400"/>
                </a:lnTo>
                <a:cubicBezTo>
                  <a:pt x="21380" y="14400"/>
                  <a:pt x="21600" y="14132"/>
                  <a:pt x="21600" y="13800"/>
                </a:cubicBezTo>
                <a:cubicBezTo>
                  <a:pt x="21600" y="13469"/>
                  <a:pt x="21380" y="13200"/>
                  <a:pt x="21109" y="13200"/>
                </a:cubicBezTo>
                <a:moveTo>
                  <a:pt x="21109" y="7200"/>
                </a:move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1"/>
                  <a:pt x="5400" y="8401"/>
                </a:cubicBezTo>
                <a:lnTo>
                  <a:pt x="21109" y="8401"/>
                </a:lnTo>
                <a:cubicBezTo>
                  <a:pt x="21380" y="8401"/>
                  <a:pt x="21600" y="8132"/>
                  <a:pt x="21600" y="7800"/>
                </a:cubicBezTo>
                <a:cubicBezTo>
                  <a:pt x="21600" y="7469"/>
                  <a:pt x="21380" y="7200"/>
                  <a:pt x="21109" y="7200"/>
                </a:cubicBezTo>
                <a:moveTo>
                  <a:pt x="1473" y="0"/>
                </a:moveTo>
                <a:cubicBezTo>
                  <a:pt x="659" y="0"/>
                  <a:pt x="0" y="807"/>
                  <a:pt x="0" y="1800"/>
                </a:cubicBezTo>
                <a:cubicBezTo>
                  <a:pt x="0" y="2794"/>
                  <a:pt x="659" y="3600"/>
                  <a:pt x="1473" y="3600"/>
                </a:cubicBezTo>
                <a:cubicBezTo>
                  <a:pt x="2286" y="3600"/>
                  <a:pt x="2945" y="2794"/>
                  <a:pt x="2945" y="1800"/>
                </a:cubicBezTo>
                <a:cubicBezTo>
                  <a:pt x="2945" y="807"/>
                  <a:pt x="2286" y="0"/>
                  <a:pt x="1473" y="0"/>
                </a:cubicBezTo>
                <a:moveTo>
                  <a:pt x="21109" y="19200"/>
                </a:moveTo>
                <a:lnTo>
                  <a:pt x="5400" y="19200"/>
                </a:lnTo>
                <a:cubicBezTo>
                  <a:pt x="5129" y="19200"/>
                  <a:pt x="4909" y="19469"/>
                  <a:pt x="4909" y="19800"/>
                </a:cubicBezTo>
                <a:cubicBezTo>
                  <a:pt x="4909" y="20132"/>
                  <a:pt x="5129" y="20400"/>
                  <a:pt x="5400" y="20400"/>
                </a:cubicBezTo>
                <a:lnTo>
                  <a:pt x="21109" y="20400"/>
                </a:lnTo>
                <a:cubicBezTo>
                  <a:pt x="21380" y="20400"/>
                  <a:pt x="21600" y="20132"/>
                  <a:pt x="21600" y="19800"/>
                </a:cubicBezTo>
                <a:cubicBezTo>
                  <a:pt x="21600" y="19469"/>
                  <a:pt x="21380" y="19200"/>
                  <a:pt x="21109" y="19200"/>
                </a:cubicBezTo>
                <a:moveTo>
                  <a:pt x="5400" y="2400"/>
                </a:moveTo>
                <a:lnTo>
                  <a:pt x="21109" y="2400"/>
                </a:lnTo>
                <a:cubicBezTo>
                  <a:pt x="21380" y="2400"/>
                  <a:pt x="21600" y="2132"/>
                  <a:pt x="21600" y="1800"/>
                </a:cubicBezTo>
                <a:cubicBezTo>
                  <a:pt x="21600" y="1469"/>
                  <a:pt x="21380" y="1200"/>
                  <a:pt x="21109" y="1200"/>
                </a:cubicBezTo>
                <a:lnTo>
                  <a:pt x="5400" y="1200"/>
                </a:lnTo>
                <a:cubicBezTo>
                  <a:pt x="5129" y="1200"/>
                  <a:pt x="4909" y="1469"/>
                  <a:pt x="4909" y="1800"/>
                </a:cubicBezTo>
                <a:cubicBezTo>
                  <a:pt x="4909" y="2132"/>
                  <a:pt x="5129" y="2400"/>
                  <a:pt x="5400" y="2400"/>
                </a:cubicBezTo>
                <a:moveTo>
                  <a:pt x="1473" y="18000"/>
                </a:moveTo>
                <a:cubicBezTo>
                  <a:pt x="659" y="18000"/>
                  <a:pt x="0" y="18806"/>
                  <a:pt x="0" y="19800"/>
                </a:cubicBezTo>
                <a:cubicBezTo>
                  <a:pt x="0" y="20794"/>
                  <a:pt x="659" y="21600"/>
                  <a:pt x="1473" y="21600"/>
                </a:cubicBezTo>
                <a:cubicBezTo>
                  <a:pt x="2286" y="21600"/>
                  <a:pt x="2945" y="20794"/>
                  <a:pt x="2945" y="19800"/>
                </a:cubicBezTo>
                <a:cubicBezTo>
                  <a:pt x="2945" y="18806"/>
                  <a:pt x="2286" y="18000"/>
                  <a:pt x="1473" y="18000"/>
                </a:cubicBezTo>
                <a:moveTo>
                  <a:pt x="1473" y="6000"/>
                </a:moveTo>
                <a:cubicBezTo>
                  <a:pt x="659" y="6000"/>
                  <a:pt x="0" y="6807"/>
                  <a:pt x="0" y="7800"/>
                </a:cubicBezTo>
                <a:cubicBezTo>
                  <a:pt x="0" y="8794"/>
                  <a:pt x="659" y="9600"/>
                  <a:pt x="1473" y="9600"/>
                </a:cubicBezTo>
                <a:cubicBezTo>
                  <a:pt x="2286" y="9600"/>
                  <a:pt x="2945" y="8794"/>
                  <a:pt x="2945" y="7800"/>
                </a:cubicBezTo>
                <a:cubicBezTo>
                  <a:pt x="2945" y="6807"/>
                  <a:pt x="2286" y="6000"/>
                  <a:pt x="1473" y="6000"/>
                </a:cubicBezTo>
                <a:moveTo>
                  <a:pt x="1473" y="12000"/>
                </a:moveTo>
                <a:cubicBezTo>
                  <a:pt x="659" y="12000"/>
                  <a:pt x="0" y="12807"/>
                  <a:pt x="0" y="13800"/>
                </a:cubicBezTo>
                <a:cubicBezTo>
                  <a:pt x="0" y="14794"/>
                  <a:pt x="659" y="15600"/>
                  <a:pt x="1473" y="15600"/>
                </a:cubicBezTo>
                <a:cubicBezTo>
                  <a:pt x="2286" y="15600"/>
                  <a:pt x="2945" y="14794"/>
                  <a:pt x="2945" y="13800"/>
                </a:cubicBezTo>
                <a:cubicBezTo>
                  <a:pt x="2945" y="12807"/>
                  <a:pt x="2286" y="12000"/>
                  <a:pt x="1473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610">
            <a:extLst>
              <a:ext uri="{FF2B5EF4-FFF2-40B4-BE49-F238E27FC236}">
                <a16:creationId xmlns:a16="http://schemas.microsoft.com/office/drawing/2014/main" id="{A7CAA879-44D7-4A91-AED7-CA257DE7D365}"/>
              </a:ext>
            </a:extLst>
          </p:cNvPr>
          <p:cNvSpPr/>
          <p:nvPr/>
        </p:nvSpPr>
        <p:spPr bwMode="gray">
          <a:xfrm>
            <a:off x="8957617" y="2889390"/>
            <a:ext cx="289156" cy="236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2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800"/>
                </a:cubicBezTo>
                <a:cubicBezTo>
                  <a:pt x="20618" y="4800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3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2" y="20400"/>
                  <a:pt x="982" y="19863"/>
                  <a:pt x="982" y="19200"/>
                </a:cubicBezTo>
                <a:lnTo>
                  <a:pt x="982" y="7200"/>
                </a:lnTo>
                <a:lnTo>
                  <a:pt x="20618" y="7200"/>
                </a:lnTo>
                <a:cubicBezTo>
                  <a:pt x="20618" y="7200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800"/>
                </a:lnTo>
                <a:cubicBezTo>
                  <a:pt x="21600" y="3474"/>
                  <a:pt x="20721" y="2399"/>
                  <a:pt x="19636" y="2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611">
            <a:extLst>
              <a:ext uri="{FF2B5EF4-FFF2-40B4-BE49-F238E27FC236}">
                <a16:creationId xmlns:a16="http://schemas.microsoft.com/office/drawing/2014/main" id="{24B55AFC-EF52-474F-9750-44081AF54D9D}"/>
              </a:ext>
            </a:extLst>
          </p:cNvPr>
          <p:cNvSpPr/>
          <p:nvPr/>
        </p:nvSpPr>
        <p:spPr bwMode="gray">
          <a:xfrm>
            <a:off x="9509642" y="287624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161"/>
                </a:moveTo>
                <a:lnTo>
                  <a:pt x="13745" y="2161"/>
                </a:lnTo>
                <a:cubicBezTo>
                  <a:pt x="11782" y="2160"/>
                  <a:pt x="11782" y="0"/>
                  <a:pt x="9818" y="0"/>
                </a:cubicBezTo>
                <a:lnTo>
                  <a:pt x="5891" y="0"/>
                </a:lnTo>
                <a:cubicBezTo>
                  <a:pt x="4806" y="0"/>
                  <a:pt x="3927" y="967"/>
                  <a:pt x="3927" y="2161"/>
                </a:cubicBezTo>
                <a:lnTo>
                  <a:pt x="3927" y="2700"/>
                </a:lnTo>
                <a:cubicBezTo>
                  <a:pt x="3927" y="2999"/>
                  <a:pt x="4147" y="3240"/>
                  <a:pt x="4418" y="3240"/>
                </a:cubicBezTo>
                <a:cubicBezTo>
                  <a:pt x="4690" y="3240"/>
                  <a:pt x="4909" y="2999"/>
                  <a:pt x="4909" y="2700"/>
                </a:cubicBezTo>
                <a:lnTo>
                  <a:pt x="4909" y="2161"/>
                </a:lnTo>
                <a:cubicBezTo>
                  <a:pt x="4909" y="1564"/>
                  <a:pt x="5348" y="1080"/>
                  <a:pt x="5891" y="1080"/>
                </a:cubicBezTo>
                <a:lnTo>
                  <a:pt x="9818" y="1080"/>
                </a:lnTo>
                <a:cubicBezTo>
                  <a:pt x="11291" y="1080"/>
                  <a:pt x="11291" y="3239"/>
                  <a:pt x="13744" y="3240"/>
                </a:cubicBezTo>
                <a:lnTo>
                  <a:pt x="19636" y="3240"/>
                </a:lnTo>
                <a:cubicBezTo>
                  <a:pt x="20178" y="3240"/>
                  <a:pt x="20618" y="3724"/>
                  <a:pt x="20618" y="4321"/>
                </a:cubicBezTo>
                <a:lnTo>
                  <a:pt x="20618" y="15120"/>
                </a:lnTo>
                <a:cubicBezTo>
                  <a:pt x="20618" y="15717"/>
                  <a:pt x="20178" y="16200"/>
                  <a:pt x="19636" y="16200"/>
                </a:cubicBezTo>
                <a:lnTo>
                  <a:pt x="19145" y="16200"/>
                </a:lnTo>
                <a:cubicBezTo>
                  <a:pt x="18874" y="16200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19636" y="17280"/>
                </a:lnTo>
                <a:cubicBezTo>
                  <a:pt x="20721" y="17280"/>
                  <a:pt x="21600" y="16314"/>
                  <a:pt x="21600" y="15120"/>
                </a:cubicBezTo>
                <a:lnTo>
                  <a:pt x="21600" y="4321"/>
                </a:lnTo>
                <a:cubicBezTo>
                  <a:pt x="21600" y="3127"/>
                  <a:pt x="20721" y="2161"/>
                  <a:pt x="19636" y="2161"/>
                </a:cubicBezTo>
                <a:moveTo>
                  <a:pt x="16691" y="9720"/>
                </a:moveTo>
                <a:lnTo>
                  <a:pt x="982" y="9720"/>
                </a:lnTo>
                <a:lnTo>
                  <a:pt x="982" y="6481"/>
                </a:lnTo>
                <a:cubicBezTo>
                  <a:pt x="982" y="5884"/>
                  <a:pt x="1421" y="5400"/>
                  <a:pt x="1964" y="5400"/>
                </a:cubicBezTo>
                <a:lnTo>
                  <a:pt x="5891" y="5400"/>
                </a:lnTo>
                <a:cubicBezTo>
                  <a:pt x="7364" y="5400"/>
                  <a:pt x="7364" y="7560"/>
                  <a:pt x="9818" y="7560"/>
                </a:cubicBezTo>
                <a:lnTo>
                  <a:pt x="15709" y="7560"/>
                </a:lnTo>
                <a:cubicBezTo>
                  <a:pt x="16251" y="7560"/>
                  <a:pt x="16691" y="8044"/>
                  <a:pt x="16691" y="8641"/>
                </a:cubicBezTo>
                <a:cubicBezTo>
                  <a:pt x="16691" y="8641"/>
                  <a:pt x="16691" y="9720"/>
                  <a:pt x="16691" y="9720"/>
                </a:cubicBezTo>
                <a:close/>
                <a:moveTo>
                  <a:pt x="16691" y="19440"/>
                </a:moveTo>
                <a:cubicBezTo>
                  <a:pt x="16691" y="20037"/>
                  <a:pt x="16251" y="20520"/>
                  <a:pt x="15709" y="20520"/>
                </a:cubicBezTo>
                <a:lnTo>
                  <a:pt x="1964" y="20520"/>
                </a:lnTo>
                <a:cubicBezTo>
                  <a:pt x="1421" y="20520"/>
                  <a:pt x="982" y="20037"/>
                  <a:pt x="982" y="19440"/>
                </a:cubicBezTo>
                <a:lnTo>
                  <a:pt x="982" y="10801"/>
                </a:lnTo>
                <a:lnTo>
                  <a:pt x="16691" y="10801"/>
                </a:lnTo>
                <a:cubicBezTo>
                  <a:pt x="16691" y="10801"/>
                  <a:pt x="16691" y="19440"/>
                  <a:pt x="16691" y="19440"/>
                </a:cubicBezTo>
                <a:close/>
                <a:moveTo>
                  <a:pt x="15709" y="6481"/>
                </a:moveTo>
                <a:lnTo>
                  <a:pt x="9818" y="6481"/>
                </a:lnTo>
                <a:cubicBezTo>
                  <a:pt x="7855" y="6480"/>
                  <a:pt x="7855" y="4320"/>
                  <a:pt x="5891" y="4320"/>
                </a:cubicBezTo>
                <a:lnTo>
                  <a:pt x="1964" y="4320"/>
                </a:lnTo>
                <a:cubicBezTo>
                  <a:pt x="879" y="4320"/>
                  <a:pt x="0" y="5287"/>
                  <a:pt x="0" y="6481"/>
                </a:cubicBezTo>
                <a:lnTo>
                  <a:pt x="0" y="19440"/>
                </a:lnTo>
                <a:cubicBezTo>
                  <a:pt x="0" y="20634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634"/>
                  <a:pt x="17673" y="19440"/>
                </a:cubicBezTo>
                <a:lnTo>
                  <a:pt x="17673" y="8641"/>
                </a:lnTo>
                <a:cubicBezTo>
                  <a:pt x="17673" y="7447"/>
                  <a:pt x="16794" y="6481"/>
                  <a:pt x="15709" y="648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612">
            <a:extLst>
              <a:ext uri="{FF2B5EF4-FFF2-40B4-BE49-F238E27FC236}">
                <a16:creationId xmlns:a16="http://schemas.microsoft.com/office/drawing/2014/main" id="{8EED581D-40AA-4148-AFDF-116E7A963E28}"/>
              </a:ext>
            </a:extLst>
          </p:cNvPr>
          <p:cNvSpPr/>
          <p:nvPr/>
        </p:nvSpPr>
        <p:spPr bwMode="gray">
          <a:xfrm>
            <a:off x="10061666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3200"/>
                </a:moveTo>
                <a:cubicBezTo>
                  <a:pt x="11071" y="13200"/>
                  <a:pt x="11291" y="13469"/>
                  <a:pt x="11291" y="13800"/>
                </a:cubicBezTo>
                <a:cubicBezTo>
                  <a:pt x="11291" y="14132"/>
                  <a:pt x="11071" y="14400"/>
                  <a:pt x="10800" y="14400"/>
                </a:cubicBezTo>
                <a:cubicBezTo>
                  <a:pt x="10529" y="14400"/>
                  <a:pt x="10309" y="14132"/>
                  <a:pt x="10309" y="13800"/>
                </a:cubicBezTo>
                <a:cubicBezTo>
                  <a:pt x="10309" y="13469"/>
                  <a:pt x="10529" y="13200"/>
                  <a:pt x="10800" y="13200"/>
                </a:cubicBezTo>
                <a:moveTo>
                  <a:pt x="10800" y="15600"/>
                </a:moveTo>
                <a:cubicBezTo>
                  <a:pt x="11613" y="15600"/>
                  <a:pt x="12273" y="14794"/>
                  <a:pt x="12273" y="13800"/>
                </a:cubicBezTo>
                <a:cubicBezTo>
                  <a:pt x="12273" y="12806"/>
                  <a:pt x="11613" y="12000"/>
                  <a:pt x="10800" y="12000"/>
                </a:cubicBezTo>
                <a:cubicBezTo>
                  <a:pt x="9987" y="12000"/>
                  <a:pt x="9327" y="12806"/>
                  <a:pt x="9327" y="13800"/>
                </a:cubicBezTo>
                <a:cubicBezTo>
                  <a:pt x="9327" y="14794"/>
                  <a:pt x="9987" y="15600"/>
                  <a:pt x="10800" y="15600"/>
                </a:cubicBezTo>
                <a:moveTo>
                  <a:pt x="5400" y="13200"/>
                </a:moveTo>
                <a:cubicBezTo>
                  <a:pt x="5671" y="13200"/>
                  <a:pt x="5891" y="13469"/>
                  <a:pt x="5891" y="13800"/>
                </a:cubicBezTo>
                <a:cubicBezTo>
                  <a:pt x="5891" y="14132"/>
                  <a:pt x="5671" y="14400"/>
                  <a:pt x="5400" y="14400"/>
                </a:cubicBezTo>
                <a:cubicBezTo>
                  <a:pt x="5129" y="14400"/>
                  <a:pt x="4909" y="14132"/>
                  <a:pt x="4909" y="13800"/>
                </a:cubicBezTo>
                <a:cubicBezTo>
                  <a:pt x="4909" y="13469"/>
                  <a:pt x="5129" y="13200"/>
                  <a:pt x="5400" y="13200"/>
                </a:cubicBezTo>
                <a:moveTo>
                  <a:pt x="5400" y="15600"/>
                </a:moveTo>
                <a:cubicBezTo>
                  <a:pt x="6213" y="15600"/>
                  <a:pt x="6873" y="14794"/>
                  <a:pt x="6873" y="13800"/>
                </a:cubicBezTo>
                <a:cubicBezTo>
                  <a:pt x="6873" y="12806"/>
                  <a:pt x="6213" y="12000"/>
                  <a:pt x="5400" y="12000"/>
                </a:cubicBezTo>
                <a:cubicBezTo>
                  <a:pt x="4587" y="12000"/>
                  <a:pt x="3927" y="12806"/>
                  <a:pt x="3927" y="13800"/>
                </a:cubicBezTo>
                <a:cubicBezTo>
                  <a:pt x="3927" y="14794"/>
                  <a:pt x="4587" y="15600"/>
                  <a:pt x="5400" y="15600"/>
                </a:cubicBezTo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1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799"/>
                </a:cubicBezTo>
                <a:cubicBezTo>
                  <a:pt x="20618" y="4799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2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1" y="20400"/>
                  <a:pt x="982" y="19862"/>
                  <a:pt x="982" y="19200"/>
                </a:cubicBezTo>
                <a:lnTo>
                  <a:pt x="982" y="7199"/>
                </a:lnTo>
                <a:lnTo>
                  <a:pt x="20618" y="7199"/>
                </a:lnTo>
                <a:cubicBezTo>
                  <a:pt x="20618" y="7199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799"/>
                </a:lnTo>
                <a:cubicBezTo>
                  <a:pt x="21600" y="3474"/>
                  <a:pt x="20721" y="2399"/>
                  <a:pt x="19636" y="2399"/>
                </a:cubicBezTo>
                <a:moveTo>
                  <a:pt x="16200" y="13200"/>
                </a:moveTo>
                <a:cubicBezTo>
                  <a:pt x="16471" y="13200"/>
                  <a:pt x="16691" y="13469"/>
                  <a:pt x="16691" y="13800"/>
                </a:cubicBezTo>
                <a:cubicBezTo>
                  <a:pt x="16691" y="14132"/>
                  <a:pt x="16471" y="14400"/>
                  <a:pt x="16200" y="14400"/>
                </a:cubicBezTo>
                <a:cubicBezTo>
                  <a:pt x="15929" y="14400"/>
                  <a:pt x="15709" y="14132"/>
                  <a:pt x="15709" y="13800"/>
                </a:cubicBezTo>
                <a:cubicBezTo>
                  <a:pt x="15709" y="13469"/>
                  <a:pt x="15929" y="13200"/>
                  <a:pt x="16200" y="13200"/>
                </a:cubicBezTo>
                <a:moveTo>
                  <a:pt x="16200" y="15600"/>
                </a:moveTo>
                <a:cubicBezTo>
                  <a:pt x="17013" y="15600"/>
                  <a:pt x="17673" y="14794"/>
                  <a:pt x="17673" y="13800"/>
                </a:cubicBezTo>
                <a:cubicBezTo>
                  <a:pt x="17673" y="12806"/>
                  <a:pt x="17013" y="12000"/>
                  <a:pt x="16200" y="12000"/>
                </a:cubicBezTo>
                <a:cubicBezTo>
                  <a:pt x="15387" y="12000"/>
                  <a:pt x="14727" y="12806"/>
                  <a:pt x="14727" y="13800"/>
                </a:cubicBezTo>
                <a:cubicBezTo>
                  <a:pt x="14727" y="14794"/>
                  <a:pt x="15387" y="15600"/>
                  <a:pt x="16200" y="15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613">
            <a:extLst>
              <a:ext uri="{FF2B5EF4-FFF2-40B4-BE49-F238E27FC236}">
                <a16:creationId xmlns:a16="http://schemas.microsoft.com/office/drawing/2014/main" id="{DF0C92CD-A8BB-4B10-B9BA-FDB8901AF3D0}"/>
              </a:ext>
            </a:extLst>
          </p:cNvPr>
          <p:cNvSpPr/>
          <p:nvPr/>
        </p:nvSpPr>
        <p:spPr bwMode="gray">
          <a:xfrm>
            <a:off x="1061369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964"/>
                </a:moveTo>
                <a:lnTo>
                  <a:pt x="10800" y="1964"/>
                </a:lnTo>
                <a:cubicBezTo>
                  <a:pt x="8836" y="1964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5709"/>
                </a:lnTo>
                <a:cubicBezTo>
                  <a:pt x="0" y="16794"/>
                  <a:pt x="879" y="17673"/>
                  <a:pt x="1964" y="17673"/>
                </a:cubicBezTo>
                <a:lnTo>
                  <a:pt x="6599" y="17673"/>
                </a:lnTo>
                <a:cubicBezTo>
                  <a:pt x="6257" y="17372"/>
                  <a:pt x="5941" y="17046"/>
                  <a:pt x="5656" y="16691"/>
                </a:cubicBezTo>
                <a:lnTo>
                  <a:pt x="1964" y="16691"/>
                </a:lnTo>
                <a:cubicBezTo>
                  <a:pt x="1422" y="16691"/>
                  <a:pt x="982" y="16252"/>
                  <a:pt x="982" y="15709"/>
                </a:cubicBezTo>
                <a:lnTo>
                  <a:pt x="982" y="5891"/>
                </a:lnTo>
                <a:lnTo>
                  <a:pt x="6599" y="5891"/>
                </a:lnTo>
                <a:cubicBezTo>
                  <a:pt x="7023" y="5517"/>
                  <a:pt x="7484" y="5185"/>
                  <a:pt x="7982" y="4909"/>
                </a:cubicBezTo>
                <a:lnTo>
                  <a:pt x="982" y="4909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6873" y="982"/>
                </a:lnTo>
                <a:cubicBezTo>
                  <a:pt x="8345" y="982"/>
                  <a:pt x="8345" y="2946"/>
                  <a:pt x="10800" y="2946"/>
                </a:cubicBezTo>
                <a:lnTo>
                  <a:pt x="19636" y="2946"/>
                </a:lnTo>
                <a:cubicBezTo>
                  <a:pt x="20178" y="2946"/>
                  <a:pt x="20618" y="3385"/>
                  <a:pt x="20618" y="3927"/>
                </a:cubicBezTo>
                <a:lnTo>
                  <a:pt x="20618" y="4909"/>
                </a:lnTo>
                <a:lnTo>
                  <a:pt x="15582" y="4909"/>
                </a:lnTo>
                <a:cubicBezTo>
                  <a:pt x="16080" y="5185"/>
                  <a:pt x="16541" y="5517"/>
                  <a:pt x="16965" y="5891"/>
                </a:cubicBezTo>
                <a:lnTo>
                  <a:pt x="20618" y="5891"/>
                </a:ln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8766" y="16691"/>
                </a:lnTo>
                <a:lnTo>
                  <a:pt x="19738" y="17663"/>
                </a:lnTo>
                <a:cubicBezTo>
                  <a:pt x="20774" y="17609"/>
                  <a:pt x="21600" y="16759"/>
                  <a:pt x="21600" y="15709"/>
                </a:cubicBezTo>
                <a:lnTo>
                  <a:pt x="21600" y="3927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11782" y="17673"/>
                </a:moveTo>
                <a:cubicBezTo>
                  <a:pt x="8529" y="17673"/>
                  <a:pt x="5891" y="15036"/>
                  <a:pt x="5891" y="11782"/>
                </a:cubicBezTo>
                <a:cubicBezTo>
                  <a:pt x="5891" y="8529"/>
                  <a:pt x="8529" y="5891"/>
                  <a:pt x="11782" y="5891"/>
                </a:cubicBezTo>
                <a:cubicBezTo>
                  <a:pt x="15035" y="5891"/>
                  <a:pt x="17673" y="8529"/>
                  <a:pt x="17673" y="11782"/>
                </a:cubicBezTo>
                <a:cubicBezTo>
                  <a:pt x="17673" y="15036"/>
                  <a:pt x="15035" y="17673"/>
                  <a:pt x="11782" y="17673"/>
                </a:cubicBezTo>
                <a:moveTo>
                  <a:pt x="16972" y="16278"/>
                </a:moveTo>
                <a:cubicBezTo>
                  <a:pt x="18018" y="15072"/>
                  <a:pt x="18655" y="13503"/>
                  <a:pt x="18655" y="11782"/>
                </a:cubicBezTo>
                <a:cubicBezTo>
                  <a:pt x="18655" y="7987"/>
                  <a:pt x="15578" y="4910"/>
                  <a:pt x="11782" y="4910"/>
                </a:cubicBezTo>
                <a:cubicBezTo>
                  <a:pt x="7986" y="4910"/>
                  <a:pt x="4909" y="7987"/>
                  <a:pt x="4909" y="11782"/>
                </a:cubicBezTo>
                <a:cubicBezTo>
                  <a:pt x="4909" y="15578"/>
                  <a:pt x="7986" y="18655"/>
                  <a:pt x="11782" y="18655"/>
                </a:cubicBezTo>
                <a:cubicBezTo>
                  <a:pt x="13503" y="18655"/>
                  <a:pt x="15072" y="18017"/>
                  <a:pt x="16278" y="16972"/>
                </a:cubicBezTo>
                <a:lnTo>
                  <a:pt x="16972" y="17666"/>
                </a:lnTo>
                <a:cubicBezTo>
                  <a:pt x="16969" y="17668"/>
                  <a:pt x="16967" y="17671"/>
                  <a:pt x="16965" y="17673"/>
                </a:cubicBezTo>
                <a:lnTo>
                  <a:pt x="16979" y="17673"/>
                </a:lnTo>
                <a:lnTo>
                  <a:pt x="20762" y="21457"/>
                </a:lnTo>
                <a:cubicBezTo>
                  <a:pt x="20851" y="21546"/>
                  <a:pt x="20974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6972" y="16278"/>
                  <a:pt x="16972" y="1627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614">
            <a:extLst>
              <a:ext uri="{FF2B5EF4-FFF2-40B4-BE49-F238E27FC236}">
                <a16:creationId xmlns:a16="http://schemas.microsoft.com/office/drawing/2014/main" id="{FBD6A4EA-E1AD-4F8E-8BE1-9A49F4CA334E}"/>
              </a:ext>
            </a:extLst>
          </p:cNvPr>
          <p:cNvSpPr/>
          <p:nvPr/>
        </p:nvSpPr>
        <p:spPr bwMode="gray">
          <a:xfrm>
            <a:off x="11165715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615">
            <a:extLst>
              <a:ext uri="{FF2B5EF4-FFF2-40B4-BE49-F238E27FC236}">
                <a16:creationId xmlns:a16="http://schemas.microsoft.com/office/drawing/2014/main" id="{E38501E0-E12B-4BD6-8368-58BBC61C909D}"/>
              </a:ext>
            </a:extLst>
          </p:cNvPr>
          <p:cNvSpPr/>
          <p:nvPr/>
        </p:nvSpPr>
        <p:spPr bwMode="gray">
          <a:xfrm>
            <a:off x="619749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93" y="17878"/>
                </a:moveTo>
                <a:cubicBezTo>
                  <a:pt x="16514" y="16546"/>
                  <a:pt x="15177" y="15812"/>
                  <a:pt x="14084" y="15323"/>
                </a:cubicBezTo>
                <a:cubicBezTo>
                  <a:pt x="13842" y="15214"/>
                  <a:pt x="13687" y="15099"/>
                  <a:pt x="13598" y="14990"/>
                </a:cubicBezTo>
                <a:cubicBezTo>
                  <a:pt x="15238" y="14959"/>
                  <a:pt x="16521" y="14237"/>
                  <a:pt x="16581" y="14203"/>
                </a:cubicBezTo>
                <a:cubicBezTo>
                  <a:pt x="16751" y="14106"/>
                  <a:pt x="16846" y="13918"/>
                  <a:pt x="16826" y="13724"/>
                </a:cubicBezTo>
                <a:cubicBezTo>
                  <a:pt x="16807" y="13546"/>
                  <a:pt x="16693" y="13394"/>
                  <a:pt x="16530" y="13325"/>
                </a:cubicBezTo>
                <a:cubicBezTo>
                  <a:pt x="16461" y="13275"/>
                  <a:pt x="15663" y="12629"/>
                  <a:pt x="15663" y="9051"/>
                </a:cubicBezTo>
                <a:cubicBezTo>
                  <a:pt x="15663" y="5000"/>
                  <a:pt x="14115" y="2945"/>
                  <a:pt x="11061" y="2945"/>
                </a:cubicBezTo>
                <a:cubicBezTo>
                  <a:pt x="8481" y="2945"/>
                  <a:pt x="5845" y="3642"/>
                  <a:pt x="5845" y="8806"/>
                </a:cubicBezTo>
                <a:cubicBezTo>
                  <a:pt x="5845" y="12555"/>
                  <a:pt x="5219" y="13278"/>
                  <a:pt x="5122" y="13367"/>
                </a:cubicBezTo>
                <a:cubicBezTo>
                  <a:pt x="4957" y="13416"/>
                  <a:pt x="4826" y="13551"/>
                  <a:pt x="4784" y="13723"/>
                </a:cubicBezTo>
                <a:cubicBezTo>
                  <a:pt x="4734" y="13935"/>
                  <a:pt x="4828" y="14153"/>
                  <a:pt x="5015" y="14262"/>
                </a:cubicBezTo>
                <a:cubicBezTo>
                  <a:pt x="6396" y="15064"/>
                  <a:pt x="7482" y="15136"/>
                  <a:pt x="8065" y="15091"/>
                </a:cubicBezTo>
                <a:cubicBezTo>
                  <a:pt x="7994" y="15151"/>
                  <a:pt x="7850" y="15241"/>
                  <a:pt x="7564" y="15335"/>
                </a:cubicBezTo>
                <a:cubicBezTo>
                  <a:pt x="6211" y="15776"/>
                  <a:pt x="4766" y="16807"/>
                  <a:pt x="3958" y="17834"/>
                </a:cubicBezTo>
                <a:cubicBezTo>
                  <a:pt x="2125" y="16050"/>
                  <a:pt x="982" y="13560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3584"/>
                  <a:pt x="19454" y="16092"/>
                  <a:pt x="17593" y="17878"/>
                </a:cubicBezTo>
                <a:moveTo>
                  <a:pt x="10800" y="20618"/>
                </a:moveTo>
                <a:cubicBezTo>
                  <a:pt x="8489" y="20618"/>
                  <a:pt x="6370" y="19815"/>
                  <a:pt x="4693" y="18480"/>
                </a:cubicBezTo>
                <a:cubicBezTo>
                  <a:pt x="5360" y="17604"/>
                  <a:pt x="6693" y="16652"/>
                  <a:pt x="7869" y="16268"/>
                </a:cubicBezTo>
                <a:cubicBezTo>
                  <a:pt x="8578" y="16037"/>
                  <a:pt x="8988" y="15688"/>
                  <a:pt x="9087" y="15232"/>
                </a:cubicBezTo>
                <a:cubicBezTo>
                  <a:pt x="9214" y="14656"/>
                  <a:pt x="8775" y="14230"/>
                  <a:pt x="8725" y="14183"/>
                </a:cubicBezTo>
                <a:cubicBezTo>
                  <a:pt x="8597" y="14065"/>
                  <a:pt x="8412" y="14025"/>
                  <a:pt x="8246" y="14075"/>
                </a:cubicBezTo>
                <a:cubicBezTo>
                  <a:pt x="8208" y="14086"/>
                  <a:pt x="7406" y="14309"/>
                  <a:pt x="6089" y="13714"/>
                </a:cubicBezTo>
                <a:cubicBezTo>
                  <a:pt x="6486" y="13026"/>
                  <a:pt x="6826" y="11618"/>
                  <a:pt x="6826" y="8806"/>
                </a:cubicBezTo>
                <a:cubicBezTo>
                  <a:pt x="6826" y="4301"/>
                  <a:pt x="8829" y="3928"/>
                  <a:pt x="11061" y="3928"/>
                </a:cubicBezTo>
                <a:cubicBezTo>
                  <a:pt x="12615" y="3928"/>
                  <a:pt x="14681" y="4458"/>
                  <a:pt x="14681" y="9051"/>
                </a:cubicBezTo>
                <a:cubicBezTo>
                  <a:pt x="14681" y="11662"/>
                  <a:pt x="15092" y="12966"/>
                  <a:pt x="15499" y="13617"/>
                </a:cubicBezTo>
                <a:cubicBezTo>
                  <a:pt x="14943" y="13829"/>
                  <a:pt x="14058" y="14076"/>
                  <a:pt x="13097" y="13993"/>
                </a:cubicBezTo>
                <a:cubicBezTo>
                  <a:pt x="12883" y="13971"/>
                  <a:pt x="12690" y="14092"/>
                  <a:pt x="12605" y="14285"/>
                </a:cubicBezTo>
                <a:cubicBezTo>
                  <a:pt x="12420" y="14704"/>
                  <a:pt x="12408" y="15649"/>
                  <a:pt x="13683" y="16219"/>
                </a:cubicBezTo>
                <a:cubicBezTo>
                  <a:pt x="14677" y="16664"/>
                  <a:pt x="15893" y="17331"/>
                  <a:pt x="16850" y="18522"/>
                </a:cubicBezTo>
                <a:cubicBezTo>
                  <a:pt x="15182" y="19831"/>
                  <a:pt x="13085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616">
            <a:extLst>
              <a:ext uri="{FF2B5EF4-FFF2-40B4-BE49-F238E27FC236}">
                <a16:creationId xmlns:a16="http://schemas.microsoft.com/office/drawing/2014/main" id="{5650E523-523F-4E7A-82FD-CB7B908C686D}"/>
              </a:ext>
            </a:extLst>
          </p:cNvPr>
          <p:cNvSpPr/>
          <p:nvPr/>
        </p:nvSpPr>
        <p:spPr bwMode="gray">
          <a:xfrm>
            <a:off x="6749520" y="3428271"/>
            <a:ext cx="289156" cy="2629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617">
            <a:extLst>
              <a:ext uri="{FF2B5EF4-FFF2-40B4-BE49-F238E27FC236}">
                <a16:creationId xmlns:a16="http://schemas.microsoft.com/office/drawing/2014/main" id="{2B62B4FC-AAE9-4C0D-A704-4D9D2A40354C}"/>
              </a:ext>
            </a:extLst>
          </p:cNvPr>
          <p:cNvSpPr/>
          <p:nvPr/>
        </p:nvSpPr>
        <p:spPr bwMode="gray">
          <a:xfrm>
            <a:off x="7301544" y="3441415"/>
            <a:ext cx="289156" cy="2366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Shape 2618">
            <a:extLst>
              <a:ext uri="{FF2B5EF4-FFF2-40B4-BE49-F238E27FC236}">
                <a16:creationId xmlns:a16="http://schemas.microsoft.com/office/drawing/2014/main" id="{2CCDC12B-4B5B-439A-A87B-E88E7A899585}"/>
              </a:ext>
            </a:extLst>
          </p:cNvPr>
          <p:cNvSpPr/>
          <p:nvPr/>
        </p:nvSpPr>
        <p:spPr bwMode="gray">
          <a:xfrm>
            <a:off x="7853568" y="3415128"/>
            <a:ext cx="289129" cy="2891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8" h="21600" extrusionOk="0">
                <a:moveTo>
                  <a:pt x="2560" y="18308"/>
                </a:moveTo>
                <a:cubicBezTo>
                  <a:pt x="2472" y="18397"/>
                  <a:pt x="2418" y="18520"/>
                  <a:pt x="2418" y="18655"/>
                </a:cubicBezTo>
                <a:cubicBezTo>
                  <a:pt x="2418" y="18926"/>
                  <a:pt x="2635" y="19146"/>
                  <a:pt x="2902" y="19146"/>
                </a:cubicBezTo>
                <a:cubicBezTo>
                  <a:pt x="3169" y="19146"/>
                  <a:pt x="3385" y="18926"/>
                  <a:pt x="3385" y="18655"/>
                </a:cubicBezTo>
                <a:cubicBezTo>
                  <a:pt x="3385" y="18384"/>
                  <a:pt x="3169" y="18164"/>
                  <a:pt x="2902" y="18164"/>
                </a:cubicBezTo>
                <a:cubicBezTo>
                  <a:pt x="2768" y="18164"/>
                  <a:pt x="2647" y="18219"/>
                  <a:pt x="2560" y="18308"/>
                </a:cubicBezTo>
                <a:moveTo>
                  <a:pt x="20499" y="4279"/>
                </a:moveTo>
                <a:lnTo>
                  <a:pt x="20091" y="4692"/>
                </a:lnTo>
                <a:lnTo>
                  <a:pt x="20088" y="4688"/>
                </a:lnTo>
                <a:lnTo>
                  <a:pt x="17670" y="7143"/>
                </a:lnTo>
                <a:lnTo>
                  <a:pt x="17664" y="7137"/>
                </a:lnTo>
                <a:cubicBezTo>
                  <a:pt x="17227" y="7580"/>
                  <a:pt x="16624" y="7853"/>
                  <a:pt x="15958" y="7853"/>
                </a:cubicBezTo>
                <a:cubicBezTo>
                  <a:pt x="14624" y="7853"/>
                  <a:pt x="13543" y="6755"/>
                  <a:pt x="13543" y="5401"/>
                </a:cubicBezTo>
                <a:cubicBezTo>
                  <a:pt x="13543" y="4725"/>
                  <a:pt x="13813" y="4113"/>
                  <a:pt x="14248" y="3670"/>
                </a:cubicBezTo>
                <a:lnTo>
                  <a:pt x="13563" y="2975"/>
                </a:lnTo>
                <a:cubicBezTo>
                  <a:pt x="12951" y="3596"/>
                  <a:pt x="12571" y="4452"/>
                  <a:pt x="12571" y="5401"/>
                </a:cubicBezTo>
                <a:cubicBezTo>
                  <a:pt x="12571" y="7300"/>
                  <a:pt x="14087" y="8840"/>
                  <a:pt x="15958" y="8840"/>
                </a:cubicBezTo>
                <a:cubicBezTo>
                  <a:pt x="16893" y="8840"/>
                  <a:pt x="17737" y="8454"/>
                  <a:pt x="18348" y="7832"/>
                </a:cubicBezTo>
                <a:lnTo>
                  <a:pt x="18353" y="7837"/>
                </a:lnTo>
                <a:lnTo>
                  <a:pt x="20152" y="6011"/>
                </a:lnTo>
                <a:cubicBezTo>
                  <a:pt x="20516" y="7368"/>
                  <a:pt x="20343" y="8670"/>
                  <a:pt x="19540" y="9505"/>
                </a:cubicBezTo>
                <a:lnTo>
                  <a:pt x="16947" y="12198"/>
                </a:lnTo>
                <a:cubicBezTo>
                  <a:pt x="16605" y="12553"/>
                  <a:pt x="16104" y="12766"/>
                  <a:pt x="15610" y="12766"/>
                </a:cubicBezTo>
                <a:cubicBezTo>
                  <a:pt x="15590" y="12765"/>
                  <a:pt x="13953" y="12652"/>
                  <a:pt x="12318" y="11611"/>
                </a:cubicBezTo>
                <a:lnTo>
                  <a:pt x="12314" y="11620"/>
                </a:lnTo>
                <a:cubicBezTo>
                  <a:pt x="12239" y="11572"/>
                  <a:pt x="12155" y="11537"/>
                  <a:pt x="12060" y="11537"/>
                </a:cubicBezTo>
                <a:cubicBezTo>
                  <a:pt x="11897" y="11537"/>
                  <a:pt x="11759" y="11625"/>
                  <a:pt x="11671" y="11753"/>
                </a:cubicBezTo>
                <a:lnTo>
                  <a:pt x="11654" y="11742"/>
                </a:lnTo>
                <a:lnTo>
                  <a:pt x="4270" y="20043"/>
                </a:lnTo>
                <a:cubicBezTo>
                  <a:pt x="3919" y="20399"/>
                  <a:pt x="3436" y="20618"/>
                  <a:pt x="2902" y="20618"/>
                </a:cubicBezTo>
                <a:cubicBezTo>
                  <a:pt x="1833" y="20618"/>
                  <a:pt x="967" y="19740"/>
                  <a:pt x="967" y="18655"/>
                </a:cubicBezTo>
                <a:cubicBezTo>
                  <a:pt x="967" y="18113"/>
                  <a:pt x="1184" y="17622"/>
                  <a:pt x="1534" y="17267"/>
                </a:cubicBezTo>
                <a:lnTo>
                  <a:pt x="9684" y="9801"/>
                </a:lnTo>
                <a:lnTo>
                  <a:pt x="9671" y="9786"/>
                </a:lnTo>
                <a:cubicBezTo>
                  <a:pt x="9796" y="9698"/>
                  <a:pt x="9884" y="9557"/>
                  <a:pt x="9884" y="9389"/>
                </a:cubicBezTo>
                <a:cubicBezTo>
                  <a:pt x="9884" y="9283"/>
                  <a:pt x="9844" y="9190"/>
                  <a:pt x="9787" y="9110"/>
                </a:cubicBezTo>
                <a:lnTo>
                  <a:pt x="9790" y="9107"/>
                </a:lnTo>
                <a:cubicBezTo>
                  <a:pt x="8390" y="7219"/>
                  <a:pt x="8340" y="5816"/>
                  <a:pt x="9546" y="4488"/>
                </a:cubicBezTo>
                <a:lnTo>
                  <a:pt x="12130" y="1805"/>
                </a:lnTo>
                <a:cubicBezTo>
                  <a:pt x="12785" y="1125"/>
                  <a:pt x="13641" y="982"/>
                  <a:pt x="14244" y="982"/>
                </a:cubicBezTo>
                <a:lnTo>
                  <a:pt x="14246" y="982"/>
                </a:lnTo>
                <a:cubicBezTo>
                  <a:pt x="14611" y="982"/>
                  <a:pt x="14988" y="1037"/>
                  <a:pt x="15366" y="1136"/>
                </a:cubicBezTo>
                <a:lnTo>
                  <a:pt x="13559" y="2970"/>
                </a:lnTo>
                <a:lnTo>
                  <a:pt x="14243" y="3664"/>
                </a:lnTo>
                <a:lnTo>
                  <a:pt x="16661" y="1210"/>
                </a:lnTo>
                <a:lnTo>
                  <a:pt x="16657" y="1206"/>
                </a:lnTo>
                <a:lnTo>
                  <a:pt x="17082" y="775"/>
                </a:lnTo>
                <a:cubicBezTo>
                  <a:pt x="16139" y="269"/>
                  <a:pt x="15160" y="0"/>
                  <a:pt x="14246" y="0"/>
                </a:cubicBezTo>
                <a:lnTo>
                  <a:pt x="14244" y="0"/>
                </a:lnTo>
                <a:cubicBezTo>
                  <a:pt x="13167" y="0"/>
                  <a:pt x="12182" y="361"/>
                  <a:pt x="11460" y="1111"/>
                </a:cubicBezTo>
                <a:lnTo>
                  <a:pt x="8867" y="3804"/>
                </a:lnTo>
                <a:cubicBezTo>
                  <a:pt x="7163" y="5672"/>
                  <a:pt x="7613" y="7584"/>
                  <a:pt x="8769" y="9315"/>
                </a:cubicBezTo>
                <a:lnTo>
                  <a:pt x="850" y="16572"/>
                </a:lnTo>
                <a:cubicBezTo>
                  <a:pt x="325" y="17106"/>
                  <a:pt x="0" y="17842"/>
                  <a:pt x="0" y="18655"/>
                </a:cubicBezTo>
                <a:cubicBezTo>
                  <a:pt x="0" y="20282"/>
                  <a:pt x="1299" y="21600"/>
                  <a:pt x="2902" y="21600"/>
                </a:cubicBezTo>
                <a:cubicBezTo>
                  <a:pt x="3703" y="21600"/>
                  <a:pt x="4429" y="21271"/>
                  <a:pt x="4954" y="20738"/>
                </a:cubicBezTo>
                <a:lnTo>
                  <a:pt x="12160" y="12652"/>
                </a:lnTo>
                <a:cubicBezTo>
                  <a:pt x="13800" y="13590"/>
                  <a:pt x="15363" y="13747"/>
                  <a:pt x="15606" y="13747"/>
                </a:cubicBezTo>
                <a:cubicBezTo>
                  <a:pt x="16313" y="13747"/>
                  <a:pt x="17067" y="13463"/>
                  <a:pt x="17617" y="12892"/>
                </a:cubicBezTo>
                <a:lnTo>
                  <a:pt x="20209" y="10198"/>
                </a:lnTo>
                <a:cubicBezTo>
                  <a:pt x="21560" y="8795"/>
                  <a:pt x="21600" y="6433"/>
                  <a:pt x="20499" y="427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Shape 2619">
            <a:extLst>
              <a:ext uri="{FF2B5EF4-FFF2-40B4-BE49-F238E27FC236}">
                <a16:creationId xmlns:a16="http://schemas.microsoft.com/office/drawing/2014/main" id="{7B7059D6-FDD1-438D-ABE0-C712348E8E22}"/>
              </a:ext>
            </a:extLst>
          </p:cNvPr>
          <p:cNvSpPr/>
          <p:nvPr/>
        </p:nvSpPr>
        <p:spPr bwMode="gray">
          <a:xfrm>
            <a:off x="8405593" y="3415128"/>
            <a:ext cx="289156" cy="2891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3" extrusionOk="0">
                <a:moveTo>
                  <a:pt x="12364" y="11941"/>
                </a:moveTo>
                <a:lnTo>
                  <a:pt x="13062" y="14033"/>
                </a:lnTo>
                <a:lnTo>
                  <a:pt x="11365" y="12790"/>
                </a:lnTo>
                <a:lnTo>
                  <a:pt x="10785" y="12365"/>
                </a:lnTo>
                <a:lnTo>
                  <a:pt x="10205" y="12790"/>
                </a:lnTo>
                <a:lnTo>
                  <a:pt x="8508" y="14033"/>
                </a:lnTo>
                <a:lnTo>
                  <a:pt x="9206" y="11941"/>
                </a:lnTo>
                <a:lnTo>
                  <a:pt x="9426" y="11282"/>
                </a:lnTo>
                <a:lnTo>
                  <a:pt x="8877" y="10856"/>
                </a:lnTo>
                <a:lnTo>
                  <a:pt x="7511" y="9794"/>
                </a:lnTo>
                <a:lnTo>
                  <a:pt x="9790" y="9794"/>
                </a:lnTo>
                <a:lnTo>
                  <a:pt x="10030" y="9160"/>
                </a:lnTo>
                <a:lnTo>
                  <a:pt x="10785" y="7162"/>
                </a:lnTo>
                <a:lnTo>
                  <a:pt x="11540" y="9160"/>
                </a:lnTo>
                <a:lnTo>
                  <a:pt x="11779" y="9794"/>
                </a:lnTo>
                <a:lnTo>
                  <a:pt x="14059" y="9794"/>
                </a:lnTo>
                <a:lnTo>
                  <a:pt x="12692" y="10856"/>
                </a:lnTo>
                <a:lnTo>
                  <a:pt x="12144" y="11282"/>
                </a:lnTo>
                <a:cubicBezTo>
                  <a:pt x="12144" y="11282"/>
                  <a:pt x="12364" y="11941"/>
                  <a:pt x="12364" y="11941"/>
                </a:cubicBezTo>
                <a:close/>
                <a:moveTo>
                  <a:pt x="12458" y="8813"/>
                </a:moveTo>
                <a:lnTo>
                  <a:pt x="10785" y="4384"/>
                </a:lnTo>
                <a:lnTo>
                  <a:pt x="9111" y="8813"/>
                </a:lnTo>
                <a:lnTo>
                  <a:pt x="4649" y="8813"/>
                </a:lnTo>
                <a:lnTo>
                  <a:pt x="8275" y="11631"/>
                </a:lnTo>
                <a:lnTo>
                  <a:pt x="6601" y="16647"/>
                </a:lnTo>
                <a:lnTo>
                  <a:pt x="10785" y="13582"/>
                </a:lnTo>
                <a:lnTo>
                  <a:pt x="14969" y="16647"/>
                </a:lnTo>
                <a:lnTo>
                  <a:pt x="13295" y="11631"/>
                </a:lnTo>
                <a:lnTo>
                  <a:pt x="16921" y="8813"/>
                </a:lnTo>
                <a:cubicBezTo>
                  <a:pt x="16921" y="8813"/>
                  <a:pt x="12458" y="8813"/>
                  <a:pt x="12458" y="8813"/>
                </a:cubicBezTo>
                <a:close/>
                <a:moveTo>
                  <a:pt x="10800" y="20592"/>
                </a:moveTo>
                <a:cubicBezTo>
                  <a:pt x="9796" y="20381"/>
                  <a:pt x="982" y="17399"/>
                  <a:pt x="982" y="12263"/>
                </a:cubicBezTo>
                <a:cubicBezTo>
                  <a:pt x="982" y="7469"/>
                  <a:pt x="2322" y="2919"/>
                  <a:pt x="2778" y="1179"/>
                </a:cubicBezTo>
                <a:cubicBezTo>
                  <a:pt x="4022" y="1719"/>
                  <a:pt x="7232" y="2943"/>
                  <a:pt x="10800" y="2943"/>
                </a:cubicBezTo>
                <a:cubicBezTo>
                  <a:pt x="14368" y="2943"/>
                  <a:pt x="17579" y="1719"/>
                  <a:pt x="18823" y="1179"/>
                </a:cubicBezTo>
                <a:cubicBezTo>
                  <a:pt x="19278" y="2918"/>
                  <a:pt x="20618" y="7466"/>
                  <a:pt x="20618" y="12263"/>
                </a:cubicBezTo>
                <a:cubicBezTo>
                  <a:pt x="20618" y="17393"/>
                  <a:pt x="11803" y="20381"/>
                  <a:pt x="10800" y="20592"/>
                </a:cubicBezTo>
                <a:moveTo>
                  <a:pt x="19618" y="356"/>
                </a:moveTo>
                <a:cubicBezTo>
                  <a:pt x="19577" y="216"/>
                  <a:pt x="19477" y="101"/>
                  <a:pt x="19343" y="42"/>
                </a:cubicBezTo>
                <a:cubicBezTo>
                  <a:pt x="19210" y="-17"/>
                  <a:pt x="19057" y="-13"/>
                  <a:pt x="18926" y="52"/>
                </a:cubicBezTo>
                <a:cubicBezTo>
                  <a:pt x="18888" y="71"/>
                  <a:pt x="15053" y="1962"/>
                  <a:pt x="10800" y="1962"/>
                </a:cubicBezTo>
                <a:cubicBezTo>
                  <a:pt x="6556" y="1962"/>
                  <a:pt x="2712" y="71"/>
                  <a:pt x="2674" y="52"/>
                </a:cubicBezTo>
                <a:cubicBezTo>
                  <a:pt x="2543" y="-13"/>
                  <a:pt x="2391" y="-17"/>
                  <a:pt x="2257" y="42"/>
                </a:cubicBezTo>
                <a:cubicBezTo>
                  <a:pt x="2124" y="101"/>
                  <a:pt x="2023" y="216"/>
                  <a:pt x="1983" y="356"/>
                </a:cubicBezTo>
                <a:cubicBezTo>
                  <a:pt x="1963" y="426"/>
                  <a:pt x="0" y="6376"/>
                  <a:pt x="0" y="12263"/>
                </a:cubicBezTo>
                <a:cubicBezTo>
                  <a:pt x="0" y="18484"/>
                  <a:pt x="10271" y="21491"/>
                  <a:pt x="10708" y="21575"/>
                </a:cubicBezTo>
                <a:cubicBezTo>
                  <a:pt x="10739" y="21580"/>
                  <a:pt x="10770" y="21583"/>
                  <a:pt x="10800" y="21583"/>
                </a:cubicBezTo>
                <a:cubicBezTo>
                  <a:pt x="10831" y="21583"/>
                  <a:pt x="10862" y="21580"/>
                  <a:pt x="10892" y="21575"/>
                </a:cubicBezTo>
                <a:cubicBezTo>
                  <a:pt x="11329" y="21491"/>
                  <a:pt x="21600" y="18484"/>
                  <a:pt x="21600" y="12263"/>
                </a:cubicBezTo>
                <a:cubicBezTo>
                  <a:pt x="21600" y="6376"/>
                  <a:pt x="19637" y="426"/>
                  <a:pt x="19618" y="35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Shape 2620">
            <a:extLst>
              <a:ext uri="{FF2B5EF4-FFF2-40B4-BE49-F238E27FC236}">
                <a16:creationId xmlns:a16="http://schemas.microsoft.com/office/drawing/2014/main" id="{3F3350D0-2669-41D1-B8D7-05D1DD64AD46}"/>
              </a:ext>
            </a:extLst>
          </p:cNvPr>
          <p:cNvSpPr/>
          <p:nvPr/>
        </p:nvSpPr>
        <p:spPr bwMode="gray">
          <a:xfrm>
            <a:off x="8957617" y="3428271"/>
            <a:ext cx="289156" cy="2629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44" extrusionOk="0">
                <a:moveTo>
                  <a:pt x="20618" y="7406"/>
                </a:moveTo>
                <a:lnTo>
                  <a:pt x="13580" y="7406"/>
                </a:lnTo>
                <a:cubicBezTo>
                  <a:pt x="13156" y="6803"/>
                  <a:pt x="12718" y="6095"/>
                  <a:pt x="12319" y="5293"/>
                </a:cubicBezTo>
                <a:lnTo>
                  <a:pt x="20618" y="5293"/>
                </a:lnTo>
                <a:cubicBezTo>
                  <a:pt x="20618" y="5293"/>
                  <a:pt x="20618" y="7406"/>
                  <a:pt x="20618" y="7406"/>
                </a:cubicBezTo>
                <a:close/>
                <a:moveTo>
                  <a:pt x="19636" y="13747"/>
                </a:moveTo>
                <a:lnTo>
                  <a:pt x="11291" y="13747"/>
                </a:lnTo>
                <a:lnTo>
                  <a:pt x="11291" y="8463"/>
                </a:lnTo>
                <a:lnTo>
                  <a:pt x="13090" y="8463"/>
                </a:lnTo>
                <a:cubicBezTo>
                  <a:pt x="14022" y="9712"/>
                  <a:pt x="14815" y="10437"/>
                  <a:pt x="14882" y="10497"/>
                </a:cubicBezTo>
                <a:cubicBezTo>
                  <a:pt x="15009" y="10610"/>
                  <a:pt x="15174" y="10644"/>
                  <a:pt x="15323" y="10601"/>
                </a:cubicBezTo>
                <a:cubicBezTo>
                  <a:pt x="15418" y="10574"/>
                  <a:pt x="15505" y="10516"/>
                  <a:pt x="15573" y="10429"/>
                </a:cubicBezTo>
                <a:cubicBezTo>
                  <a:pt x="15746" y="10205"/>
                  <a:pt x="15718" y="9871"/>
                  <a:pt x="15510" y="9684"/>
                </a:cubicBezTo>
                <a:cubicBezTo>
                  <a:pt x="15498" y="9674"/>
                  <a:pt x="15023" y="9238"/>
                  <a:pt x="14383" y="8463"/>
                </a:cubicBezTo>
                <a:lnTo>
                  <a:pt x="19636" y="8463"/>
                </a:lnTo>
                <a:cubicBezTo>
                  <a:pt x="19636" y="8463"/>
                  <a:pt x="19636" y="13747"/>
                  <a:pt x="19636" y="13747"/>
                </a:cubicBezTo>
                <a:close/>
                <a:moveTo>
                  <a:pt x="19636" y="20087"/>
                </a:moveTo>
                <a:lnTo>
                  <a:pt x="11291" y="20087"/>
                </a:lnTo>
                <a:lnTo>
                  <a:pt x="11291" y="14803"/>
                </a:lnTo>
                <a:lnTo>
                  <a:pt x="19636" y="14803"/>
                </a:lnTo>
                <a:cubicBezTo>
                  <a:pt x="19636" y="14803"/>
                  <a:pt x="19636" y="20087"/>
                  <a:pt x="19636" y="20087"/>
                </a:cubicBezTo>
                <a:close/>
                <a:moveTo>
                  <a:pt x="11291" y="5461"/>
                </a:moveTo>
                <a:cubicBezTo>
                  <a:pt x="11626" y="6178"/>
                  <a:pt x="11991" y="6828"/>
                  <a:pt x="12360" y="7406"/>
                </a:cubicBezTo>
                <a:lnTo>
                  <a:pt x="11291" y="7406"/>
                </a:lnTo>
                <a:cubicBezTo>
                  <a:pt x="11291" y="7406"/>
                  <a:pt x="11291" y="5461"/>
                  <a:pt x="11291" y="5461"/>
                </a:cubicBezTo>
                <a:close/>
                <a:moveTo>
                  <a:pt x="12871" y="1481"/>
                </a:moveTo>
                <a:cubicBezTo>
                  <a:pt x="14045" y="751"/>
                  <a:pt x="15436" y="979"/>
                  <a:pt x="15979" y="1990"/>
                </a:cubicBezTo>
                <a:cubicBezTo>
                  <a:pt x="16343" y="2668"/>
                  <a:pt x="16223" y="3523"/>
                  <a:pt x="15755" y="4236"/>
                </a:cubicBezTo>
                <a:lnTo>
                  <a:pt x="11845" y="4236"/>
                </a:lnTo>
                <a:cubicBezTo>
                  <a:pt x="11740" y="3975"/>
                  <a:pt x="11641" y="3708"/>
                  <a:pt x="11550" y="3432"/>
                </a:cubicBezTo>
                <a:cubicBezTo>
                  <a:pt x="11653" y="2691"/>
                  <a:pt x="12120" y="1947"/>
                  <a:pt x="12871" y="1481"/>
                </a:cubicBezTo>
                <a:moveTo>
                  <a:pt x="10309" y="7406"/>
                </a:moveTo>
                <a:lnTo>
                  <a:pt x="9224" y="7406"/>
                </a:lnTo>
                <a:cubicBezTo>
                  <a:pt x="9600" y="6819"/>
                  <a:pt x="9970" y="6158"/>
                  <a:pt x="10309" y="5429"/>
                </a:cubicBezTo>
                <a:cubicBezTo>
                  <a:pt x="10309" y="5429"/>
                  <a:pt x="10309" y="7406"/>
                  <a:pt x="10309" y="7406"/>
                </a:cubicBezTo>
                <a:close/>
                <a:moveTo>
                  <a:pt x="10309" y="13747"/>
                </a:moveTo>
                <a:lnTo>
                  <a:pt x="1964" y="13747"/>
                </a:lnTo>
                <a:lnTo>
                  <a:pt x="1964" y="8463"/>
                </a:lnTo>
                <a:lnTo>
                  <a:pt x="7202" y="8463"/>
                </a:lnTo>
                <a:cubicBezTo>
                  <a:pt x="6563" y="9238"/>
                  <a:pt x="6087" y="9674"/>
                  <a:pt x="6075" y="9684"/>
                </a:cubicBezTo>
                <a:cubicBezTo>
                  <a:pt x="5867" y="9871"/>
                  <a:pt x="5839" y="10205"/>
                  <a:pt x="6012" y="10429"/>
                </a:cubicBezTo>
                <a:cubicBezTo>
                  <a:pt x="6080" y="10516"/>
                  <a:pt x="6167" y="10574"/>
                  <a:pt x="6261" y="10601"/>
                </a:cubicBezTo>
                <a:cubicBezTo>
                  <a:pt x="6411" y="10644"/>
                  <a:pt x="6575" y="10610"/>
                  <a:pt x="6703" y="10497"/>
                </a:cubicBezTo>
                <a:cubicBezTo>
                  <a:pt x="6770" y="10437"/>
                  <a:pt x="7563" y="9712"/>
                  <a:pt x="8495" y="8463"/>
                </a:cubicBezTo>
                <a:lnTo>
                  <a:pt x="10309" y="8463"/>
                </a:lnTo>
                <a:cubicBezTo>
                  <a:pt x="10309" y="8463"/>
                  <a:pt x="10309" y="13747"/>
                  <a:pt x="10309" y="13747"/>
                </a:cubicBezTo>
                <a:close/>
                <a:moveTo>
                  <a:pt x="10309" y="20087"/>
                </a:moveTo>
                <a:lnTo>
                  <a:pt x="1964" y="20087"/>
                </a:lnTo>
                <a:lnTo>
                  <a:pt x="1964" y="14803"/>
                </a:lnTo>
                <a:lnTo>
                  <a:pt x="10309" y="14803"/>
                </a:lnTo>
                <a:cubicBezTo>
                  <a:pt x="10309" y="14803"/>
                  <a:pt x="10309" y="20087"/>
                  <a:pt x="10309" y="20087"/>
                </a:cubicBezTo>
                <a:close/>
                <a:moveTo>
                  <a:pt x="982" y="7406"/>
                </a:moveTo>
                <a:lnTo>
                  <a:pt x="982" y="5293"/>
                </a:lnTo>
                <a:lnTo>
                  <a:pt x="9266" y="5293"/>
                </a:lnTo>
                <a:cubicBezTo>
                  <a:pt x="8867" y="6095"/>
                  <a:pt x="8429" y="6803"/>
                  <a:pt x="8005" y="7406"/>
                </a:cubicBezTo>
                <a:cubicBezTo>
                  <a:pt x="8005" y="7406"/>
                  <a:pt x="982" y="7406"/>
                  <a:pt x="982" y="7406"/>
                </a:cubicBezTo>
                <a:close/>
                <a:moveTo>
                  <a:pt x="5606" y="1990"/>
                </a:moveTo>
                <a:cubicBezTo>
                  <a:pt x="6148" y="980"/>
                  <a:pt x="7540" y="751"/>
                  <a:pt x="8714" y="1481"/>
                </a:cubicBezTo>
                <a:cubicBezTo>
                  <a:pt x="9465" y="1948"/>
                  <a:pt x="9931" y="2692"/>
                  <a:pt x="10035" y="3433"/>
                </a:cubicBezTo>
                <a:cubicBezTo>
                  <a:pt x="9944" y="3708"/>
                  <a:pt x="9845" y="3975"/>
                  <a:pt x="9740" y="4236"/>
                </a:cubicBezTo>
                <a:lnTo>
                  <a:pt x="5830" y="4236"/>
                </a:lnTo>
                <a:cubicBezTo>
                  <a:pt x="5362" y="3523"/>
                  <a:pt x="5242" y="2668"/>
                  <a:pt x="5606" y="1990"/>
                </a:cubicBezTo>
                <a:moveTo>
                  <a:pt x="20618" y="4236"/>
                </a:moveTo>
                <a:lnTo>
                  <a:pt x="16874" y="4236"/>
                </a:lnTo>
                <a:cubicBezTo>
                  <a:pt x="17259" y="3325"/>
                  <a:pt x="17284" y="2310"/>
                  <a:pt x="16829" y="1461"/>
                </a:cubicBezTo>
                <a:cubicBezTo>
                  <a:pt x="16015" y="-54"/>
                  <a:pt x="14024" y="-456"/>
                  <a:pt x="12380" y="565"/>
                </a:cubicBezTo>
                <a:cubicBezTo>
                  <a:pt x="11747" y="959"/>
                  <a:pt x="11277" y="1511"/>
                  <a:pt x="10965" y="2122"/>
                </a:cubicBezTo>
                <a:cubicBezTo>
                  <a:pt x="10949" y="2115"/>
                  <a:pt x="10937" y="2103"/>
                  <a:pt x="10920" y="2098"/>
                </a:cubicBezTo>
                <a:cubicBezTo>
                  <a:pt x="10909" y="2095"/>
                  <a:pt x="10899" y="2097"/>
                  <a:pt x="10888" y="2095"/>
                </a:cubicBezTo>
                <a:cubicBezTo>
                  <a:pt x="10861" y="2089"/>
                  <a:pt x="10834" y="2089"/>
                  <a:pt x="10806" y="2088"/>
                </a:cubicBezTo>
                <a:cubicBezTo>
                  <a:pt x="10782" y="2089"/>
                  <a:pt x="10759" y="2089"/>
                  <a:pt x="10735" y="2093"/>
                </a:cubicBezTo>
                <a:cubicBezTo>
                  <a:pt x="10712" y="2096"/>
                  <a:pt x="10689" y="2090"/>
                  <a:pt x="10665" y="2098"/>
                </a:cubicBezTo>
                <a:cubicBezTo>
                  <a:pt x="10648" y="2103"/>
                  <a:pt x="10636" y="2115"/>
                  <a:pt x="10620" y="2122"/>
                </a:cubicBezTo>
                <a:cubicBezTo>
                  <a:pt x="10307" y="1511"/>
                  <a:pt x="9837" y="959"/>
                  <a:pt x="9205" y="566"/>
                </a:cubicBezTo>
                <a:cubicBezTo>
                  <a:pt x="7561" y="-456"/>
                  <a:pt x="5569" y="-54"/>
                  <a:pt x="4755" y="1461"/>
                </a:cubicBezTo>
                <a:cubicBezTo>
                  <a:pt x="4301" y="2310"/>
                  <a:pt x="4325" y="3325"/>
                  <a:pt x="4711" y="4236"/>
                </a:cubicBezTo>
                <a:lnTo>
                  <a:pt x="982" y="4236"/>
                </a:lnTo>
                <a:cubicBezTo>
                  <a:pt x="440" y="4236"/>
                  <a:pt x="0" y="4709"/>
                  <a:pt x="0" y="5293"/>
                </a:cubicBezTo>
                <a:lnTo>
                  <a:pt x="0" y="7406"/>
                </a:lnTo>
                <a:cubicBezTo>
                  <a:pt x="0" y="7990"/>
                  <a:pt x="440" y="8463"/>
                  <a:pt x="982" y="8463"/>
                </a:cubicBezTo>
                <a:lnTo>
                  <a:pt x="982" y="20087"/>
                </a:lnTo>
                <a:cubicBezTo>
                  <a:pt x="982" y="20671"/>
                  <a:pt x="1422" y="21144"/>
                  <a:pt x="1964" y="21144"/>
                </a:cubicBezTo>
                <a:lnTo>
                  <a:pt x="19636" y="21144"/>
                </a:lnTo>
                <a:cubicBezTo>
                  <a:pt x="20178" y="21144"/>
                  <a:pt x="20618" y="20671"/>
                  <a:pt x="20618" y="20087"/>
                </a:cubicBezTo>
                <a:lnTo>
                  <a:pt x="20618" y="8463"/>
                </a:lnTo>
                <a:cubicBezTo>
                  <a:pt x="21160" y="8463"/>
                  <a:pt x="21600" y="7990"/>
                  <a:pt x="21600" y="7406"/>
                </a:cubicBezTo>
                <a:lnTo>
                  <a:pt x="21600" y="5293"/>
                </a:lnTo>
                <a:cubicBezTo>
                  <a:pt x="21600" y="4709"/>
                  <a:pt x="21160" y="4236"/>
                  <a:pt x="20618" y="42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Shape 2621">
            <a:extLst>
              <a:ext uri="{FF2B5EF4-FFF2-40B4-BE49-F238E27FC236}">
                <a16:creationId xmlns:a16="http://schemas.microsoft.com/office/drawing/2014/main" id="{1B36935D-2E05-4025-A3E7-AE8C37B2A21C}"/>
              </a:ext>
            </a:extLst>
          </p:cNvPr>
          <p:cNvSpPr/>
          <p:nvPr/>
        </p:nvSpPr>
        <p:spPr bwMode="gray">
          <a:xfrm>
            <a:off x="9509642" y="3467702"/>
            <a:ext cx="289156" cy="1840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057"/>
                </a:moveTo>
                <a:cubicBezTo>
                  <a:pt x="5378" y="20057"/>
                  <a:pt x="982" y="13445"/>
                  <a:pt x="982" y="10800"/>
                </a:cubicBezTo>
                <a:cubicBezTo>
                  <a:pt x="982" y="8155"/>
                  <a:pt x="5378" y="1543"/>
                  <a:pt x="10800" y="1543"/>
                </a:cubicBezTo>
                <a:cubicBezTo>
                  <a:pt x="16223" y="1543"/>
                  <a:pt x="20618" y="8155"/>
                  <a:pt x="20618" y="10800"/>
                </a:cubicBezTo>
                <a:cubicBezTo>
                  <a:pt x="20618" y="13445"/>
                  <a:pt x="16223" y="20057"/>
                  <a:pt x="10800" y="20057"/>
                </a:cubicBezTo>
                <a:moveTo>
                  <a:pt x="10800" y="0"/>
                </a:moveTo>
                <a:cubicBezTo>
                  <a:pt x="4835" y="0"/>
                  <a:pt x="0" y="7714"/>
                  <a:pt x="0" y="10800"/>
                </a:cubicBezTo>
                <a:cubicBezTo>
                  <a:pt x="0" y="13886"/>
                  <a:pt x="4835" y="21600"/>
                  <a:pt x="10800" y="21600"/>
                </a:cubicBezTo>
                <a:cubicBezTo>
                  <a:pt x="16765" y="21600"/>
                  <a:pt x="21600" y="13886"/>
                  <a:pt x="21600" y="10800"/>
                </a:cubicBezTo>
                <a:cubicBezTo>
                  <a:pt x="21600" y="7714"/>
                  <a:pt x="16765" y="0"/>
                  <a:pt x="10800" y="0"/>
                </a:cubicBezTo>
                <a:moveTo>
                  <a:pt x="10800" y="16971"/>
                </a:moveTo>
                <a:cubicBezTo>
                  <a:pt x="8631" y="16971"/>
                  <a:pt x="6873" y="14209"/>
                  <a:pt x="6873" y="10800"/>
                </a:cubicBezTo>
                <a:cubicBezTo>
                  <a:pt x="6873" y="7392"/>
                  <a:pt x="8631" y="4629"/>
                  <a:pt x="10800" y="4629"/>
                </a:cubicBezTo>
                <a:cubicBezTo>
                  <a:pt x="12969" y="4629"/>
                  <a:pt x="14727" y="7392"/>
                  <a:pt x="14727" y="10800"/>
                </a:cubicBezTo>
                <a:cubicBezTo>
                  <a:pt x="14727" y="14209"/>
                  <a:pt x="12969" y="16971"/>
                  <a:pt x="10800" y="16971"/>
                </a:cubicBezTo>
                <a:moveTo>
                  <a:pt x="10800" y="3087"/>
                </a:moveTo>
                <a:cubicBezTo>
                  <a:pt x="8088" y="3087"/>
                  <a:pt x="5891" y="6540"/>
                  <a:pt x="5891" y="10800"/>
                </a:cubicBezTo>
                <a:cubicBezTo>
                  <a:pt x="5891" y="15061"/>
                  <a:pt x="8088" y="18514"/>
                  <a:pt x="10800" y="18514"/>
                </a:cubicBezTo>
                <a:cubicBezTo>
                  <a:pt x="13512" y="18514"/>
                  <a:pt x="15709" y="15061"/>
                  <a:pt x="15709" y="10800"/>
                </a:cubicBezTo>
                <a:cubicBezTo>
                  <a:pt x="15709" y="6540"/>
                  <a:pt x="13512" y="3087"/>
                  <a:pt x="10800" y="3087"/>
                </a:cubicBezTo>
                <a:moveTo>
                  <a:pt x="10800" y="8486"/>
                </a:moveTo>
                <a:cubicBezTo>
                  <a:pt x="9987" y="8486"/>
                  <a:pt x="9327" y="9523"/>
                  <a:pt x="9327" y="10800"/>
                </a:cubicBezTo>
                <a:cubicBezTo>
                  <a:pt x="9327" y="12078"/>
                  <a:pt x="9987" y="13114"/>
                  <a:pt x="10800" y="13114"/>
                </a:cubicBezTo>
                <a:cubicBezTo>
                  <a:pt x="11613" y="13114"/>
                  <a:pt x="12273" y="12078"/>
                  <a:pt x="12273" y="10800"/>
                </a:cubicBezTo>
                <a:cubicBezTo>
                  <a:pt x="12273" y="9523"/>
                  <a:pt x="11613" y="8486"/>
                  <a:pt x="10800" y="848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Shape 2622">
            <a:extLst>
              <a:ext uri="{FF2B5EF4-FFF2-40B4-BE49-F238E27FC236}">
                <a16:creationId xmlns:a16="http://schemas.microsoft.com/office/drawing/2014/main" id="{568BAD4E-30AF-44BD-8138-D5DD1EFD7D2C}"/>
              </a:ext>
            </a:extLst>
          </p:cNvPr>
          <p:cNvSpPr/>
          <p:nvPr/>
        </p:nvSpPr>
        <p:spPr bwMode="gray">
          <a:xfrm>
            <a:off x="10061666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79" y="17044"/>
                </a:moveTo>
                <a:cubicBezTo>
                  <a:pt x="9428" y="17174"/>
                  <a:pt x="9252" y="17274"/>
                  <a:pt x="9050" y="17344"/>
                </a:cubicBezTo>
                <a:cubicBezTo>
                  <a:pt x="8849" y="17415"/>
                  <a:pt x="8636" y="17450"/>
                  <a:pt x="8413" y="17450"/>
                </a:cubicBezTo>
                <a:cubicBezTo>
                  <a:pt x="7887" y="17450"/>
                  <a:pt x="7488" y="17288"/>
                  <a:pt x="7214" y="16966"/>
                </a:cubicBezTo>
                <a:cubicBezTo>
                  <a:pt x="6941" y="16644"/>
                  <a:pt x="6797" y="16226"/>
                  <a:pt x="6782" y="15715"/>
                </a:cubicBezTo>
                <a:lnTo>
                  <a:pt x="5864" y="15715"/>
                </a:lnTo>
                <a:cubicBezTo>
                  <a:pt x="5857" y="16122"/>
                  <a:pt x="5913" y="16486"/>
                  <a:pt x="6032" y="16805"/>
                </a:cubicBezTo>
                <a:cubicBezTo>
                  <a:pt x="6151" y="17123"/>
                  <a:pt x="6321" y="17393"/>
                  <a:pt x="6545" y="17611"/>
                </a:cubicBezTo>
                <a:cubicBezTo>
                  <a:pt x="6767" y="17830"/>
                  <a:pt x="7038" y="17995"/>
                  <a:pt x="7355" y="18106"/>
                </a:cubicBezTo>
                <a:cubicBezTo>
                  <a:pt x="7671" y="18218"/>
                  <a:pt x="8024" y="18273"/>
                  <a:pt x="8413" y="18273"/>
                </a:cubicBezTo>
                <a:cubicBezTo>
                  <a:pt x="8773" y="18273"/>
                  <a:pt x="9113" y="18223"/>
                  <a:pt x="9434" y="18123"/>
                </a:cubicBezTo>
                <a:cubicBezTo>
                  <a:pt x="9754" y="18023"/>
                  <a:pt x="10033" y="17873"/>
                  <a:pt x="10271" y="17672"/>
                </a:cubicBezTo>
                <a:cubicBezTo>
                  <a:pt x="10509" y="17472"/>
                  <a:pt x="10697" y="17222"/>
                  <a:pt x="10837" y="16922"/>
                </a:cubicBezTo>
                <a:cubicBezTo>
                  <a:pt x="10978" y="16621"/>
                  <a:pt x="11048" y="16275"/>
                  <a:pt x="11048" y="15881"/>
                </a:cubicBezTo>
                <a:cubicBezTo>
                  <a:pt x="11048" y="15407"/>
                  <a:pt x="10935" y="14995"/>
                  <a:pt x="10708" y="14646"/>
                </a:cubicBezTo>
                <a:cubicBezTo>
                  <a:pt x="10481" y="14298"/>
                  <a:pt x="10134" y="14072"/>
                  <a:pt x="9666" y="13968"/>
                </a:cubicBezTo>
                <a:lnTo>
                  <a:pt x="9666" y="13946"/>
                </a:lnTo>
                <a:cubicBezTo>
                  <a:pt x="9968" y="13805"/>
                  <a:pt x="10220" y="13597"/>
                  <a:pt x="10422" y="13323"/>
                </a:cubicBezTo>
                <a:cubicBezTo>
                  <a:pt x="10624" y="13048"/>
                  <a:pt x="10724" y="12734"/>
                  <a:pt x="10724" y="12377"/>
                </a:cubicBezTo>
                <a:cubicBezTo>
                  <a:pt x="10724" y="12014"/>
                  <a:pt x="10665" y="11698"/>
                  <a:pt x="10546" y="11432"/>
                </a:cubicBezTo>
                <a:cubicBezTo>
                  <a:pt x="10427" y="11165"/>
                  <a:pt x="10263" y="10946"/>
                  <a:pt x="10055" y="10776"/>
                </a:cubicBezTo>
                <a:cubicBezTo>
                  <a:pt x="9846" y="10605"/>
                  <a:pt x="9599" y="10477"/>
                  <a:pt x="9315" y="10392"/>
                </a:cubicBezTo>
                <a:cubicBezTo>
                  <a:pt x="9030" y="10306"/>
                  <a:pt x="8722" y="10264"/>
                  <a:pt x="8391" y="10264"/>
                </a:cubicBezTo>
                <a:cubicBezTo>
                  <a:pt x="8010" y="10264"/>
                  <a:pt x="7673" y="10326"/>
                  <a:pt x="7382" y="10453"/>
                </a:cubicBezTo>
                <a:cubicBezTo>
                  <a:pt x="7090" y="10579"/>
                  <a:pt x="6847" y="10753"/>
                  <a:pt x="6653" y="10976"/>
                </a:cubicBezTo>
                <a:cubicBezTo>
                  <a:pt x="6459" y="11198"/>
                  <a:pt x="6309" y="11466"/>
                  <a:pt x="6204" y="11777"/>
                </a:cubicBezTo>
                <a:cubicBezTo>
                  <a:pt x="6100" y="12088"/>
                  <a:pt x="6040" y="12433"/>
                  <a:pt x="6026" y="12811"/>
                </a:cubicBezTo>
                <a:lnTo>
                  <a:pt x="6944" y="12811"/>
                </a:lnTo>
                <a:cubicBezTo>
                  <a:pt x="6944" y="12581"/>
                  <a:pt x="6972" y="12363"/>
                  <a:pt x="7031" y="12155"/>
                </a:cubicBezTo>
                <a:cubicBezTo>
                  <a:pt x="7088" y="11947"/>
                  <a:pt x="7177" y="11766"/>
                  <a:pt x="7296" y="11610"/>
                </a:cubicBezTo>
                <a:cubicBezTo>
                  <a:pt x="7414" y="11454"/>
                  <a:pt x="7565" y="11330"/>
                  <a:pt x="7749" y="11237"/>
                </a:cubicBezTo>
                <a:cubicBezTo>
                  <a:pt x="7932" y="11144"/>
                  <a:pt x="8147" y="11098"/>
                  <a:pt x="8391" y="11098"/>
                </a:cubicBezTo>
                <a:cubicBezTo>
                  <a:pt x="8780" y="11098"/>
                  <a:pt x="9104" y="11204"/>
                  <a:pt x="9364" y="11415"/>
                </a:cubicBezTo>
                <a:cubicBezTo>
                  <a:pt x="9623" y="11627"/>
                  <a:pt x="9752" y="11943"/>
                  <a:pt x="9752" y="12366"/>
                </a:cubicBezTo>
                <a:cubicBezTo>
                  <a:pt x="9752" y="12574"/>
                  <a:pt x="9713" y="12759"/>
                  <a:pt x="9634" y="12922"/>
                </a:cubicBezTo>
                <a:cubicBezTo>
                  <a:pt x="9554" y="13086"/>
                  <a:pt x="9448" y="13221"/>
                  <a:pt x="9315" y="13329"/>
                </a:cubicBezTo>
                <a:cubicBezTo>
                  <a:pt x="9182" y="13436"/>
                  <a:pt x="9027" y="13517"/>
                  <a:pt x="8851" y="13574"/>
                </a:cubicBezTo>
                <a:cubicBezTo>
                  <a:pt x="8674" y="13629"/>
                  <a:pt x="8488" y="13657"/>
                  <a:pt x="8294" y="13657"/>
                </a:cubicBezTo>
                <a:lnTo>
                  <a:pt x="7992" y="13657"/>
                </a:lnTo>
                <a:cubicBezTo>
                  <a:pt x="7963" y="13657"/>
                  <a:pt x="7930" y="13653"/>
                  <a:pt x="7895" y="13645"/>
                </a:cubicBezTo>
                <a:lnTo>
                  <a:pt x="7895" y="14447"/>
                </a:lnTo>
                <a:cubicBezTo>
                  <a:pt x="8067" y="14424"/>
                  <a:pt x="8251" y="14413"/>
                  <a:pt x="8445" y="14413"/>
                </a:cubicBezTo>
                <a:cubicBezTo>
                  <a:pt x="8676" y="14413"/>
                  <a:pt x="8890" y="14444"/>
                  <a:pt x="9088" y="14507"/>
                </a:cubicBezTo>
                <a:cubicBezTo>
                  <a:pt x="9286" y="14571"/>
                  <a:pt x="9457" y="14667"/>
                  <a:pt x="9601" y="14797"/>
                </a:cubicBezTo>
                <a:cubicBezTo>
                  <a:pt x="9745" y="14927"/>
                  <a:pt x="9860" y="15086"/>
                  <a:pt x="9947" y="15275"/>
                </a:cubicBezTo>
                <a:cubicBezTo>
                  <a:pt x="10033" y="15464"/>
                  <a:pt x="10076" y="15682"/>
                  <a:pt x="10076" y="15926"/>
                </a:cubicBezTo>
                <a:cubicBezTo>
                  <a:pt x="10076" y="16163"/>
                  <a:pt x="10031" y="16377"/>
                  <a:pt x="9941" y="16565"/>
                </a:cubicBezTo>
                <a:cubicBezTo>
                  <a:pt x="9851" y="16754"/>
                  <a:pt x="9731" y="16914"/>
                  <a:pt x="9579" y="17044"/>
                </a:cubicBezTo>
                <a:moveTo>
                  <a:pt x="14257" y="18151"/>
                </a:moveTo>
                <a:lnTo>
                  <a:pt x="15175" y="18151"/>
                </a:lnTo>
                <a:lnTo>
                  <a:pt x="15175" y="10264"/>
                </a:lnTo>
                <a:lnTo>
                  <a:pt x="14473" y="10264"/>
                </a:lnTo>
                <a:cubicBezTo>
                  <a:pt x="14422" y="10561"/>
                  <a:pt x="14329" y="10805"/>
                  <a:pt x="14192" y="10998"/>
                </a:cubicBezTo>
                <a:cubicBezTo>
                  <a:pt x="14055" y="11191"/>
                  <a:pt x="13888" y="11343"/>
                  <a:pt x="13690" y="11454"/>
                </a:cubicBezTo>
                <a:cubicBezTo>
                  <a:pt x="13492" y="11565"/>
                  <a:pt x="13271" y="11641"/>
                  <a:pt x="13026" y="11682"/>
                </a:cubicBezTo>
                <a:cubicBezTo>
                  <a:pt x="12781" y="11723"/>
                  <a:pt x="12529" y="11743"/>
                  <a:pt x="12270" y="11743"/>
                </a:cubicBezTo>
                <a:lnTo>
                  <a:pt x="12270" y="12499"/>
                </a:lnTo>
                <a:lnTo>
                  <a:pt x="14257" y="12499"/>
                </a:lnTo>
                <a:cubicBezTo>
                  <a:pt x="14257" y="12499"/>
                  <a:pt x="14257" y="18151"/>
                  <a:pt x="14257" y="1815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1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9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Shape 2623">
            <a:extLst>
              <a:ext uri="{FF2B5EF4-FFF2-40B4-BE49-F238E27FC236}">
                <a16:creationId xmlns:a16="http://schemas.microsoft.com/office/drawing/2014/main" id="{638A725B-CDE9-4E1F-87EF-2B98D4A52D4C}"/>
              </a:ext>
            </a:extLst>
          </p:cNvPr>
          <p:cNvSpPr/>
          <p:nvPr/>
        </p:nvSpPr>
        <p:spPr bwMode="gray">
          <a:xfrm>
            <a:off x="10613690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3255"/>
                </a:moveTo>
                <a:lnTo>
                  <a:pt x="5400" y="13255"/>
                </a:lnTo>
                <a:lnTo>
                  <a:pt x="5400" y="15218"/>
                </a:lnTo>
                <a:lnTo>
                  <a:pt x="7364" y="15218"/>
                </a:lnTo>
                <a:cubicBezTo>
                  <a:pt x="7364" y="15218"/>
                  <a:pt x="7364" y="13255"/>
                  <a:pt x="7364" y="13255"/>
                </a:cubicBezTo>
                <a:close/>
                <a:moveTo>
                  <a:pt x="7364" y="16691"/>
                </a:moveTo>
                <a:lnTo>
                  <a:pt x="5400" y="16691"/>
                </a:lnTo>
                <a:lnTo>
                  <a:pt x="5400" y="18655"/>
                </a:lnTo>
                <a:lnTo>
                  <a:pt x="7364" y="18655"/>
                </a:lnTo>
                <a:cubicBezTo>
                  <a:pt x="7364" y="18655"/>
                  <a:pt x="7364" y="16691"/>
                  <a:pt x="7364" y="16691"/>
                </a:cubicBezTo>
                <a:close/>
                <a:moveTo>
                  <a:pt x="7364" y="9818"/>
                </a:moveTo>
                <a:lnTo>
                  <a:pt x="5400" y="9818"/>
                </a:lnTo>
                <a:lnTo>
                  <a:pt x="5400" y="11782"/>
                </a:lnTo>
                <a:lnTo>
                  <a:pt x="7364" y="11782"/>
                </a:lnTo>
                <a:cubicBezTo>
                  <a:pt x="7364" y="11782"/>
                  <a:pt x="7364" y="9818"/>
                  <a:pt x="7364" y="9818"/>
                </a:cubicBezTo>
                <a:close/>
                <a:moveTo>
                  <a:pt x="4418" y="16691"/>
                </a:moveTo>
                <a:lnTo>
                  <a:pt x="2455" y="16691"/>
                </a:lnTo>
                <a:lnTo>
                  <a:pt x="2455" y="18655"/>
                </a:lnTo>
                <a:lnTo>
                  <a:pt x="4418" y="18655"/>
                </a:lnTo>
                <a:cubicBezTo>
                  <a:pt x="4418" y="18655"/>
                  <a:pt x="4418" y="16691"/>
                  <a:pt x="4418" y="1669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2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8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4418" y="9818"/>
                </a:moveTo>
                <a:lnTo>
                  <a:pt x="2455" y="9818"/>
                </a:lnTo>
                <a:lnTo>
                  <a:pt x="2455" y="11782"/>
                </a:lnTo>
                <a:lnTo>
                  <a:pt x="4418" y="11782"/>
                </a:lnTo>
                <a:cubicBezTo>
                  <a:pt x="4418" y="11782"/>
                  <a:pt x="4418" y="9818"/>
                  <a:pt x="4418" y="9818"/>
                </a:cubicBezTo>
                <a:close/>
                <a:moveTo>
                  <a:pt x="4418" y="13255"/>
                </a:moveTo>
                <a:lnTo>
                  <a:pt x="2455" y="13255"/>
                </a:lnTo>
                <a:lnTo>
                  <a:pt x="2455" y="15218"/>
                </a:lnTo>
                <a:lnTo>
                  <a:pt x="4418" y="15218"/>
                </a:lnTo>
                <a:cubicBezTo>
                  <a:pt x="4418" y="15218"/>
                  <a:pt x="4418" y="13255"/>
                  <a:pt x="4418" y="13255"/>
                </a:cubicBezTo>
                <a:close/>
                <a:moveTo>
                  <a:pt x="10309" y="16691"/>
                </a:moveTo>
                <a:lnTo>
                  <a:pt x="8345" y="16691"/>
                </a:lnTo>
                <a:lnTo>
                  <a:pt x="8345" y="18655"/>
                </a:lnTo>
                <a:lnTo>
                  <a:pt x="10309" y="18655"/>
                </a:lnTo>
                <a:cubicBezTo>
                  <a:pt x="10309" y="18655"/>
                  <a:pt x="10309" y="16691"/>
                  <a:pt x="10309" y="16691"/>
                </a:cubicBezTo>
                <a:close/>
                <a:moveTo>
                  <a:pt x="10309" y="9818"/>
                </a:moveTo>
                <a:lnTo>
                  <a:pt x="8345" y="9818"/>
                </a:lnTo>
                <a:lnTo>
                  <a:pt x="8345" y="11782"/>
                </a:lnTo>
                <a:lnTo>
                  <a:pt x="10309" y="11782"/>
                </a:lnTo>
                <a:cubicBezTo>
                  <a:pt x="10309" y="11782"/>
                  <a:pt x="10309" y="9818"/>
                  <a:pt x="10309" y="9818"/>
                </a:cubicBezTo>
                <a:close/>
                <a:moveTo>
                  <a:pt x="10309" y="13255"/>
                </a:moveTo>
                <a:lnTo>
                  <a:pt x="8345" y="13255"/>
                </a:lnTo>
                <a:lnTo>
                  <a:pt x="8345" y="15218"/>
                </a:lnTo>
                <a:lnTo>
                  <a:pt x="10309" y="15218"/>
                </a:lnTo>
                <a:cubicBezTo>
                  <a:pt x="10309" y="15218"/>
                  <a:pt x="10309" y="13255"/>
                  <a:pt x="10309" y="13255"/>
                </a:cubicBezTo>
                <a:close/>
                <a:moveTo>
                  <a:pt x="19145" y="13255"/>
                </a:moveTo>
                <a:lnTo>
                  <a:pt x="17182" y="13255"/>
                </a:lnTo>
                <a:lnTo>
                  <a:pt x="17182" y="15218"/>
                </a:lnTo>
                <a:lnTo>
                  <a:pt x="19145" y="15218"/>
                </a:lnTo>
                <a:cubicBezTo>
                  <a:pt x="19145" y="15218"/>
                  <a:pt x="19145" y="13255"/>
                  <a:pt x="19145" y="13255"/>
                </a:cubicBezTo>
                <a:close/>
                <a:moveTo>
                  <a:pt x="16200" y="13255"/>
                </a:moveTo>
                <a:lnTo>
                  <a:pt x="14236" y="13255"/>
                </a:lnTo>
                <a:lnTo>
                  <a:pt x="14236" y="15218"/>
                </a:lnTo>
                <a:lnTo>
                  <a:pt x="16200" y="15218"/>
                </a:lnTo>
                <a:cubicBezTo>
                  <a:pt x="16200" y="15218"/>
                  <a:pt x="16200" y="13255"/>
                  <a:pt x="16200" y="13255"/>
                </a:cubicBezTo>
                <a:close/>
                <a:moveTo>
                  <a:pt x="19145" y="9818"/>
                </a:moveTo>
                <a:lnTo>
                  <a:pt x="17182" y="9818"/>
                </a:lnTo>
                <a:lnTo>
                  <a:pt x="17182" y="11782"/>
                </a:lnTo>
                <a:lnTo>
                  <a:pt x="19145" y="11782"/>
                </a:lnTo>
                <a:cubicBezTo>
                  <a:pt x="19145" y="11782"/>
                  <a:pt x="19145" y="9818"/>
                  <a:pt x="19145" y="9818"/>
                </a:cubicBezTo>
                <a:close/>
                <a:moveTo>
                  <a:pt x="16200" y="9818"/>
                </a:moveTo>
                <a:lnTo>
                  <a:pt x="14236" y="9818"/>
                </a:lnTo>
                <a:lnTo>
                  <a:pt x="14236" y="11782"/>
                </a:lnTo>
                <a:lnTo>
                  <a:pt x="16200" y="11782"/>
                </a:lnTo>
                <a:cubicBezTo>
                  <a:pt x="16200" y="11782"/>
                  <a:pt x="16200" y="9818"/>
                  <a:pt x="16200" y="9818"/>
                </a:cubicBezTo>
                <a:close/>
                <a:moveTo>
                  <a:pt x="13255" y="16691"/>
                </a:moveTo>
                <a:lnTo>
                  <a:pt x="11291" y="16691"/>
                </a:lnTo>
                <a:lnTo>
                  <a:pt x="11291" y="18655"/>
                </a:lnTo>
                <a:lnTo>
                  <a:pt x="13255" y="18655"/>
                </a:lnTo>
                <a:cubicBezTo>
                  <a:pt x="13255" y="18655"/>
                  <a:pt x="13255" y="16691"/>
                  <a:pt x="13255" y="16691"/>
                </a:cubicBezTo>
                <a:close/>
                <a:moveTo>
                  <a:pt x="13255" y="9818"/>
                </a:moveTo>
                <a:lnTo>
                  <a:pt x="11291" y="9818"/>
                </a:lnTo>
                <a:lnTo>
                  <a:pt x="11291" y="11782"/>
                </a:lnTo>
                <a:lnTo>
                  <a:pt x="13255" y="11782"/>
                </a:lnTo>
                <a:cubicBezTo>
                  <a:pt x="13255" y="11782"/>
                  <a:pt x="13255" y="9818"/>
                  <a:pt x="13255" y="9818"/>
                </a:cubicBezTo>
                <a:close/>
                <a:moveTo>
                  <a:pt x="13255" y="13255"/>
                </a:moveTo>
                <a:lnTo>
                  <a:pt x="11291" y="13255"/>
                </a:lnTo>
                <a:lnTo>
                  <a:pt x="11291" y="15218"/>
                </a:lnTo>
                <a:lnTo>
                  <a:pt x="13255" y="15218"/>
                </a:lnTo>
                <a:cubicBezTo>
                  <a:pt x="13255" y="15218"/>
                  <a:pt x="13255" y="13255"/>
                  <a:pt x="13255" y="132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Shape 2624">
            <a:extLst>
              <a:ext uri="{FF2B5EF4-FFF2-40B4-BE49-F238E27FC236}">
                <a16:creationId xmlns:a16="http://schemas.microsoft.com/office/drawing/2014/main" id="{8AF839B1-CF9E-41DB-9DE7-DE7BFBB66B3F}"/>
              </a:ext>
            </a:extLst>
          </p:cNvPr>
          <p:cNvSpPr/>
          <p:nvPr/>
        </p:nvSpPr>
        <p:spPr bwMode="gray">
          <a:xfrm>
            <a:off x="1116571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Shape 2625">
            <a:extLst>
              <a:ext uri="{FF2B5EF4-FFF2-40B4-BE49-F238E27FC236}">
                <a16:creationId xmlns:a16="http://schemas.microsoft.com/office/drawing/2014/main" id="{E962A09D-1407-41AB-9568-8BC2DA262325}"/>
              </a:ext>
            </a:extLst>
          </p:cNvPr>
          <p:cNvSpPr/>
          <p:nvPr/>
        </p:nvSpPr>
        <p:spPr bwMode="gray">
          <a:xfrm>
            <a:off x="6197495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5" y="18796"/>
                  <a:pt x="1048" y="18734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4" y="1873"/>
                </a:lnTo>
                <a:cubicBezTo>
                  <a:pt x="9930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6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4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7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8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0800" y="15600"/>
                </a:moveTo>
                <a:cubicBezTo>
                  <a:pt x="10258" y="15600"/>
                  <a:pt x="9818" y="16138"/>
                  <a:pt x="9818" y="16800"/>
                </a:cubicBezTo>
                <a:cubicBezTo>
                  <a:pt x="9818" y="17462"/>
                  <a:pt x="10258" y="18000"/>
                  <a:pt x="10800" y="18000"/>
                </a:cubicBezTo>
                <a:cubicBezTo>
                  <a:pt x="11342" y="18000"/>
                  <a:pt x="11782" y="17462"/>
                  <a:pt x="11782" y="16800"/>
                </a:cubicBezTo>
                <a:cubicBezTo>
                  <a:pt x="11782" y="16138"/>
                  <a:pt x="11342" y="15600"/>
                  <a:pt x="10800" y="15600"/>
                </a:cubicBezTo>
                <a:moveTo>
                  <a:pt x="10800" y="6000"/>
                </a:moveTo>
                <a:cubicBezTo>
                  <a:pt x="10258" y="6000"/>
                  <a:pt x="9818" y="6538"/>
                  <a:pt x="9818" y="7200"/>
                </a:cubicBezTo>
                <a:lnTo>
                  <a:pt x="10309" y="13800"/>
                </a:lnTo>
                <a:cubicBezTo>
                  <a:pt x="10309" y="14132"/>
                  <a:pt x="10529" y="14400"/>
                  <a:pt x="10800" y="14400"/>
                </a:cubicBezTo>
                <a:cubicBezTo>
                  <a:pt x="11071" y="14400"/>
                  <a:pt x="11291" y="14132"/>
                  <a:pt x="11291" y="13800"/>
                </a:cubicBezTo>
                <a:lnTo>
                  <a:pt x="11782" y="7200"/>
                </a:lnTo>
                <a:cubicBezTo>
                  <a:pt x="11782" y="6538"/>
                  <a:pt x="11342" y="6000"/>
                  <a:pt x="10800" y="6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Shape 2626">
            <a:extLst>
              <a:ext uri="{FF2B5EF4-FFF2-40B4-BE49-F238E27FC236}">
                <a16:creationId xmlns:a16="http://schemas.microsoft.com/office/drawing/2014/main" id="{C4D4F968-08DC-4E98-8450-2E058931F868}"/>
              </a:ext>
            </a:extLst>
          </p:cNvPr>
          <p:cNvSpPr/>
          <p:nvPr/>
        </p:nvSpPr>
        <p:spPr bwMode="gray">
          <a:xfrm>
            <a:off x="6775807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22" y="18655"/>
                </a:moveTo>
                <a:cubicBezTo>
                  <a:pt x="7553" y="18644"/>
                  <a:pt x="7811" y="18417"/>
                  <a:pt x="7799" y="18146"/>
                </a:cubicBezTo>
                <a:lnTo>
                  <a:pt x="6916" y="6377"/>
                </a:lnTo>
                <a:cubicBezTo>
                  <a:pt x="6904" y="6106"/>
                  <a:pt x="6626" y="5895"/>
                  <a:pt x="6295" y="5904"/>
                </a:cubicBezTo>
                <a:cubicBezTo>
                  <a:pt x="5963" y="5915"/>
                  <a:pt x="5705" y="6142"/>
                  <a:pt x="5717" y="6413"/>
                </a:cubicBezTo>
                <a:lnTo>
                  <a:pt x="6601" y="18182"/>
                </a:lnTo>
                <a:cubicBezTo>
                  <a:pt x="6613" y="18453"/>
                  <a:pt x="6891" y="18664"/>
                  <a:pt x="7222" y="18655"/>
                </a:cubicBezTo>
                <a:moveTo>
                  <a:pt x="17400" y="19636"/>
                </a:moveTo>
                <a:cubicBezTo>
                  <a:pt x="17319" y="20154"/>
                  <a:pt x="16862" y="20618"/>
                  <a:pt x="16200" y="20618"/>
                </a:cubicBezTo>
                <a:lnTo>
                  <a:pt x="5400" y="20618"/>
                </a:lnTo>
                <a:cubicBezTo>
                  <a:pt x="4737" y="20618"/>
                  <a:pt x="4291" y="20160"/>
                  <a:pt x="4200" y="19636"/>
                </a:cubicBezTo>
                <a:lnTo>
                  <a:pt x="3000" y="3927"/>
                </a:lnTo>
                <a:lnTo>
                  <a:pt x="18600" y="3927"/>
                </a:lnTo>
                <a:cubicBezTo>
                  <a:pt x="18600" y="3927"/>
                  <a:pt x="17400" y="19636"/>
                  <a:pt x="17400" y="19636"/>
                </a:cubicBezTo>
                <a:close/>
                <a:moveTo>
                  <a:pt x="7800" y="983"/>
                </a:moveTo>
                <a:lnTo>
                  <a:pt x="13800" y="983"/>
                </a:lnTo>
                <a:lnTo>
                  <a:pt x="13800" y="2945"/>
                </a:lnTo>
                <a:lnTo>
                  <a:pt x="7800" y="2945"/>
                </a:lnTo>
                <a:cubicBezTo>
                  <a:pt x="7800" y="2945"/>
                  <a:pt x="7800" y="983"/>
                  <a:pt x="7800" y="983"/>
                </a:cubicBezTo>
                <a:close/>
                <a:moveTo>
                  <a:pt x="21000" y="2945"/>
                </a:moveTo>
                <a:lnTo>
                  <a:pt x="15000" y="2945"/>
                </a:lnTo>
                <a:lnTo>
                  <a:pt x="15000" y="983"/>
                </a:lnTo>
                <a:cubicBezTo>
                  <a:pt x="15000" y="440"/>
                  <a:pt x="14462" y="0"/>
                  <a:pt x="13800" y="0"/>
                </a:cubicBezTo>
                <a:lnTo>
                  <a:pt x="7800" y="0"/>
                </a:lnTo>
                <a:cubicBezTo>
                  <a:pt x="7137" y="0"/>
                  <a:pt x="6600" y="440"/>
                  <a:pt x="6600" y="983"/>
                </a:cubicBezTo>
                <a:lnTo>
                  <a:pt x="6600" y="2945"/>
                </a:lnTo>
                <a:lnTo>
                  <a:pt x="600" y="2945"/>
                </a:lnTo>
                <a:cubicBezTo>
                  <a:pt x="269" y="2945"/>
                  <a:pt x="0" y="3166"/>
                  <a:pt x="0" y="3437"/>
                </a:cubicBezTo>
                <a:cubicBezTo>
                  <a:pt x="0" y="3708"/>
                  <a:pt x="269" y="3927"/>
                  <a:pt x="600" y="3927"/>
                </a:cubicBezTo>
                <a:lnTo>
                  <a:pt x="1800" y="3927"/>
                </a:lnTo>
                <a:lnTo>
                  <a:pt x="3000" y="19636"/>
                </a:lnTo>
                <a:cubicBezTo>
                  <a:pt x="3193" y="20711"/>
                  <a:pt x="4075" y="21600"/>
                  <a:pt x="5400" y="21600"/>
                </a:cubicBezTo>
                <a:lnTo>
                  <a:pt x="16200" y="21600"/>
                </a:lnTo>
                <a:cubicBezTo>
                  <a:pt x="17525" y="21600"/>
                  <a:pt x="18374" y="20700"/>
                  <a:pt x="18600" y="19636"/>
                </a:cubicBezTo>
                <a:lnTo>
                  <a:pt x="19800" y="3927"/>
                </a:lnTo>
                <a:lnTo>
                  <a:pt x="21000" y="3927"/>
                </a:lnTo>
                <a:cubicBezTo>
                  <a:pt x="21331" y="3927"/>
                  <a:pt x="21600" y="3708"/>
                  <a:pt x="21600" y="3437"/>
                </a:cubicBezTo>
                <a:cubicBezTo>
                  <a:pt x="21600" y="3166"/>
                  <a:pt x="21331" y="2945"/>
                  <a:pt x="21000" y="2945"/>
                </a:cubicBezTo>
                <a:moveTo>
                  <a:pt x="14380" y="18654"/>
                </a:moveTo>
                <a:cubicBezTo>
                  <a:pt x="14711" y="18664"/>
                  <a:pt x="14989" y="18452"/>
                  <a:pt x="15001" y="18181"/>
                </a:cubicBezTo>
                <a:lnTo>
                  <a:pt x="15871" y="6413"/>
                </a:lnTo>
                <a:cubicBezTo>
                  <a:pt x="15883" y="6142"/>
                  <a:pt x="15625" y="5914"/>
                  <a:pt x="15294" y="5904"/>
                </a:cubicBezTo>
                <a:cubicBezTo>
                  <a:pt x="14962" y="5895"/>
                  <a:pt x="14684" y="6106"/>
                  <a:pt x="14672" y="6377"/>
                </a:cubicBezTo>
                <a:lnTo>
                  <a:pt x="13802" y="18146"/>
                </a:lnTo>
                <a:cubicBezTo>
                  <a:pt x="13790" y="18417"/>
                  <a:pt x="14049" y="18644"/>
                  <a:pt x="14380" y="18654"/>
                </a:cubicBezTo>
                <a:moveTo>
                  <a:pt x="10800" y="18655"/>
                </a:moveTo>
                <a:cubicBezTo>
                  <a:pt x="11131" y="18655"/>
                  <a:pt x="11400" y="18435"/>
                  <a:pt x="11400" y="18164"/>
                </a:cubicBezTo>
                <a:lnTo>
                  <a:pt x="11400" y="6382"/>
                </a:lnTo>
                <a:cubicBezTo>
                  <a:pt x="11400" y="6110"/>
                  <a:pt x="11131" y="5891"/>
                  <a:pt x="10800" y="5891"/>
                </a:cubicBezTo>
                <a:cubicBezTo>
                  <a:pt x="10469" y="5891"/>
                  <a:pt x="10200" y="6110"/>
                  <a:pt x="10200" y="6382"/>
                </a:cubicBezTo>
                <a:lnTo>
                  <a:pt x="10200" y="18164"/>
                </a:lnTo>
                <a:cubicBezTo>
                  <a:pt x="10200" y="18435"/>
                  <a:pt x="10469" y="18655"/>
                  <a:pt x="10800" y="186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Shape 2627">
            <a:extLst>
              <a:ext uri="{FF2B5EF4-FFF2-40B4-BE49-F238E27FC236}">
                <a16:creationId xmlns:a16="http://schemas.microsoft.com/office/drawing/2014/main" id="{99A73D5B-2319-4E1A-AEE5-03CF6F6B9CD9}"/>
              </a:ext>
            </a:extLst>
          </p:cNvPr>
          <p:cNvSpPr/>
          <p:nvPr/>
        </p:nvSpPr>
        <p:spPr bwMode="gray">
          <a:xfrm>
            <a:off x="7347546" y="3967152"/>
            <a:ext cx="19715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720" y="19636"/>
                </a:moveTo>
                <a:cubicBezTo>
                  <a:pt x="18623" y="20154"/>
                  <a:pt x="18075" y="20618"/>
                  <a:pt x="17280" y="20618"/>
                </a:cubicBezTo>
                <a:lnTo>
                  <a:pt x="4320" y="20618"/>
                </a:lnTo>
                <a:cubicBezTo>
                  <a:pt x="3525" y="20618"/>
                  <a:pt x="2989" y="20160"/>
                  <a:pt x="2880" y="19636"/>
                </a:cubicBezTo>
                <a:lnTo>
                  <a:pt x="1483" y="3927"/>
                </a:lnTo>
                <a:lnTo>
                  <a:pt x="20117" y="3927"/>
                </a:lnTo>
                <a:cubicBezTo>
                  <a:pt x="20117" y="3927"/>
                  <a:pt x="18720" y="19636"/>
                  <a:pt x="18720" y="19636"/>
                </a:cubicBezTo>
                <a:close/>
                <a:moveTo>
                  <a:pt x="4529" y="2227"/>
                </a:moveTo>
                <a:cubicBezTo>
                  <a:pt x="4971" y="2122"/>
                  <a:pt x="5311" y="1878"/>
                  <a:pt x="5440" y="1571"/>
                </a:cubicBezTo>
                <a:cubicBezTo>
                  <a:pt x="5563" y="1278"/>
                  <a:pt x="6084" y="982"/>
                  <a:pt x="6840" y="982"/>
                </a:cubicBezTo>
                <a:cubicBezTo>
                  <a:pt x="7596" y="982"/>
                  <a:pt x="8117" y="1094"/>
                  <a:pt x="8240" y="1387"/>
                </a:cubicBezTo>
                <a:cubicBezTo>
                  <a:pt x="8286" y="1495"/>
                  <a:pt x="8358" y="1598"/>
                  <a:pt x="8454" y="1688"/>
                </a:cubicBezTo>
                <a:cubicBezTo>
                  <a:pt x="8957" y="2167"/>
                  <a:pt x="9732" y="2442"/>
                  <a:pt x="10577" y="2442"/>
                </a:cubicBezTo>
                <a:cubicBezTo>
                  <a:pt x="11235" y="2442"/>
                  <a:pt x="11854" y="2268"/>
                  <a:pt x="12300" y="1947"/>
                </a:cubicBezTo>
                <a:cubicBezTo>
                  <a:pt x="12697" y="1647"/>
                  <a:pt x="13446" y="1473"/>
                  <a:pt x="14760" y="1473"/>
                </a:cubicBezTo>
                <a:cubicBezTo>
                  <a:pt x="16059" y="1473"/>
                  <a:pt x="16752" y="1940"/>
                  <a:pt x="16920" y="2209"/>
                </a:cubicBezTo>
                <a:cubicBezTo>
                  <a:pt x="17107" y="2509"/>
                  <a:pt x="17391" y="2750"/>
                  <a:pt x="17688" y="2945"/>
                </a:cubicBezTo>
                <a:lnTo>
                  <a:pt x="2830" y="2945"/>
                </a:lnTo>
                <a:cubicBezTo>
                  <a:pt x="3170" y="2668"/>
                  <a:pt x="3770" y="2408"/>
                  <a:pt x="4529" y="2227"/>
                </a:cubicBezTo>
                <a:moveTo>
                  <a:pt x="20880" y="2945"/>
                </a:moveTo>
                <a:lnTo>
                  <a:pt x="19676" y="2945"/>
                </a:lnTo>
                <a:cubicBezTo>
                  <a:pt x="19217" y="2693"/>
                  <a:pt x="18780" y="2403"/>
                  <a:pt x="18405" y="1964"/>
                </a:cubicBezTo>
                <a:cubicBezTo>
                  <a:pt x="17787" y="1241"/>
                  <a:pt x="16749" y="491"/>
                  <a:pt x="14760" y="491"/>
                </a:cubicBezTo>
                <a:cubicBezTo>
                  <a:pt x="13012" y="491"/>
                  <a:pt x="11880" y="798"/>
                  <a:pt x="11231" y="1289"/>
                </a:cubicBezTo>
                <a:cubicBezTo>
                  <a:pt x="11081" y="1397"/>
                  <a:pt x="10839" y="1461"/>
                  <a:pt x="10577" y="1461"/>
                </a:cubicBezTo>
                <a:cubicBezTo>
                  <a:pt x="10245" y="1461"/>
                  <a:pt x="9879" y="1359"/>
                  <a:pt x="9624" y="1116"/>
                </a:cubicBezTo>
                <a:cubicBezTo>
                  <a:pt x="9310" y="370"/>
                  <a:pt x="8188" y="0"/>
                  <a:pt x="6840" y="0"/>
                </a:cubicBezTo>
                <a:cubicBezTo>
                  <a:pt x="5492" y="0"/>
                  <a:pt x="4370" y="554"/>
                  <a:pt x="4056" y="1300"/>
                </a:cubicBezTo>
                <a:cubicBezTo>
                  <a:pt x="2613" y="1643"/>
                  <a:pt x="1555" y="2238"/>
                  <a:pt x="1211" y="2945"/>
                </a:cubicBezTo>
                <a:lnTo>
                  <a:pt x="720" y="2945"/>
                </a:lnTo>
                <a:cubicBezTo>
                  <a:pt x="323" y="2945"/>
                  <a:pt x="0" y="3165"/>
                  <a:pt x="0" y="3436"/>
                </a:cubicBezTo>
                <a:lnTo>
                  <a:pt x="0" y="3437"/>
                </a:lnTo>
                <a:lnTo>
                  <a:pt x="1440" y="19636"/>
                </a:lnTo>
                <a:cubicBezTo>
                  <a:pt x="1672" y="20711"/>
                  <a:pt x="2730" y="21600"/>
                  <a:pt x="4320" y="21600"/>
                </a:cubicBezTo>
                <a:lnTo>
                  <a:pt x="17280" y="21600"/>
                </a:lnTo>
                <a:cubicBezTo>
                  <a:pt x="18870" y="21600"/>
                  <a:pt x="19890" y="20700"/>
                  <a:pt x="20160" y="19636"/>
                </a:cubicBezTo>
                <a:lnTo>
                  <a:pt x="21600" y="3437"/>
                </a:lnTo>
                <a:lnTo>
                  <a:pt x="21600" y="3436"/>
                </a:lnTo>
                <a:cubicBezTo>
                  <a:pt x="21600" y="3165"/>
                  <a:pt x="21277" y="2945"/>
                  <a:pt x="20880" y="2945"/>
                </a:cubicBezTo>
                <a:moveTo>
                  <a:pt x="6507" y="18655"/>
                </a:moveTo>
                <a:cubicBezTo>
                  <a:pt x="6904" y="18644"/>
                  <a:pt x="7214" y="18417"/>
                  <a:pt x="7200" y="18146"/>
                </a:cubicBezTo>
                <a:lnTo>
                  <a:pt x="6139" y="6377"/>
                </a:lnTo>
                <a:cubicBezTo>
                  <a:pt x="6125" y="6106"/>
                  <a:pt x="5791" y="5895"/>
                  <a:pt x="5394" y="5904"/>
                </a:cubicBezTo>
                <a:cubicBezTo>
                  <a:pt x="4996" y="5915"/>
                  <a:pt x="4686" y="6142"/>
                  <a:pt x="4700" y="6413"/>
                </a:cubicBezTo>
                <a:lnTo>
                  <a:pt x="5761" y="18182"/>
                </a:lnTo>
                <a:cubicBezTo>
                  <a:pt x="5775" y="18453"/>
                  <a:pt x="6109" y="18664"/>
                  <a:pt x="6507" y="18655"/>
                </a:cubicBezTo>
                <a:moveTo>
                  <a:pt x="10800" y="18655"/>
                </a:moveTo>
                <a:cubicBezTo>
                  <a:pt x="11197" y="18655"/>
                  <a:pt x="11520" y="18435"/>
                  <a:pt x="11520" y="18164"/>
                </a:cubicBezTo>
                <a:lnTo>
                  <a:pt x="11520" y="6382"/>
                </a:lnTo>
                <a:cubicBezTo>
                  <a:pt x="11520" y="6110"/>
                  <a:pt x="11197" y="5891"/>
                  <a:pt x="10800" y="5891"/>
                </a:cubicBezTo>
                <a:cubicBezTo>
                  <a:pt x="10403" y="5891"/>
                  <a:pt x="10080" y="6110"/>
                  <a:pt x="10080" y="6382"/>
                </a:cubicBezTo>
                <a:lnTo>
                  <a:pt x="10080" y="18164"/>
                </a:lnTo>
                <a:cubicBezTo>
                  <a:pt x="10080" y="18435"/>
                  <a:pt x="10403" y="18655"/>
                  <a:pt x="10800" y="18655"/>
                </a:cubicBezTo>
                <a:moveTo>
                  <a:pt x="15095" y="18654"/>
                </a:moveTo>
                <a:cubicBezTo>
                  <a:pt x="15494" y="18664"/>
                  <a:pt x="15827" y="18452"/>
                  <a:pt x="15841" y="18181"/>
                </a:cubicBezTo>
                <a:lnTo>
                  <a:pt x="16886" y="6413"/>
                </a:lnTo>
                <a:cubicBezTo>
                  <a:pt x="16900" y="6142"/>
                  <a:pt x="16590" y="5914"/>
                  <a:pt x="16192" y="5904"/>
                </a:cubicBezTo>
                <a:cubicBezTo>
                  <a:pt x="15795" y="5895"/>
                  <a:pt x="15461" y="6106"/>
                  <a:pt x="15447" y="6377"/>
                </a:cubicBezTo>
                <a:lnTo>
                  <a:pt x="14402" y="18146"/>
                </a:lnTo>
                <a:cubicBezTo>
                  <a:pt x="14388" y="18417"/>
                  <a:pt x="14699" y="18644"/>
                  <a:pt x="15095" y="1865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Shape 2628">
            <a:extLst>
              <a:ext uri="{FF2B5EF4-FFF2-40B4-BE49-F238E27FC236}">
                <a16:creationId xmlns:a16="http://schemas.microsoft.com/office/drawing/2014/main" id="{5EA93CF6-E3ED-4287-8713-EC537781323A}"/>
              </a:ext>
            </a:extLst>
          </p:cNvPr>
          <p:cNvSpPr/>
          <p:nvPr/>
        </p:nvSpPr>
        <p:spPr bwMode="gray">
          <a:xfrm>
            <a:off x="7853568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Shape 2629">
            <a:extLst>
              <a:ext uri="{FF2B5EF4-FFF2-40B4-BE49-F238E27FC236}">
                <a16:creationId xmlns:a16="http://schemas.microsoft.com/office/drawing/2014/main" id="{A9DE20DB-BDA3-447F-A02E-56DC9F9D8060}"/>
              </a:ext>
            </a:extLst>
          </p:cNvPr>
          <p:cNvSpPr/>
          <p:nvPr/>
        </p:nvSpPr>
        <p:spPr bwMode="gray">
          <a:xfrm>
            <a:off x="8405593" y="3967152"/>
            <a:ext cx="28923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1" y="20618"/>
                </a:moveTo>
                <a:cubicBezTo>
                  <a:pt x="15826" y="20618"/>
                  <a:pt x="15226" y="20482"/>
                  <a:pt x="14660" y="20214"/>
                </a:cubicBezTo>
                <a:cubicBezTo>
                  <a:pt x="14607" y="20189"/>
                  <a:pt x="14552" y="20170"/>
                  <a:pt x="14497" y="20155"/>
                </a:cubicBezTo>
                <a:cubicBezTo>
                  <a:pt x="8918" y="17308"/>
                  <a:pt x="4295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7" y="6369"/>
                  <a:pt x="982" y="5770"/>
                  <a:pt x="982" y="5155"/>
                </a:cubicBezTo>
                <a:cubicBezTo>
                  <a:pt x="982" y="2774"/>
                  <a:pt x="3066" y="982"/>
                  <a:pt x="4417" y="982"/>
                </a:cubicBezTo>
                <a:cubicBezTo>
                  <a:pt x="4594" y="982"/>
                  <a:pt x="4711" y="1072"/>
                  <a:pt x="4764" y="1126"/>
                </a:cubicBezTo>
                <a:cubicBezTo>
                  <a:pt x="4776" y="1139"/>
                  <a:pt x="4798" y="1164"/>
                  <a:pt x="4831" y="1216"/>
                </a:cubicBezTo>
                <a:cubicBezTo>
                  <a:pt x="4848" y="1244"/>
                  <a:pt x="4867" y="1271"/>
                  <a:pt x="4887" y="1297"/>
                </a:cubicBezTo>
                <a:lnTo>
                  <a:pt x="8118" y="5453"/>
                </a:lnTo>
                <a:cubicBezTo>
                  <a:pt x="8143" y="5485"/>
                  <a:pt x="8170" y="5515"/>
                  <a:pt x="8199" y="5544"/>
                </a:cubicBezTo>
                <a:cubicBezTo>
                  <a:pt x="8253" y="5598"/>
                  <a:pt x="8343" y="5715"/>
                  <a:pt x="8343" y="5891"/>
                </a:cubicBezTo>
                <a:cubicBezTo>
                  <a:pt x="8343" y="5978"/>
                  <a:pt x="8319" y="6060"/>
                  <a:pt x="8272" y="6135"/>
                </a:cubicBezTo>
                <a:lnTo>
                  <a:pt x="7178" y="7221"/>
                </a:lnTo>
                <a:cubicBezTo>
                  <a:pt x="7173" y="7226"/>
                  <a:pt x="7168" y="7231"/>
                  <a:pt x="7163" y="7236"/>
                </a:cubicBezTo>
                <a:cubicBezTo>
                  <a:pt x="6767" y="7609"/>
                  <a:pt x="6541" y="8126"/>
                  <a:pt x="6541" y="8668"/>
                </a:cubicBezTo>
                <a:cubicBezTo>
                  <a:pt x="6541" y="9175"/>
                  <a:pt x="6738" y="9658"/>
                  <a:pt x="7080" y="10020"/>
                </a:cubicBezTo>
                <a:cubicBezTo>
                  <a:pt x="7092" y="10040"/>
                  <a:pt x="7105" y="10059"/>
                  <a:pt x="7119" y="10078"/>
                </a:cubicBezTo>
                <a:cubicBezTo>
                  <a:pt x="8325" y="11745"/>
                  <a:pt x="9807" y="13222"/>
                  <a:pt x="11525" y="14469"/>
                </a:cubicBezTo>
                <a:cubicBezTo>
                  <a:pt x="11538" y="14478"/>
                  <a:pt x="11551" y="14487"/>
                  <a:pt x="11565" y="14496"/>
                </a:cubicBezTo>
                <a:cubicBezTo>
                  <a:pt x="11928" y="14844"/>
                  <a:pt x="12414" y="15045"/>
                  <a:pt x="12924" y="15045"/>
                </a:cubicBezTo>
                <a:cubicBezTo>
                  <a:pt x="13436" y="15045"/>
                  <a:pt x="13930" y="14840"/>
                  <a:pt x="14297" y="14479"/>
                </a:cubicBezTo>
                <a:cubicBezTo>
                  <a:pt x="14316" y="14463"/>
                  <a:pt x="14335" y="14446"/>
                  <a:pt x="14352" y="14427"/>
                </a:cubicBezTo>
                <a:lnTo>
                  <a:pt x="15451" y="13320"/>
                </a:lnTo>
                <a:cubicBezTo>
                  <a:pt x="15529" y="13271"/>
                  <a:pt x="15611" y="13247"/>
                  <a:pt x="15697" y="13247"/>
                </a:cubicBezTo>
                <a:cubicBezTo>
                  <a:pt x="15874" y="13247"/>
                  <a:pt x="15990" y="13337"/>
                  <a:pt x="16044" y="13391"/>
                </a:cubicBezTo>
                <a:cubicBezTo>
                  <a:pt x="16073" y="13420"/>
                  <a:pt x="16103" y="13447"/>
                  <a:pt x="16135" y="13472"/>
                </a:cubicBezTo>
                <a:lnTo>
                  <a:pt x="20291" y="16704"/>
                </a:lnTo>
                <a:cubicBezTo>
                  <a:pt x="20317" y="16725"/>
                  <a:pt x="20345" y="16744"/>
                  <a:pt x="20374" y="16762"/>
                </a:cubicBezTo>
                <a:cubicBezTo>
                  <a:pt x="20426" y="16795"/>
                  <a:pt x="20449" y="16816"/>
                  <a:pt x="20461" y="16827"/>
                </a:cubicBezTo>
                <a:cubicBezTo>
                  <a:pt x="20515" y="16881"/>
                  <a:pt x="20605" y="16997"/>
                  <a:pt x="20605" y="17174"/>
                </a:cubicBezTo>
                <a:cubicBezTo>
                  <a:pt x="20605" y="17207"/>
                  <a:pt x="20606" y="17240"/>
                  <a:pt x="20610" y="17273"/>
                </a:cubicBezTo>
                <a:cubicBezTo>
                  <a:pt x="20533" y="18625"/>
                  <a:pt x="18769" y="20618"/>
                  <a:pt x="16441" y="20618"/>
                </a:cubicBezTo>
                <a:moveTo>
                  <a:pt x="21586" y="17174"/>
                </a:moveTo>
                <a:cubicBezTo>
                  <a:pt x="21586" y="16768"/>
                  <a:pt x="21421" y="16399"/>
                  <a:pt x="21155" y="16133"/>
                </a:cubicBezTo>
                <a:cubicBezTo>
                  <a:pt x="21077" y="16054"/>
                  <a:pt x="20988" y="15988"/>
                  <a:pt x="20893" y="15929"/>
                </a:cubicBezTo>
                <a:lnTo>
                  <a:pt x="16738" y="12697"/>
                </a:lnTo>
                <a:cubicBezTo>
                  <a:pt x="16471" y="12430"/>
                  <a:pt x="16104" y="12265"/>
                  <a:pt x="15697" y="12265"/>
                </a:cubicBezTo>
                <a:cubicBezTo>
                  <a:pt x="15364" y="12265"/>
                  <a:pt x="15060" y="12380"/>
                  <a:pt x="14815" y="12567"/>
                </a:cubicBezTo>
                <a:lnTo>
                  <a:pt x="13655" y="13736"/>
                </a:lnTo>
                <a:lnTo>
                  <a:pt x="13652" y="13733"/>
                </a:lnTo>
                <a:cubicBezTo>
                  <a:pt x="13473" y="13934"/>
                  <a:pt x="13214" y="14063"/>
                  <a:pt x="12924" y="14063"/>
                </a:cubicBezTo>
                <a:cubicBezTo>
                  <a:pt x="12592" y="14063"/>
                  <a:pt x="12300" y="13897"/>
                  <a:pt x="12122" y="13645"/>
                </a:cubicBezTo>
                <a:cubicBezTo>
                  <a:pt x="12116" y="13654"/>
                  <a:pt x="12107" y="13663"/>
                  <a:pt x="12101" y="13674"/>
                </a:cubicBezTo>
                <a:cubicBezTo>
                  <a:pt x="10497" y="12510"/>
                  <a:pt x="9076" y="11108"/>
                  <a:pt x="7914" y="9502"/>
                </a:cubicBezTo>
                <a:cubicBezTo>
                  <a:pt x="7925" y="9495"/>
                  <a:pt x="7935" y="9486"/>
                  <a:pt x="7947" y="9479"/>
                </a:cubicBezTo>
                <a:cubicBezTo>
                  <a:pt x="7691" y="9299"/>
                  <a:pt x="7523" y="9004"/>
                  <a:pt x="7523" y="8668"/>
                </a:cubicBezTo>
                <a:cubicBezTo>
                  <a:pt x="7523" y="8367"/>
                  <a:pt x="7659" y="8101"/>
                  <a:pt x="7871" y="7920"/>
                </a:cubicBezTo>
                <a:lnTo>
                  <a:pt x="7870" y="7918"/>
                </a:lnTo>
                <a:lnTo>
                  <a:pt x="9023" y="6773"/>
                </a:lnTo>
                <a:cubicBezTo>
                  <a:pt x="9211" y="6528"/>
                  <a:pt x="9325" y="6224"/>
                  <a:pt x="9325" y="5891"/>
                </a:cubicBezTo>
                <a:cubicBezTo>
                  <a:pt x="9325" y="5485"/>
                  <a:pt x="9160" y="5116"/>
                  <a:pt x="8893" y="4850"/>
                </a:cubicBezTo>
                <a:lnTo>
                  <a:pt x="5662" y="693"/>
                </a:lnTo>
                <a:cubicBezTo>
                  <a:pt x="5603" y="599"/>
                  <a:pt x="5537" y="510"/>
                  <a:pt x="5458" y="432"/>
                </a:cubicBezTo>
                <a:cubicBezTo>
                  <a:pt x="5191" y="165"/>
                  <a:pt x="4823" y="0"/>
                  <a:pt x="4417" y="0"/>
                </a:cubicBezTo>
                <a:cubicBezTo>
                  <a:pt x="2454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2" y="7373"/>
                </a:lnTo>
                <a:cubicBezTo>
                  <a:pt x="3435" y="13255"/>
                  <a:pt x="8343" y="18164"/>
                  <a:pt x="14224" y="21117"/>
                </a:cubicBezTo>
                <a:lnTo>
                  <a:pt x="14240" y="21101"/>
                </a:lnTo>
                <a:cubicBezTo>
                  <a:pt x="14908" y="21418"/>
                  <a:pt x="15652" y="21600"/>
                  <a:pt x="16441" y="21600"/>
                </a:cubicBezTo>
                <a:cubicBezTo>
                  <a:pt x="19287" y="21600"/>
                  <a:pt x="21594" y="19145"/>
                  <a:pt x="21594" y="17182"/>
                </a:cubicBezTo>
                <a:cubicBezTo>
                  <a:pt x="21594" y="17179"/>
                  <a:pt x="21594" y="17177"/>
                  <a:pt x="21594" y="17174"/>
                </a:cubicBezTo>
                <a:cubicBezTo>
                  <a:pt x="21594" y="17174"/>
                  <a:pt x="21586" y="17174"/>
                  <a:pt x="21586" y="17174"/>
                </a:cubicBezTo>
                <a:close/>
                <a:moveTo>
                  <a:pt x="11785" y="10800"/>
                </a:moveTo>
                <a:cubicBezTo>
                  <a:pt x="12326" y="10800"/>
                  <a:pt x="12766" y="10360"/>
                  <a:pt x="12766" y="9819"/>
                </a:cubicBezTo>
                <a:cubicBezTo>
                  <a:pt x="12766" y="9276"/>
                  <a:pt x="12326" y="8836"/>
                  <a:pt x="11785" y="8836"/>
                </a:cubicBezTo>
                <a:cubicBezTo>
                  <a:pt x="11242" y="8836"/>
                  <a:pt x="10803" y="9276"/>
                  <a:pt x="10803" y="9819"/>
                </a:cubicBezTo>
                <a:cubicBezTo>
                  <a:pt x="10803" y="10360"/>
                  <a:pt x="11242" y="10800"/>
                  <a:pt x="11785" y="10800"/>
                </a:cubicBezTo>
                <a:moveTo>
                  <a:pt x="11785" y="5891"/>
                </a:moveTo>
                <a:cubicBezTo>
                  <a:pt x="13953" y="5891"/>
                  <a:pt x="15711" y="7649"/>
                  <a:pt x="15711" y="9819"/>
                </a:cubicBezTo>
                <a:cubicBezTo>
                  <a:pt x="15711" y="10090"/>
                  <a:pt x="15930" y="10309"/>
                  <a:pt x="16201" y="10309"/>
                </a:cubicBezTo>
                <a:cubicBezTo>
                  <a:pt x="16472" y="10309"/>
                  <a:pt x="16692" y="10090"/>
                  <a:pt x="16692" y="9819"/>
                </a:cubicBezTo>
                <a:cubicBezTo>
                  <a:pt x="16692" y="7107"/>
                  <a:pt x="14495" y="4909"/>
                  <a:pt x="11785" y="4909"/>
                </a:cubicBezTo>
                <a:cubicBezTo>
                  <a:pt x="11513" y="4909"/>
                  <a:pt x="11294" y="5129"/>
                  <a:pt x="11294" y="5400"/>
                </a:cubicBezTo>
                <a:cubicBezTo>
                  <a:pt x="11294" y="5672"/>
                  <a:pt x="11513" y="5891"/>
                  <a:pt x="11785" y="5891"/>
                </a:cubicBezTo>
                <a:moveTo>
                  <a:pt x="11785" y="982"/>
                </a:moveTo>
                <a:cubicBezTo>
                  <a:pt x="16663" y="982"/>
                  <a:pt x="20618" y="4939"/>
                  <a:pt x="20618" y="9819"/>
                </a:cubicBezTo>
                <a:cubicBezTo>
                  <a:pt x="20618" y="10090"/>
                  <a:pt x="20838" y="10309"/>
                  <a:pt x="21109" y="10309"/>
                </a:cubicBezTo>
                <a:cubicBezTo>
                  <a:pt x="21380" y="10309"/>
                  <a:pt x="21600" y="10090"/>
                  <a:pt x="21600" y="9819"/>
                </a:cubicBezTo>
                <a:cubicBezTo>
                  <a:pt x="21600" y="4396"/>
                  <a:pt x="17206" y="0"/>
                  <a:pt x="11785" y="0"/>
                </a:cubicBezTo>
                <a:cubicBezTo>
                  <a:pt x="11513" y="0"/>
                  <a:pt x="11294" y="220"/>
                  <a:pt x="11294" y="491"/>
                </a:cubicBezTo>
                <a:cubicBezTo>
                  <a:pt x="11294" y="762"/>
                  <a:pt x="11513" y="982"/>
                  <a:pt x="11785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Shape 2630">
            <a:extLst>
              <a:ext uri="{FF2B5EF4-FFF2-40B4-BE49-F238E27FC236}">
                <a16:creationId xmlns:a16="http://schemas.microsoft.com/office/drawing/2014/main" id="{E91DBB7E-E5DE-4273-A7AF-68B81E16BFC4}"/>
              </a:ext>
            </a:extLst>
          </p:cNvPr>
          <p:cNvSpPr/>
          <p:nvPr/>
        </p:nvSpPr>
        <p:spPr bwMode="gray">
          <a:xfrm>
            <a:off x="9023334" y="3967152"/>
            <a:ext cx="15772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07" y="18651"/>
                </a:moveTo>
                <a:lnTo>
                  <a:pt x="10795" y="12327"/>
                </a:lnTo>
                <a:lnTo>
                  <a:pt x="10781" y="12326"/>
                </a:lnTo>
                <a:cubicBezTo>
                  <a:pt x="10785" y="12307"/>
                  <a:pt x="10800" y="12292"/>
                  <a:pt x="10800" y="12273"/>
                </a:cubicBezTo>
                <a:cubicBezTo>
                  <a:pt x="10800" y="12001"/>
                  <a:pt x="10398" y="11782"/>
                  <a:pt x="9900" y="11782"/>
                </a:cubicBezTo>
                <a:lnTo>
                  <a:pt x="2149" y="11782"/>
                </a:lnTo>
                <a:lnTo>
                  <a:pt x="8749" y="982"/>
                </a:lnTo>
                <a:lnTo>
                  <a:pt x="15850" y="982"/>
                </a:lnTo>
                <a:lnTo>
                  <a:pt x="11436" y="8190"/>
                </a:lnTo>
                <a:lnTo>
                  <a:pt x="11447" y="8192"/>
                </a:lnTo>
                <a:cubicBezTo>
                  <a:pt x="11417" y="8241"/>
                  <a:pt x="11391" y="8291"/>
                  <a:pt x="11391" y="8345"/>
                </a:cubicBezTo>
                <a:cubicBezTo>
                  <a:pt x="11391" y="8617"/>
                  <a:pt x="11794" y="8836"/>
                  <a:pt x="12291" y="8836"/>
                </a:cubicBezTo>
                <a:lnTo>
                  <a:pt x="19195" y="8836"/>
                </a:lnTo>
                <a:cubicBezTo>
                  <a:pt x="19195" y="8836"/>
                  <a:pt x="9507" y="18651"/>
                  <a:pt x="9507" y="18651"/>
                </a:cubicBezTo>
                <a:close/>
                <a:moveTo>
                  <a:pt x="21600" y="8345"/>
                </a:moveTo>
                <a:cubicBezTo>
                  <a:pt x="21600" y="8074"/>
                  <a:pt x="21197" y="7855"/>
                  <a:pt x="20700" y="7855"/>
                </a:cubicBezTo>
                <a:lnTo>
                  <a:pt x="13541" y="7855"/>
                </a:lnTo>
                <a:lnTo>
                  <a:pt x="17954" y="646"/>
                </a:lnTo>
                <a:lnTo>
                  <a:pt x="17944" y="644"/>
                </a:lnTo>
                <a:cubicBezTo>
                  <a:pt x="17974" y="595"/>
                  <a:pt x="18000" y="545"/>
                  <a:pt x="18000" y="491"/>
                </a:cubicBezTo>
                <a:cubicBezTo>
                  <a:pt x="18000" y="220"/>
                  <a:pt x="17598" y="0"/>
                  <a:pt x="17100" y="0"/>
                </a:cubicBezTo>
                <a:lnTo>
                  <a:pt x="8101" y="0"/>
                </a:lnTo>
                <a:cubicBezTo>
                  <a:pt x="7703" y="0"/>
                  <a:pt x="7376" y="143"/>
                  <a:pt x="7257" y="337"/>
                </a:cubicBezTo>
                <a:lnTo>
                  <a:pt x="7246" y="335"/>
                </a:lnTo>
                <a:lnTo>
                  <a:pt x="47" y="12117"/>
                </a:lnTo>
                <a:lnTo>
                  <a:pt x="57" y="12120"/>
                </a:lnTo>
                <a:cubicBezTo>
                  <a:pt x="27" y="12168"/>
                  <a:pt x="0" y="12218"/>
                  <a:pt x="0" y="12273"/>
                </a:cubicBezTo>
                <a:cubicBezTo>
                  <a:pt x="0" y="12544"/>
                  <a:pt x="403" y="12764"/>
                  <a:pt x="900" y="12764"/>
                </a:cubicBezTo>
                <a:lnTo>
                  <a:pt x="8895" y="12764"/>
                </a:lnTo>
                <a:lnTo>
                  <a:pt x="7206" y="21055"/>
                </a:lnTo>
                <a:lnTo>
                  <a:pt x="7220" y="21056"/>
                </a:lnTo>
                <a:cubicBezTo>
                  <a:pt x="7216" y="21074"/>
                  <a:pt x="7200" y="21090"/>
                  <a:pt x="7200" y="21109"/>
                </a:cubicBezTo>
                <a:cubicBezTo>
                  <a:pt x="7200" y="21380"/>
                  <a:pt x="7603" y="21600"/>
                  <a:pt x="8101" y="21600"/>
                </a:cubicBezTo>
                <a:cubicBezTo>
                  <a:pt x="8464" y="21600"/>
                  <a:pt x="8761" y="21480"/>
                  <a:pt x="8900" y="21310"/>
                </a:cubicBezTo>
                <a:lnTo>
                  <a:pt x="8918" y="21315"/>
                </a:lnTo>
                <a:lnTo>
                  <a:pt x="21517" y="8551"/>
                </a:lnTo>
                <a:lnTo>
                  <a:pt x="21513" y="8550"/>
                </a:lnTo>
                <a:cubicBezTo>
                  <a:pt x="21567" y="8487"/>
                  <a:pt x="21600" y="8419"/>
                  <a:pt x="21600" y="83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Shape 2631">
            <a:extLst>
              <a:ext uri="{FF2B5EF4-FFF2-40B4-BE49-F238E27FC236}">
                <a16:creationId xmlns:a16="http://schemas.microsoft.com/office/drawing/2014/main" id="{4110DCB0-AC26-460A-942C-61AC8755A2A1}"/>
              </a:ext>
            </a:extLst>
          </p:cNvPr>
          <p:cNvSpPr/>
          <p:nvPr/>
        </p:nvSpPr>
        <p:spPr bwMode="gray">
          <a:xfrm>
            <a:off x="9509642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3600"/>
                </a:moveTo>
                <a:lnTo>
                  <a:pt x="1964" y="3600"/>
                </a:lnTo>
                <a:lnTo>
                  <a:pt x="1964" y="1200"/>
                </a:lnTo>
                <a:lnTo>
                  <a:pt x="19636" y="1200"/>
                </a:lnTo>
                <a:cubicBezTo>
                  <a:pt x="19636" y="1200"/>
                  <a:pt x="19636" y="3600"/>
                  <a:pt x="19636" y="3600"/>
                </a:cubicBezTo>
                <a:close/>
                <a:moveTo>
                  <a:pt x="17182" y="6000"/>
                </a:moveTo>
                <a:lnTo>
                  <a:pt x="17182" y="4800"/>
                </a:lnTo>
                <a:lnTo>
                  <a:pt x="19145" y="4800"/>
                </a:lnTo>
                <a:lnTo>
                  <a:pt x="19145" y="6000"/>
                </a:lnTo>
                <a:cubicBezTo>
                  <a:pt x="19145" y="6662"/>
                  <a:pt x="18705" y="7200"/>
                  <a:pt x="18164" y="7200"/>
                </a:cubicBezTo>
                <a:cubicBezTo>
                  <a:pt x="17621" y="7200"/>
                  <a:pt x="17182" y="6662"/>
                  <a:pt x="17182" y="6000"/>
                </a:cubicBezTo>
                <a:moveTo>
                  <a:pt x="14236" y="6000"/>
                </a:moveTo>
                <a:lnTo>
                  <a:pt x="14236" y="4800"/>
                </a:lnTo>
                <a:lnTo>
                  <a:pt x="16200" y="4800"/>
                </a:lnTo>
                <a:lnTo>
                  <a:pt x="16200" y="6000"/>
                </a:lnTo>
                <a:cubicBezTo>
                  <a:pt x="16200" y="6662"/>
                  <a:pt x="15760" y="7200"/>
                  <a:pt x="15218" y="7200"/>
                </a:cubicBezTo>
                <a:cubicBezTo>
                  <a:pt x="14675" y="7200"/>
                  <a:pt x="14236" y="6662"/>
                  <a:pt x="14236" y="6000"/>
                </a:cubicBezTo>
                <a:moveTo>
                  <a:pt x="11291" y="6000"/>
                </a:moveTo>
                <a:lnTo>
                  <a:pt x="11291" y="4800"/>
                </a:lnTo>
                <a:lnTo>
                  <a:pt x="13255" y="4800"/>
                </a:lnTo>
                <a:lnTo>
                  <a:pt x="13255" y="6000"/>
                </a:lnTo>
                <a:cubicBezTo>
                  <a:pt x="13255" y="6662"/>
                  <a:pt x="12814" y="7200"/>
                  <a:pt x="12273" y="7200"/>
                </a:cubicBezTo>
                <a:cubicBezTo>
                  <a:pt x="11730" y="7200"/>
                  <a:pt x="11291" y="6662"/>
                  <a:pt x="11291" y="6000"/>
                </a:cubicBezTo>
                <a:moveTo>
                  <a:pt x="8345" y="6000"/>
                </a:moveTo>
                <a:lnTo>
                  <a:pt x="8345" y="4800"/>
                </a:lnTo>
                <a:lnTo>
                  <a:pt x="10309" y="4800"/>
                </a:lnTo>
                <a:lnTo>
                  <a:pt x="10309" y="6000"/>
                </a:lnTo>
                <a:cubicBezTo>
                  <a:pt x="10309" y="6662"/>
                  <a:pt x="9869" y="7200"/>
                  <a:pt x="9327" y="7200"/>
                </a:cubicBezTo>
                <a:cubicBezTo>
                  <a:pt x="8785" y="7200"/>
                  <a:pt x="8345" y="6662"/>
                  <a:pt x="8345" y="6000"/>
                </a:cubicBezTo>
                <a:moveTo>
                  <a:pt x="5400" y="6000"/>
                </a:moveTo>
                <a:lnTo>
                  <a:pt x="5400" y="4800"/>
                </a:lnTo>
                <a:lnTo>
                  <a:pt x="7364" y="4800"/>
                </a:lnTo>
                <a:lnTo>
                  <a:pt x="7364" y="6000"/>
                </a:lnTo>
                <a:cubicBezTo>
                  <a:pt x="7364" y="6662"/>
                  <a:pt x="6924" y="7200"/>
                  <a:pt x="6382" y="7200"/>
                </a:cubicBezTo>
                <a:cubicBezTo>
                  <a:pt x="5839" y="7200"/>
                  <a:pt x="5400" y="6662"/>
                  <a:pt x="5400" y="6000"/>
                </a:cubicBezTo>
                <a:moveTo>
                  <a:pt x="2455" y="6000"/>
                </a:moveTo>
                <a:lnTo>
                  <a:pt x="2455" y="4800"/>
                </a:lnTo>
                <a:lnTo>
                  <a:pt x="4418" y="4800"/>
                </a:lnTo>
                <a:lnTo>
                  <a:pt x="4418" y="6000"/>
                </a:lnTo>
                <a:cubicBezTo>
                  <a:pt x="4418" y="6662"/>
                  <a:pt x="3978" y="7200"/>
                  <a:pt x="3436" y="7200"/>
                </a:cubicBezTo>
                <a:cubicBezTo>
                  <a:pt x="2894" y="7200"/>
                  <a:pt x="2455" y="6662"/>
                  <a:pt x="2455" y="6000"/>
                </a:cubicBezTo>
                <a:moveTo>
                  <a:pt x="19636" y="20400"/>
                </a:moveTo>
                <a:lnTo>
                  <a:pt x="12764" y="20400"/>
                </a:lnTo>
                <a:lnTo>
                  <a:pt x="12764" y="13800"/>
                </a:lnTo>
                <a:cubicBezTo>
                  <a:pt x="12764" y="13469"/>
                  <a:pt x="12544" y="13200"/>
                  <a:pt x="12273" y="13200"/>
                </a:cubicBezTo>
                <a:lnTo>
                  <a:pt x="9327" y="13200"/>
                </a:lnTo>
                <a:cubicBezTo>
                  <a:pt x="9056" y="13200"/>
                  <a:pt x="8836" y="13469"/>
                  <a:pt x="8836" y="13800"/>
                </a:cubicBezTo>
                <a:lnTo>
                  <a:pt x="8836" y="20400"/>
                </a:lnTo>
                <a:lnTo>
                  <a:pt x="1964" y="20400"/>
                </a:lnTo>
                <a:lnTo>
                  <a:pt x="1964" y="7573"/>
                </a:lnTo>
                <a:cubicBezTo>
                  <a:pt x="2324" y="8076"/>
                  <a:pt x="2847" y="8400"/>
                  <a:pt x="3436" y="8400"/>
                </a:cubicBezTo>
                <a:cubicBezTo>
                  <a:pt x="4026" y="8400"/>
                  <a:pt x="4549" y="8076"/>
                  <a:pt x="4909" y="7573"/>
                </a:cubicBezTo>
                <a:cubicBezTo>
                  <a:pt x="5269" y="8076"/>
                  <a:pt x="5792" y="8400"/>
                  <a:pt x="6382" y="8400"/>
                </a:cubicBezTo>
                <a:cubicBezTo>
                  <a:pt x="6971" y="8400"/>
                  <a:pt x="7495" y="8076"/>
                  <a:pt x="7855" y="7573"/>
                </a:cubicBezTo>
                <a:cubicBezTo>
                  <a:pt x="8215" y="8076"/>
                  <a:pt x="8738" y="8400"/>
                  <a:pt x="9327" y="8400"/>
                </a:cubicBezTo>
                <a:cubicBezTo>
                  <a:pt x="9917" y="8400"/>
                  <a:pt x="10440" y="8076"/>
                  <a:pt x="10800" y="7573"/>
                </a:cubicBezTo>
                <a:cubicBezTo>
                  <a:pt x="11160" y="8076"/>
                  <a:pt x="11683" y="8400"/>
                  <a:pt x="12273" y="8400"/>
                </a:cubicBezTo>
                <a:cubicBezTo>
                  <a:pt x="12862" y="8400"/>
                  <a:pt x="13385" y="8076"/>
                  <a:pt x="13745" y="7573"/>
                </a:cubicBezTo>
                <a:cubicBezTo>
                  <a:pt x="14105" y="8076"/>
                  <a:pt x="14629" y="8400"/>
                  <a:pt x="15218" y="8400"/>
                </a:cubicBezTo>
                <a:cubicBezTo>
                  <a:pt x="15808" y="8400"/>
                  <a:pt x="16331" y="8076"/>
                  <a:pt x="16691" y="7573"/>
                </a:cubicBezTo>
                <a:cubicBezTo>
                  <a:pt x="17051" y="8076"/>
                  <a:pt x="17574" y="8400"/>
                  <a:pt x="18164" y="8400"/>
                </a:cubicBezTo>
                <a:cubicBezTo>
                  <a:pt x="18753" y="8400"/>
                  <a:pt x="19276" y="8076"/>
                  <a:pt x="19636" y="7573"/>
                </a:cubicBezTo>
                <a:cubicBezTo>
                  <a:pt x="19636" y="7573"/>
                  <a:pt x="19636" y="20400"/>
                  <a:pt x="19636" y="20400"/>
                </a:cubicBezTo>
                <a:close/>
                <a:moveTo>
                  <a:pt x="11782" y="20400"/>
                </a:moveTo>
                <a:lnTo>
                  <a:pt x="9818" y="204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20400"/>
                  <a:pt x="11782" y="20400"/>
                </a:cubicBezTo>
                <a:close/>
                <a:moveTo>
                  <a:pt x="21109" y="20400"/>
                </a:moveTo>
                <a:lnTo>
                  <a:pt x="20618" y="20400"/>
                </a:lnTo>
                <a:lnTo>
                  <a:pt x="20618" y="4800"/>
                </a:lnTo>
                <a:lnTo>
                  <a:pt x="21109" y="4800"/>
                </a:lnTo>
                <a:cubicBezTo>
                  <a:pt x="21380" y="4800"/>
                  <a:pt x="21600" y="4532"/>
                  <a:pt x="21600" y="4200"/>
                </a:cubicBezTo>
                <a:cubicBezTo>
                  <a:pt x="21600" y="3868"/>
                  <a:pt x="21380" y="3600"/>
                  <a:pt x="21109" y="3600"/>
                </a:cubicBezTo>
                <a:lnTo>
                  <a:pt x="20618" y="3600"/>
                </a:lnTo>
                <a:lnTo>
                  <a:pt x="20618" y="1200"/>
                </a:lnTo>
                <a:cubicBezTo>
                  <a:pt x="20618" y="538"/>
                  <a:pt x="20178" y="0"/>
                  <a:pt x="19636" y="0"/>
                </a:cubicBezTo>
                <a:lnTo>
                  <a:pt x="1964" y="0"/>
                </a:lnTo>
                <a:cubicBezTo>
                  <a:pt x="1421" y="0"/>
                  <a:pt x="982" y="538"/>
                  <a:pt x="982" y="1200"/>
                </a:cubicBezTo>
                <a:lnTo>
                  <a:pt x="982" y="3600"/>
                </a:lnTo>
                <a:lnTo>
                  <a:pt x="491" y="3600"/>
                </a:lnTo>
                <a:cubicBezTo>
                  <a:pt x="220" y="3600"/>
                  <a:pt x="0" y="3868"/>
                  <a:pt x="0" y="4200"/>
                </a:cubicBezTo>
                <a:cubicBezTo>
                  <a:pt x="0" y="4532"/>
                  <a:pt x="220" y="4800"/>
                  <a:pt x="491" y="4800"/>
                </a:cubicBezTo>
                <a:lnTo>
                  <a:pt x="982" y="4800"/>
                </a:lnTo>
                <a:lnTo>
                  <a:pt x="982" y="20400"/>
                </a:lnTo>
                <a:lnTo>
                  <a:pt x="491" y="20400"/>
                </a:lnTo>
                <a:cubicBezTo>
                  <a:pt x="220" y="20400"/>
                  <a:pt x="0" y="20669"/>
                  <a:pt x="0" y="21000"/>
                </a:cubicBez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cubicBezTo>
                  <a:pt x="21600" y="20669"/>
                  <a:pt x="21380" y="20400"/>
                  <a:pt x="21109" y="20400"/>
                </a:cubicBezTo>
                <a:moveTo>
                  <a:pt x="16691" y="16800"/>
                </a:moveTo>
                <a:lnTo>
                  <a:pt x="14727" y="16800"/>
                </a:lnTo>
                <a:lnTo>
                  <a:pt x="14727" y="14400"/>
                </a:lnTo>
                <a:lnTo>
                  <a:pt x="16691" y="14400"/>
                </a:lnTo>
                <a:cubicBezTo>
                  <a:pt x="16691" y="14400"/>
                  <a:pt x="16691" y="16800"/>
                  <a:pt x="16691" y="16800"/>
                </a:cubicBezTo>
                <a:close/>
                <a:moveTo>
                  <a:pt x="17182" y="13200"/>
                </a:moveTo>
                <a:lnTo>
                  <a:pt x="14236" y="13200"/>
                </a:lnTo>
                <a:cubicBezTo>
                  <a:pt x="13965" y="13200"/>
                  <a:pt x="13745" y="13469"/>
                  <a:pt x="13745" y="13800"/>
                </a:cubicBezTo>
                <a:lnTo>
                  <a:pt x="13745" y="17400"/>
                </a:lnTo>
                <a:cubicBezTo>
                  <a:pt x="13745" y="17732"/>
                  <a:pt x="13965" y="18000"/>
                  <a:pt x="14236" y="18000"/>
                </a:cubicBezTo>
                <a:lnTo>
                  <a:pt x="17182" y="18000"/>
                </a:lnTo>
                <a:cubicBezTo>
                  <a:pt x="17453" y="18000"/>
                  <a:pt x="17673" y="17732"/>
                  <a:pt x="17673" y="17400"/>
                </a:cubicBezTo>
                <a:lnTo>
                  <a:pt x="17673" y="13800"/>
                </a:lnTo>
                <a:cubicBezTo>
                  <a:pt x="17673" y="13469"/>
                  <a:pt x="17453" y="13200"/>
                  <a:pt x="17182" y="13200"/>
                </a:cubicBezTo>
                <a:moveTo>
                  <a:pt x="6873" y="16800"/>
                </a:moveTo>
                <a:lnTo>
                  <a:pt x="4909" y="16800"/>
                </a:lnTo>
                <a:lnTo>
                  <a:pt x="4909" y="14400"/>
                </a:lnTo>
                <a:lnTo>
                  <a:pt x="6873" y="14400"/>
                </a:lnTo>
                <a:cubicBezTo>
                  <a:pt x="6873" y="14400"/>
                  <a:pt x="6873" y="16800"/>
                  <a:pt x="6873" y="16800"/>
                </a:cubicBezTo>
                <a:close/>
                <a:moveTo>
                  <a:pt x="7364" y="13200"/>
                </a:moveTo>
                <a:lnTo>
                  <a:pt x="4418" y="13200"/>
                </a:lnTo>
                <a:cubicBezTo>
                  <a:pt x="4147" y="13200"/>
                  <a:pt x="3927" y="13469"/>
                  <a:pt x="3927" y="13800"/>
                </a:cubicBezTo>
                <a:lnTo>
                  <a:pt x="3927" y="17400"/>
                </a:lnTo>
                <a:cubicBezTo>
                  <a:pt x="3927" y="17732"/>
                  <a:pt x="4147" y="18000"/>
                  <a:pt x="4418" y="18000"/>
                </a:cubicBezTo>
                <a:lnTo>
                  <a:pt x="7364" y="18000"/>
                </a:lnTo>
                <a:cubicBezTo>
                  <a:pt x="7635" y="18000"/>
                  <a:pt x="7855" y="17732"/>
                  <a:pt x="7855" y="17400"/>
                </a:cubicBezTo>
                <a:lnTo>
                  <a:pt x="7855" y="13800"/>
                </a:lnTo>
                <a:cubicBezTo>
                  <a:pt x="7855" y="13469"/>
                  <a:pt x="7635" y="13200"/>
                  <a:pt x="7364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Shape 2632">
            <a:extLst>
              <a:ext uri="{FF2B5EF4-FFF2-40B4-BE49-F238E27FC236}">
                <a16:creationId xmlns:a16="http://schemas.microsoft.com/office/drawing/2014/main" id="{BFDB0118-09C4-40E1-8EFD-099C85D4F49A}"/>
              </a:ext>
            </a:extLst>
          </p:cNvPr>
          <p:cNvSpPr/>
          <p:nvPr/>
        </p:nvSpPr>
        <p:spPr bwMode="gray">
          <a:xfrm>
            <a:off x="10087953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7673"/>
                </a:moveTo>
                <a:cubicBezTo>
                  <a:pt x="4588" y="17673"/>
                  <a:pt x="1200" y="16051"/>
                  <a:pt x="1200" y="15218"/>
                </a:cubicBezTo>
                <a:cubicBezTo>
                  <a:pt x="1200" y="14690"/>
                  <a:pt x="1355" y="14275"/>
                  <a:pt x="1611" y="13896"/>
                </a:cubicBezTo>
                <a:cubicBezTo>
                  <a:pt x="3255" y="14967"/>
                  <a:pt x="6746" y="15709"/>
                  <a:pt x="10800" y="15709"/>
                </a:cubicBezTo>
                <a:cubicBezTo>
                  <a:pt x="14856" y="15709"/>
                  <a:pt x="18345" y="14966"/>
                  <a:pt x="19987" y="13894"/>
                </a:cubicBezTo>
                <a:cubicBezTo>
                  <a:pt x="20244" y="14273"/>
                  <a:pt x="20400" y="14689"/>
                  <a:pt x="20400" y="15218"/>
                </a:cubicBezTo>
                <a:cubicBezTo>
                  <a:pt x="20400" y="16051"/>
                  <a:pt x="17011" y="17673"/>
                  <a:pt x="10800" y="17673"/>
                </a:cubicBezTo>
                <a:moveTo>
                  <a:pt x="10800" y="20618"/>
                </a:moveTo>
                <a:cubicBezTo>
                  <a:pt x="9475" y="20618"/>
                  <a:pt x="8400" y="19739"/>
                  <a:pt x="8400" y="18655"/>
                </a:cubicBezTo>
                <a:cubicBezTo>
                  <a:pt x="8400" y="18625"/>
                  <a:pt x="8408" y="18597"/>
                  <a:pt x="8409" y="18567"/>
                </a:cubicBezTo>
                <a:cubicBezTo>
                  <a:pt x="9179" y="18623"/>
                  <a:pt x="9977" y="18655"/>
                  <a:pt x="10800" y="18655"/>
                </a:cubicBezTo>
                <a:cubicBezTo>
                  <a:pt x="11623" y="18655"/>
                  <a:pt x="12421" y="18623"/>
                  <a:pt x="13191" y="18567"/>
                </a:cubicBezTo>
                <a:cubicBezTo>
                  <a:pt x="13192" y="18597"/>
                  <a:pt x="13200" y="18625"/>
                  <a:pt x="13200" y="18655"/>
                </a:cubicBezTo>
                <a:cubicBezTo>
                  <a:pt x="13200" y="19739"/>
                  <a:pt x="12125" y="20618"/>
                  <a:pt x="10800" y="20618"/>
                </a:cubicBezTo>
                <a:moveTo>
                  <a:pt x="2948" y="12551"/>
                </a:moveTo>
                <a:cubicBezTo>
                  <a:pt x="4308" y="11388"/>
                  <a:pt x="6000" y="9939"/>
                  <a:pt x="6000" y="6873"/>
                </a:cubicBezTo>
                <a:cubicBezTo>
                  <a:pt x="6000" y="5232"/>
                  <a:pt x="7238" y="3825"/>
                  <a:pt x="8988" y="3239"/>
                </a:cubicBezTo>
                <a:cubicBezTo>
                  <a:pt x="9428" y="3657"/>
                  <a:pt x="10072" y="3927"/>
                  <a:pt x="10800" y="3927"/>
                </a:cubicBezTo>
                <a:cubicBezTo>
                  <a:pt x="11528" y="3927"/>
                  <a:pt x="12172" y="3657"/>
                  <a:pt x="12611" y="3239"/>
                </a:cubicBezTo>
                <a:cubicBezTo>
                  <a:pt x="14362" y="3825"/>
                  <a:pt x="15600" y="5232"/>
                  <a:pt x="15600" y="6873"/>
                </a:cubicBezTo>
                <a:cubicBezTo>
                  <a:pt x="15600" y="9939"/>
                  <a:pt x="17292" y="11388"/>
                  <a:pt x="18652" y="12551"/>
                </a:cubicBezTo>
                <a:cubicBezTo>
                  <a:pt x="18911" y="12773"/>
                  <a:pt x="19152" y="12979"/>
                  <a:pt x="19366" y="13183"/>
                </a:cubicBezTo>
                <a:cubicBezTo>
                  <a:pt x="18217" y="14077"/>
                  <a:pt x="14825" y="14727"/>
                  <a:pt x="10800" y="14727"/>
                </a:cubicBezTo>
                <a:cubicBezTo>
                  <a:pt x="6779" y="14727"/>
                  <a:pt x="3383" y="14079"/>
                  <a:pt x="2230" y="13186"/>
                </a:cubicBezTo>
                <a:cubicBezTo>
                  <a:pt x="2446" y="12981"/>
                  <a:pt x="2687" y="12774"/>
                  <a:pt x="2948" y="12551"/>
                </a:cubicBezTo>
                <a:moveTo>
                  <a:pt x="10800" y="982"/>
                </a:moveTo>
                <a:cubicBezTo>
                  <a:pt x="11462" y="982"/>
                  <a:pt x="12000" y="1422"/>
                  <a:pt x="12000" y="1964"/>
                </a:cubicBezTo>
                <a:cubicBezTo>
                  <a:pt x="12000" y="2506"/>
                  <a:pt x="11462" y="2945"/>
                  <a:pt x="10800" y="2945"/>
                </a:cubicBezTo>
                <a:cubicBezTo>
                  <a:pt x="10138" y="2945"/>
                  <a:pt x="9600" y="2506"/>
                  <a:pt x="9600" y="1964"/>
                </a:cubicBezTo>
                <a:cubicBezTo>
                  <a:pt x="9600" y="1422"/>
                  <a:pt x="10138" y="982"/>
                  <a:pt x="10800" y="982"/>
                </a:cubicBezTo>
                <a:moveTo>
                  <a:pt x="21600" y="15218"/>
                </a:moveTo>
                <a:cubicBezTo>
                  <a:pt x="21600" y="11782"/>
                  <a:pt x="16800" y="11782"/>
                  <a:pt x="16800" y="6873"/>
                </a:cubicBezTo>
                <a:cubicBezTo>
                  <a:pt x="16800" y="4845"/>
                  <a:pt x="15296" y="3105"/>
                  <a:pt x="13152" y="2356"/>
                </a:cubicBezTo>
                <a:cubicBezTo>
                  <a:pt x="13183" y="2229"/>
                  <a:pt x="13200" y="2098"/>
                  <a:pt x="13200" y="1964"/>
                </a:cubicBezTo>
                <a:cubicBezTo>
                  <a:pt x="13200" y="879"/>
                  <a:pt x="12125" y="0"/>
                  <a:pt x="10800" y="0"/>
                </a:cubicBezTo>
                <a:cubicBezTo>
                  <a:pt x="9475" y="0"/>
                  <a:pt x="8400" y="879"/>
                  <a:pt x="8400" y="1964"/>
                </a:cubicBezTo>
                <a:cubicBezTo>
                  <a:pt x="8400" y="2098"/>
                  <a:pt x="8417" y="2229"/>
                  <a:pt x="8448" y="2356"/>
                </a:cubicBezTo>
                <a:cubicBezTo>
                  <a:pt x="6304" y="3105"/>
                  <a:pt x="4800" y="4845"/>
                  <a:pt x="4800" y="6873"/>
                </a:cubicBezTo>
                <a:cubicBezTo>
                  <a:pt x="4800" y="11782"/>
                  <a:pt x="0" y="11782"/>
                  <a:pt x="0" y="15218"/>
                </a:cubicBezTo>
                <a:cubicBezTo>
                  <a:pt x="0" y="16716"/>
                  <a:pt x="3016" y="17986"/>
                  <a:pt x="7217" y="18457"/>
                </a:cubicBezTo>
                <a:cubicBezTo>
                  <a:pt x="7211" y="18523"/>
                  <a:pt x="7200" y="18587"/>
                  <a:pt x="7200" y="18655"/>
                </a:cubicBezTo>
                <a:cubicBezTo>
                  <a:pt x="7200" y="20282"/>
                  <a:pt x="8812" y="21600"/>
                  <a:pt x="10800" y="21600"/>
                </a:cubicBezTo>
                <a:cubicBezTo>
                  <a:pt x="12788" y="21600"/>
                  <a:pt x="14400" y="20282"/>
                  <a:pt x="14400" y="18655"/>
                </a:cubicBezTo>
                <a:cubicBezTo>
                  <a:pt x="14400" y="18587"/>
                  <a:pt x="14389" y="18523"/>
                  <a:pt x="14383" y="18457"/>
                </a:cubicBezTo>
                <a:cubicBezTo>
                  <a:pt x="18584" y="17986"/>
                  <a:pt x="21600" y="16716"/>
                  <a:pt x="21600" y="152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Shape 2633">
            <a:extLst>
              <a:ext uri="{FF2B5EF4-FFF2-40B4-BE49-F238E27FC236}">
                <a16:creationId xmlns:a16="http://schemas.microsoft.com/office/drawing/2014/main" id="{3A85A9C6-5B95-4F29-92A0-36EB35E088FD}"/>
              </a:ext>
            </a:extLst>
          </p:cNvPr>
          <p:cNvSpPr/>
          <p:nvPr/>
        </p:nvSpPr>
        <p:spPr bwMode="gray">
          <a:xfrm>
            <a:off x="10613690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Shape 2634">
            <a:extLst>
              <a:ext uri="{FF2B5EF4-FFF2-40B4-BE49-F238E27FC236}">
                <a16:creationId xmlns:a16="http://schemas.microsoft.com/office/drawing/2014/main" id="{BF20F020-4195-42A1-9F22-AD9120B75B90}"/>
              </a:ext>
            </a:extLst>
          </p:cNvPr>
          <p:cNvSpPr/>
          <p:nvPr/>
        </p:nvSpPr>
        <p:spPr bwMode="gray">
          <a:xfrm>
            <a:off x="11165715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4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800" y="3145"/>
                </a:lnTo>
                <a:lnTo>
                  <a:pt x="11480" y="2491"/>
                </a:lnTo>
                <a:cubicBezTo>
                  <a:pt x="12493" y="1518"/>
                  <a:pt x="13820" y="982"/>
                  <a:pt x="15218" y="982"/>
                </a:cubicBezTo>
                <a:cubicBezTo>
                  <a:pt x="18196" y="982"/>
                  <a:pt x="20618" y="3404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4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37CC5C-3187-4001-82D2-EE18080E75E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661153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5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Rechenintensive Operationen können einen Server potentiell blockieren oder viele Ressourcen in Anspruch nehm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90673B6-AF8D-40E3-B4A0-E60347A31DA7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924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endParaRPr lang="de-DE" dirty="0">
                <a:latin typeface="+mj-lt"/>
              </a:endParaRPr>
            </a:p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Insbesondere IO ist langsa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2379945"/>
            <a:ext cx="5238137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Latenz:</a:t>
            </a:r>
          </a:p>
          <a:p>
            <a:pPr marL="637200" lvl="1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RAM Zugriff: 50 Nanosekunden</a:t>
            </a:r>
          </a:p>
          <a:p>
            <a:pPr marL="637200" lvl="1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isk: 5 Millisekunden</a:t>
            </a:r>
          </a:p>
          <a:p>
            <a:pPr marL="637200" lvl="1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RAM 100.000x schneller; Zugriffszeit so unterschiedlich, weil Festplatten (HDD) mechanisch sind sich drehen müssen 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Bandbreite bzw. </a:t>
            </a:r>
            <a:r>
              <a:rPr lang="de-DE" sz="1400" dirty="0" err="1"/>
              <a:t>Throughput</a:t>
            </a:r>
            <a:r>
              <a:rPr lang="de-DE" sz="1400" dirty="0"/>
              <a:t> </a:t>
            </a:r>
          </a:p>
          <a:p>
            <a:pPr marL="637200" lvl="1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lesen und schreiben</a:t>
            </a:r>
          </a:p>
          <a:p>
            <a:pPr marL="637200" lvl="1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a. 20x Unterschied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924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spcAft>
                  <a:spcPts val="300"/>
                </a:spcAft>
              </a:pPr>
              <a:endParaRPr lang="de-DE" dirty="0">
                <a:latin typeface="+mj-lt"/>
              </a:endParaRPr>
            </a:p>
            <a:p>
              <a:pPr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otentiell blockierende Operationen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5238137" cy="9387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HTTP Request an anderen Server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B-Zugriff: (fast) alle Applikationen, bei denen Daten zentral gespeichert werden 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/O: bspw. Datei mit Konfiguration zur Laufzeit lesen, Logs lokal abspeicher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CE60008-1CC4-4D20-A82E-6771428B1C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10934872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114E423-9A88-4BFB-9A19-7CC3227F6F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193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6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114E423-9A88-4BFB-9A19-7CC3227F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3FC8A8E-202C-4440-99DC-A79438A3CC9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2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5ABE148-4055-4F6D-877A-1A57F79563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lectronics &amp; Miscellaneo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56C709D-6C69-411D-A724-861E5B126EF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178B9D0-CB4E-403C-AF63-35B6B7DFD5C5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2FB6766-3BF6-4EE3-8ACB-29ABEAECE71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0</a:t>
            </a:fld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CDE2B37-03D6-4BE0-B8C1-8CF244BEB489}"/>
              </a:ext>
            </a:extLst>
          </p:cNvPr>
          <p:cNvGrpSpPr/>
          <p:nvPr/>
        </p:nvGrpSpPr>
        <p:grpSpPr bwMode="gray">
          <a:xfrm>
            <a:off x="617538" y="1759045"/>
            <a:ext cx="10837332" cy="4126447"/>
            <a:chOff x="617538" y="1759045"/>
            <a:chExt cx="10837332" cy="4126447"/>
          </a:xfrm>
        </p:grpSpPr>
        <p:sp>
          <p:nvSpPr>
            <p:cNvPr id="28" name="Shape 2637">
              <a:extLst>
                <a:ext uri="{FF2B5EF4-FFF2-40B4-BE49-F238E27FC236}">
                  <a16:creationId xmlns:a16="http://schemas.microsoft.com/office/drawing/2014/main" id="{52FAF35D-7D3D-45CE-B2EF-5A7B10275A41}"/>
                </a:ext>
              </a:extLst>
            </p:cNvPr>
            <p:cNvSpPr/>
            <p:nvPr/>
          </p:nvSpPr>
          <p:spPr bwMode="gray">
            <a:xfrm>
              <a:off x="683218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400" y="8836"/>
                  </a:moveTo>
                  <a:lnTo>
                    <a:pt x="16200" y="8836"/>
                  </a:lnTo>
                  <a:lnTo>
                    <a:pt x="16200" y="11782"/>
                  </a:lnTo>
                  <a:cubicBezTo>
                    <a:pt x="16200" y="13409"/>
                    <a:pt x="13783" y="14727"/>
                    <a:pt x="10800" y="14727"/>
                  </a:cubicBezTo>
                  <a:cubicBezTo>
                    <a:pt x="7817" y="14727"/>
                    <a:pt x="5400" y="13409"/>
                    <a:pt x="5400" y="11782"/>
                  </a:cubicBezTo>
                  <a:cubicBezTo>
                    <a:pt x="5400" y="11782"/>
                    <a:pt x="5400" y="8836"/>
                    <a:pt x="5400" y="8836"/>
                  </a:cubicBezTo>
                  <a:close/>
                  <a:moveTo>
                    <a:pt x="5400" y="3927"/>
                  </a:moveTo>
                  <a:cubicBezTo>
                    <a:pt x="5400" y="2301"/>
                    <a:pt x="7817" y="982"/>
                    <a:pt x="10800" y="982"/>
                  </a:cubicBezTo>
                  <a:cubicBezTo>
                    <a:pt x="13783" y="982"/>
                    <a:pt x="16200" y="2301"/>
                    <a:pt x="16200" y="3927"/>
                  </a:cubicBezTo>
                  <a:lnTo>
                    <a:pt x="16200" y="7855"/>
                  </a:lnTo>
                  <a:lnTo>
                    <a:pt x="5400" y="7855"/>
                  </a:lnTo>
                  <a:cubicBezTo>
                    <a:pt x="5400" y="7855"/>
                    <a:pt x="5400" y="3927"/>
                    <a:pt x="5400" y="3927"/>
                  </a:cubicBezTo>
                  <a:close/>
                  <a:moveTo>
                    <a:pt x="10800" y="15709"/>
                  </a:moveTo>
                  <a:cubicBezTo>
                    <a:pt x="14777" y="15709"/>
                    <a:pt x="18000" y="13951"/>
                    <a:pt x="18000" y="11782"/>
                  </a:cubicBezTo>
                  <a:lnTo>
                    <a:pt x="18000" y="3927"/>
                  </a:lnTo>
                  <a:cubicBezTo>
                    <a:pt x="18000" y="1758"/>
                    <a:pt x="14777" y="0"/>
                    <a:pt x="10800" y="0"/>
                  </a:cubicBezTo>
                  <a:cubicBezTo>
                    <a:pt x="6823" y="0"/>
                    <a:pt x="3600" y="1758"/>
                    <a:pt x="3600" y="3927"/>
                  </a:cubicBezTo>
                  <a:lnTo>
                    <a:pt x="3600" y="11782"/>
                  </a:lnTo>
                  <a:cubicBezTo>
                    <a:pt x="3600" y="13951"/>
                    <a:pt x="6823" y="15709"/>
                    <a:pt x="10800" y="15709"/>
                  </a:cubicBezTo>
                  <a:moveTo>
                    <a:pt x="21600" y="11782"/>
                  </a:moveTo>
                  <a:lnTo>
                    <a:pt x="21600" y="10309"/>
                  </a:lnTo>
                  <a:cubicBezTo>
                    <a:pt x="21600" y="10038"/>
                    <a:pt x="21197" y="9818"/>
                    <a:pt x="20700" y="9818"/>
                  </a:cubicBezTo>
                  <a:cubicBezTo>
                    <a:pt x="20203" y="9818"/>
                    <a:pt x="19800" y="10038"/>
                    <a:pt x="19800" y="10309"/>
                  </a:cubicBezTo>
                  <a:lnTo>
                    <a:pt x="19800" y="11782"/>
                  </a:lnTo>
                  <a:cubicBezTo>
                    <a:pt x="19800" y="14493"/>
                    <a:pt x="15771" y="16691"/>
                    <a:pt x="10800" y="16691"/>
                  </a:cubicBezTo>
                  <a:cubicBezTo>
                    <a:pt x="5829" y="16691"/>
                    <a:pt x="1800" y="14493"/>
                    <a:pt x="1800" y="11782"/>
                  </a:cubicBezTo>
                  <a:lnTo>
                    <a:pt x="1800" y="10309"/>
                  </a:lnTo>
                  <a:cubicBezTo>
                    <a:pt x="1800" y="10038"/>
                    <a:pt x="1397" y="9818"/>
                    <a:pt x="900" y="9818"/>
                  </a:cubicBezTo>
                  <a:cubicBezTo>
                    <a:pt x="403" y="9818"/>
                    <a:pt x="0" y="10038"/>
                    <a:pt x="0" y="10309"/>
                  </a:cubicBezTo>
                  <a:lnTo>
                    <a:pt x="0" y="11782"/>
                  </a:lnTo>
                  <a:cubicBezTo>
                    <a:pt x="0" y="14870"/>
                    <a:pt x="4358" y="17398"/>
                    <a:pt x="9900" y="17648"/>
                  </a:cubicBezTo>
                  <a:lnTo>
                    <a:pt x="9900" y="20618"/>
                  </a:lnTo>
                  <a:lnTo>
                    <a:pt x="3600" y="20618"/>
                  </a:lnTo>
                  <a:cubicBezTo>
                    <a:pt x="3103" y="20618"/>
                    <a:pt x="2700" y="20838"/>
                    <a:pt x="2700" y="21110"/>
                  </a:cubicBezTo>
                  <a:cubicBezTo>
                    <a:pt x="2700" y="21381"/>
                    <a:pt x="3103" y="21600"/>
                    <a:pt x="3600" y="21600"/>
                  </a:cubicBezTo>
                  <a:lnTo>
                    <a:pt x="18000" y="21600"/>
                  </a:lnTo>
                  <a:cubicBezTo>
                    <a:pt x="18497" y="21600"/>
                    <a:pt x="18900" y="21381"/>
                    <a:pt x="18900" y="21110"/>
                  </a:cubicBezTo>
                  <a:cubicBezTo>
                    <a:pt x="18900" y="20838"/>
                    <a:pt x="18497" y="20618"/>
                    <a:pt x="18000" y="20618"/>
                  </a:cubicBezTo>
                  <a:lnTo>
                    <a:pt x="11700" y="20618"/>
                  </a:lnTo>
                  <a:lnTo>
                    <a:pt x="11700" y="17648"/>
                  </a:lnTo>
                  <a:cubicBezTo>
                    <a:pt x="17243" y="17398"/>
                    <a:pt x="21600" y="14870"/>
                    <a:pt x="21600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Shape 2638">
              <a:extLst>
                <a:ext uri="{FF2B5EF4-FFF2-40B4-BE49-F238E27FC236}">
                  <a16:creationId xmlns:a16="http://schemas.microsoft.com/office/drawing/2014/main" id="{1C2CA6A0-59B2-4F59-B3D0-B1BE50305355}"/>
                </a:ext>
              </a:extLst>
            </p:cNvPr>
            <p:cNvSpPr/>
            <p:nvPr/>
          </p:nvSpPr>
          <p:spPr bwMode="gray">
            <a:xfrm>
              <a:off x="1169252" y="1759045"/>
              <a:ext cx="288894" cy="289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31" h="21132" extrusionOk="0">
                  <a:moveTo>
                    <a:pt x="19045" y="7530"/>
                  </a:moveTo>
                  <a:cubicBezTo>
                    <a:pt x="17544" y="9030"/>
                    <a:pt x="15110" y="9030"/>
                    <a:pt x="13610" y="7530"/>
                  </a:cubicBezTo>
                  <a:cubicBezTo>
                    <a:pt x="12108" y="6031"/>
                    <a:pt x="12108" y="3600"/>
                    <a:pt x="13610" y="2100"/>
                  </a:cubicBezTo>
                  <a:cubicBezTo>
                    <a:pt x="15110" y="600"/>
                    <a:pt x="17544" y="600"/>
                    <a:pt x="19045" y="2100"/>
                  </a:cubicBezTo>
                  <a:cubicBezTo>
                    <a:pt x="20546" y="3600"/>
                    <a:pt x="20546" y="6031"/>
                    <a:pt x="19045" y="7530"/>
                  </a:cubicBezTo>
                  <a:moveTo>
                    <a:pt x="7605" y="16245"/>
                  </a:moveTo>
                  <a:cubicBezTo>
                    <a:pt x="7256" y="16593"/>
                    <a:pt x="6776" y="16807"/>
                    <a:pt x="6245" y="16807"/>
                  </a:cubicBezTo>
                  <a:cubicBezTo>
                    <a:pt x="5184" y="16807"/>
                    <a:pt x="4324" y="15948"/>
                    <a:pt x="4324" y="14888"/>
                  </a:cubicBezTo>
                  <a:cubicBezTo>
                    <a:pt x="4324" y="14358"/>
                    <a:pt x="4539" y="13878"/>
                    <a:pt x="4887" y="13530"/>
                  </a:cubicBezTo>
                  <a:lnTo>
                    <a:pt x="11678" y="5991"/>
                  </a:lnTo>
                  <a:cubicBezTo>
                    <a:pt x="11884" y="6798"/>
                    <a:pt x="12298" y="7563"/>
                    <a:pt x="12930" y="8194"/>
                  </a:cubicBezTo>
                  <a:cubicBezTo>
                    <a:pt x="13569" y="8832"/>
                    <a:pt x="14343" y="9248"/>
                    <a:pt x="15160" y="9451"/>
                  </a:cubicBezTo>
                  <a:cubicBezTo>
                    <a:pt x="15160" y="9451"/>
                    <a:pt x="7605" y="16245"/>
                    <a:pt x="7605" y="16245"/>
                  </a:cubicBezTo>
                  <a:close/>
                  <a:moveTo>
                    <a:pt x="19724" y="1406"/>
                  </a:moveTo>
                  <a:cubicBezTo>
                    <a:pt x="17848" y="-468"/>
                    <a:pt x="14806" y="-468"/>
                    <a:pt x="12930" y="1406"/>
                  </a:cubicBezTo>
                  <a:cubicBezTo>
                    <a:pt x="12024" y="2312"/>
                    <a:pt x="11559" y="3489"/>
                    <a:pt x="11529" y="4676"/>
                  </a:cubicBezTo>
                  <a:lnTo>
                    <a:pt x="4207" y="12851"/>
                  </a:lnTo>
                  <a:cubicBezTo>
                    <a:pt x="3686" y="13373"/>
                    <a:pt x="3363" y="14093"/>
                    <a:pt x="3363" y="14888"/>
                  </a:cubicBezTo>
                  <a:cubicBezTo>
                    <a:pt x="3363" y="15420"/>
                    <a:pt x="3518" y="15912"/>
                    <a:pt x="3769" y="16340"/>
                  </a:cubicBezTo>
                  <a:cubicBezTo>
                    <a:pt x="2436" y="17104"/>
                    <a:pt x="1907" y="17813"/>
                    <a:pt x="2425" y="19364"/>
                  </a:cubicBezTo>
                  <a:cubicBezTo>
                    <a:pt x="2487" y="19550"/>
                    <a:pt x="2434" y="19622"/>
                    <a:pt x="2409" y="19658"/>
                  </a:cubicBezTo>
                  <a:cubicBezTo>
                    <a:pt x="2160" y="20003"/>
                    <a:pt x="1132" y="20167"/>
                    <a:pt x="500" y="20172"/>
                  </a:cubicBezTo>
                  <a:cubicBezTo>
                    <a:pt x="493" y="20171"/>
                    <a:pt x="487" y="20167"/>
                    <a:pt x="480" y="20167"/>
                  </a:cubicBezTo>
                  <a:cubicBezTo>
                    <a:pt x="215" y="20167"/>
                    <a:pt x="0" y="20383"/>
                    <a:pt x="0" y="20647"/>
                  </a:cubicBezTo>
                  <a:cubicBezTo>
                    <a:pt x="0" y="20912"/>
                    <a:pt x="214" y="21126"/>
                    <a:pt x="479" y="21127"/>
                  </a:cubicBezTo>
                  <a:lnTo>
                    <a:pt x="479" y="21132"/>
                  </a:lnTo>
                  <a:cubicBezTo>
                    <a:pt x="821" y="21132"/>
                    <a:pt x="2562" y="21088"/>
                    <a:pt x="3189" y="20219"/>
                  </a:cubicBezTo>
                  <a:cubicBezTo>
                    <a:pt x="3355" y="19988"/>
                    <a:pt x="3516" y="19599"/>
                    <a:pt x="3336" y="19060"/>
                  </a:cubicBezTo>
                  <a:cubicBezTo>
                    <a:pt x="3030" y="18141"/>
                    <a:pt x="3071" y="17806"/>
                    <a:pt x="4399" y="17082"/>
                  </a:cubicBezTo>
                  <a:cubicBezTo>
                    <a:pt x="4900" y="17504"/>
                    <a:pt x="5539" y="17767"/>
                    <a:pt x="6245" y="17767"/>
                  </a:cubicBezTo>
                  <a:cubicBezTo>
                    <a:pt x="7042" y="17767"/>
                    <a:pt x="7762" y="17445"/>
                    <a:pt x="8284" y="16924"/>
                  </a:cubicBezTo>
                  <a:lnTo>
                    <a:pt x="16485" y="9592"/>
                  </a:lnTo>
                  <a:cubicBezTo>
                    <a:pt x="17662" y="9554"/>
                    <a:pt x="18826" y="9091"/>
                    <a:pt x="19724" y="8194"/>
                  </a:cubicBezTo>
                  <a:cubicBezTo>
                    <a:pt x="21600" y="6320"/>
                    <a:pt x="21600" y="3281"/>
                    <a:pt x="19724" y="1406"/>
                  </a:cubicBezTo>
                  <a:moveTo>
                    <a:pt x="8953" y="11504"/>
                  </a:moveTo>
                  <a:lnTo>
                    <a:pt x="9633" y="12183"/>
                  </a:lnTo>
                  <a:lnTo>
                    <a:pt x="12690" y="9807"/>
                  </a:lnTo>
                  <a:lnTo>
                    <a:pt x="11331" y="8449"/>
                  </a:lnTo>
                  <a:cubicBezTo>
                    <a:pt x="11331" y="8449"/>
                    <a:pt x="8953" y="11504"/>
                    <a:pt x="8953" y="115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Shape 2639">
              <a:extLst>
                <a:ext uri="{FF2B5EF4-FFF2-40B4-BE49-F238E27FC236}">
                  <a16:creationId xmlns:a16="http://schemas.microsoft.com/office/drawing/2014/main" id="{53370873-DAAC-472F-B814-F87F30E22C85}"/>
                </a:ext>
              </a:extLst>
            </p:cNvPr>
            <p:cNvSpPr/>
            <p:nvPr/>
          </p:nvSpPr>
          <p:spPr bwMode="gray">
            <a:xfrm>
              <a:off x="1720965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3086"/>
                  </a:moveTo>
                  <a:cubicBezTo>
                    <a:pt x="12984" y="3086"/>
                    <a:pt x="12764" y="3432"/>
                    <a:pt x="12764" y="3857"/>
                  </a:cubicBezTo>
                  <a:cubicBezTo>
                    <a:pt x="12764" y="4284"/>
                    <a:pt x="12984" y="4629"/>
                    <a:pt x="13255" y="4629"/>
                  </a:cubicBezTo>
                  <a:cubicBezTo>
                    <a:pt x="13525" y="4629"/>
                    <a:pt x="13745" y="4284"/>
                    <a:pt x="13745" y="3857"/>
                  </a:cubicBezTo>
                  <a:cubicBezTo>
                    <a:pt x="13745" y="3432"/>
                    <a:pt x="13525" y="3086"/>
                    <a:pt x="13255" y="3086"/>
                  </a:cubicBezTo>
                  <a:moveTo>
                    <a:pt x="20618" y="16495"/>
                  </a:moveTo>
                  <a:lnTo>
                    <a:pt x="15709" y="12638"/>
                  </a:lnTo>
                  <a:lnTo>
                    <a:pt x="15709" y="8963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4727" y="16971"/>
                  </a:moveTo>
                  <a:lnTo>
                    <a:pt x="982" y="169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3745" y="1543"/>
                  </a:lnTo>
                  <a:cubicBezTo>
                    <a:pt x="14287" y="1543"/>
                    <a:pt x="14727" y="2234"/>
                    <a:pt x="14727" y="3086"/>
                  </a:cubicBezTo>
                  <a:cubicBezTo>
                    <a:pt x="14727" y="3086"/>
                    <a:pt x="14727" y="16971"/>
                    <a:pt x="14727" y="16971"/>
                  </a:cubicBezTo>
                  <a:close/>
                  <a:moveTo>
                    <a:pt x="13745" y="20057"/>
                  </a:move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14727" y="18514"/>
                  </a:lnTo>
                  <a:cubicBezTo>
                    <a:pt x="14727" y="19367"/>
                    <a:pt x="14287" y="20057"/>
                    <a:pt x="13745" y="20057"/>
                  </a:cubicBezTo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5709" y="7237"/>
                  </a:lnTo>
                  <a:lnTo>
                    <a:pt x="15709" y="3086"/>
                  </a:lnTo>
                  <a:cubicBezTo>
                    <a:pt x="15709" y="1382"/>
                    <a:pt x="14830" y="0"/>
                    <a:pt x="13745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3745" y="21600"/>
                  </a:lnTo>
                  <a:cubicBezTo>
                    <a:pt x="14830" y="21600"/>
                    <a:pt x="15709" y="20219"/>
                    <a:pt x="15709" y="18514"/>
                  </a:cubicBezTo>
                  <a:lnTo>
                    <a:pt x="15709" y="14363"/>
                  </a:lnTo>
                  <a:lnTo>
                    <a:pt x="20890" y="18433"/>
                  </a:lnTo>
                  <a:lnTo>
                    <a:pt x="20892" y="18427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70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0309" y="6171"/>
                  </a:moveTo>
                  <a:cubicBezTo>
                    <a:pt x="10038" y="6171"/>
                    <a:pt x="9818" y="5827"/>
                    <a:pt x="9818" y="5400"/>
                  </a:cubicBezTo>
                  <a:cubicBezTo>
                    <a:pt x="9818" y="4974"/>
                    <a:pt x="10038" y="4629"/>
                    <a:pt x="10309" y="4629"/>
                  </a:cubicBezTo>
                  <a:cubicBezTo>
                    <a:pt x="10580" y="4629"/>
                    <a:pt x="10800" y="4974"/>
                    <a:pt x="10800" y="5400"/>
                  </a:cubicBezTo>
                  <a:cubicBezTo>
                    <a:pt x="10800" y="5827"/>
                    <a:pt x="10580" y="6171"/>
                    <a:pt x="10309" y="6171"/>
                  </a:cubicBezTo>
                  <a:moveTo>
                    <a:pt x="10309" y="3086"/>
                  </a:moveTo>
                  <a:cubicBezTo>
                    <a:pt x="9496" y="3086"/>
                    <a:pt x="8836" y="4123"/>
                    <a:pt x="8836" y="5400"/>
                  </a:cubicBezTo>
                  <a:cubicBezTo>
                    <a:pt x="8836" y="6678"/>
                    <a:pt x="9496" y="7714"/>
                    <a:pt x="10309" y="7714"/>
                  </a:cubicBezTo>
                  <a:cubicBezTo>
                    <a:pt x="11123" y="7714"/>
                    <a:pt x="11782" y="6678"/>
                    <a:pt x="11782" y="5400"/>
                  </a:cubicBezTo>
                  <a:cubicBezTo>
                    <a:pt x="11782" y="4123"/>
                    <a:pt x="11123" y="3086"/>
                    <a:pt x="10309" y="308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Shape 2640">
              <a:extLst>
                <a:ext uri="{FF2B5EF4-FFF2-40B4-BE49-F238E27FC236}">
                  <a16:creationId xmlns:a16="http://schemas.microsoft.com/office/drawing/2014/main" id="{59340E49-60D2-4FC7-A911-4BE60AED3157}"/>
                </a:ext>
              </a:extLst>
            </p:cNvPr>
            <p:cNvSpPr/>
            <p:nvPr/>
          </p:nvSpPr>
          <p:spPr bwMode="gray">
            <a:xfrm>
              <a:off x="2272679" y="1800703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495"/>
                  </a:moveTo>
                  <a:lnTo>
                    <a:pt x="19636" y="15723"/>
                  </a:lnTo>
                  <a:lnTo>
                    <a:pt x="19636" y="5877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8655" y="14952"/>
                  </a:moveTo>
                  <a:lnTo>
                    <a:pt x="16691" y="13409"/>
                  </a:lnTo>
                  <a:lnTo>
                    <a:pt x="16691" y="8191"/>
                  </a:lnTo>
                  <a:lnTo>
                    <a:pt x="18655" y="6648"/>
                  </a:lnTo>
                  <a:cubicBezTo>
                    <a:pt x="18655" y="6648"/>
                    <a:pt x="18655" y="14952"/>
                    <a:pt x="18655" y="14952"/>
                  </a:cubicBezTo>
                  <a:close/>
                  <a:moveTo>
                    <a:pt x="15709" y="6171"/>
                  </a:moveTo>
                  <a:lnTo>
                    <a:pt x="982" y="61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4727" y="1543"/>
                  </a:lnTo>
                  <a:cubicBezTo>
                    <a:pt x="15269" y="1543"/>
                    <a:pt x="15709" y="2234"/>
                    <a:pt x="15709" y="3086"/>
                  </a:cubicBezTo>
                  <a:cubicBezTo>
                    <a:pt x="15709" y="3086"/>
                    <a:pt x="15709" y="6171"/>
                    <a:pt x="15709" y="6171"/>
                  </a:cubicBezTo>
                  <a:close/>
                  <a:moveTo>
                    <a:pt x="15709" y="18514"/>
                  </a:moveTo>
                  <a:cubicBezTo>
                    <a:pt x="15709" y="19367"/>
                    <a:pt x="15269" y="20057"/>
                    <a:pt x="14727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7714"/>
                  </a:lnTo>
                  <a:lnTo>
                    <a:pt x="15709" y="7714"/>
                  </a:lnTo>
                  <a:cubicBezTo>
                    <a:pt x="15709" y="7714"/>
                    <a:pt x="15709" y="18514"/>
                    <a:pt x="15709" y="18514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6691" y="6467"/>
                  </a:lnTo>
                  <a:lnTo>
                    <a:pt x="16691" y="3086"/>
                  </a:lnTo>
                  <a:cubicBezTo>
                    <a:pt x="16691" y="1382"/>
                    <a:pt x="15812" y="0"/>
                    <a:pt x="14727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219"/>
                    <a:pt x="16691" y="18514"/>
                  </a:cubicBezTo>
                  <a:lnTo>
                    <a:pt x="16691" y="15134"/>
                  </a:ln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2273" y="3086"/>
                  </a:moveTo>
                  <a:cubicBezTo>
                    <a:pt x="12002" y="3086"/>
                    <a:pt x="11782" y="3432"/>
                    <a:pt x="11782" y="3857"/>
                  </a:cubicBezTo>
                  <a:cubicBezTo>
                    <a:pt x="11782" y="4284"/>
                    <a:pt x="12002" y="4629"/>
                    <a:pt x="12273" y="4629"/>
                  </a:cubicBezTo>
                  <a:cubicBezTo>
                    <a:pt x="12544" y="4629"/>
                    <a:pt x="12764" y="4284"/>
                    <a:pt x="12764" y="3857"/>
                  </a:cubicBezTo>
                  <a:cubicBezTo>
                    <a:pt x="12764" y="3432"/>
                    <a:pt x="12544" y="3086"/>
                    <a:pt x="12273" y="3086"/>
                  </a:cubicBezTo>
                  <a:moveTo>
                    <a:pt x="14236" y="3086"/>
                  </a:moveTo>
                  <a:cubicBezTo>
                    <a:pt x="13966" y="3086"/>
                    <a:pt x="13745" y="3432"/>
                    <a:pt x="13745" y="3857"/>
                  </a:cubicBezTo>
                  <a:cubicBezTo>
                    <a:pt x="13745" y="4284"/>
                    <a:pt x="13966" y="4629"/>
                    <a:pt x="14236" y="4629"/>
                  </a:cubicBezTo>
                  <a:cubicBezTo>
                    <a:pt x="14507" y="4629"/>
                    <a:pt x="14727" y="4284"/>
                    <a:pt x="14727" y="3857"/>
                  </a:cubicBezTo>
                  <a:cubicBezTo>
                    <a:pt x="14727" y="3432"/>
                    <a:pt x="14507" y="3086"/>
                    <a:pt x="14236" y="3086"/>
                  </a:cubicBezTo>
                  <a:moveTo>
                    <a:pt x="5400" y="10800"/>
                  </a:moveTo>
                  <a:cubicBezTo>
                    <a:pt x="6214" y="10800"/>
                    <a:pt x="6873" y="11837"/>
                    <a:pt x="6873" y="13114"/>
                  </a:cubicBezTo>
                  <a:cubicBezTo>
                    <a:pt x="6873" y="14393"/>
                    <a:pt x="6214" y="15429"/>
                    <a:pt x="5400" y="15429"/>
                  </a:cubicBezTo>
                  <a:cubicBezTo>
                    <a:pt x="4586" y="15429"/>
                    <a:pt x="3927" y="14393"/>
                    <a:pt x="3927" y="13114"/>
                  </a:cubicBezTo>
                  <a:cubicBezTo>
                    <a:pt x="3927" y="11837"/>
                    <a:pt x="4586" y="10800"/>
                    <a:pt x="5400" y="10800"/>
                  </a:cubicBezTo>
                  <a:moveTo>
                    <a:pt x="11291" y="10800"/>
                  </a:moveTo>
                  <a:cubicBezTo>
                    <a:pt x="12104" y="10800"/>
                    <a:pt x="12764" y="11837"/>
                    <a:pt x="12764" y="13114"/>
                  </a:cubicBezTo>
                  <a:cubicBezTo>
                    <a:pt x="12764" y="14393"/>
                    <a:pt x="12104" y="15429"/>
                    <a:pt x="11291" y="15429"/>
                  </a:cubicBezTo>
                  <a:cubicBezTo>
                    <a:pt x="10477" y="15429"/>
                    <a:pt x="9818" y="14393"/>
                    <a:pt x="9818" y="13114"/>
                  </a:cubicBezTo>
                  <a:cubicBezTo>
                    <a:pt x="9818" y="11837"/>
                    <a:pt x="10477" y="10800"/>
                    <a:pt x="11291" y="10800"/>
                  </a:cubicBezTo>
                  <a:moveTo>
                    <a:pt x="5400" y="16971"/>
                  </a:moveTo>
                  <a:lnTo>
                    <a:pt x="11291" y="16971"/>
                  </a:lnTo>
                  <a:cubicBezTo>
                    <a:pt x="12647" y="16971"/>
                    <a:pt x="13745" y="15245"/>
                    <a:pt x="13745" y="13114"/>
                  </a:cubicBezTo>
                  <a:cubicBezTo>
                    <a:pt x="13745" y="10984"/>
                    <a:pt x="12647" y="9257"/>
                    <a:pt x="11291" y="9257"/>
                  </a:cubicBezTo>
                  <a:cubicBezTo>
                    <a:pt x="9935" y="9257"/>
                    <a:pt x="8836" y="10984"/>
                    <a:pt x="8836" y="13114"/>
                  </a:cubicBezTo>
                  <a:cubicBezTo>
                    <a:pt x="8836" y="13987"/>
                    <a:pt x="9028" y="14782"/>
                    <a:pt x="9338" y="15429"/>
                  </a:cubicBezTo>
                  <a:lnTo>
                    <a:pt x="7352" y="15429"/>
                  </a:lnTo>
                  <a:cubicBezTo>
                    <a:pt x="7663" y="14782"/>
                    <a:pt x="7855" y="13987"/>
                    <a:pt x="7855" y="13114"/>
                  </a:cubicBezTo>
                  <a:cubicBezTo>
                    <a:pt x="7855" y="10984"/>
                    <a:pt x="6755" y="9257"/>
                    <a:pt x="5400" y="9257"/>
                  </a:cubicBezTo>
                  <a:cubicBezTo>
                    <a:pt x="4044" y="9257"/>
                    <a:pt x="2945" y="10984"/>
                    <a:pt x="2945" y="13114"/>
                  </a:cubicBezTo>
                  <a:cubicBezTo>
                    <a:pt x="2945" y="15245"/>
                    <a:pt x="4044" y="16971"/>
                    <a:pt x="5400" y="1697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Shape 2641">
              <a:extLst>
                <a:ext uri="{FF2B5EF4-FFF2-40B4-BE49-F238E27FC236}">
                  <a16:creationId xmlns:a16="http://schemas.microsoft.com/office/drawing/2014/main" id="{442BDE2E-E463-4326-97F9-ACF3D004006A}"/>
                </a:ext>
              </a:extLst>
            </p:cNvPr>
            <p:cNvSpPr/>
            <p:nvPr/>
          </p:nvSpPr>
          <p:spPr bwMode="gray">
            <a:xfrm>
              <a:off x="2824392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06"/>
                  </a:moveTo>
                  <a:lnTo>
                    <a:pt x="16691" y="14138"/>
                  </a:lnTo>
                  <a:lnTo>
                    <a:pt x="16691" y="7462"/>
                  </a:lnTo>
                  <a:lnTo>
                    <a:pt x="20618" y="4994"/>
                  </a:lnTo>
                  <a:cubicBezTo>
                    <a:pt x="20618" y="4994"/>
                    <a:pt x="20618" y="16606"/>
                    <a:pt x="20618" y="16606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4"/>
                  </a:cubicBezTo>
                  <a:lnTo>
                    <a:pt x="20890" y="3167"/>
                  </a:lnTo>
                  <a:lnTo>
                    <a:pt x="16018" y="6229"/>
                  </a:lnTo>
                  <a:cubicBezTo>
                    <a:pt x="16013" y="6233"/>
                    <a:pt x="16008" y="6235"/>
                    <a:pt x="16003" y="6239"/>
                  </a:cubicBezTo>
                  <a:lnTo>
                    <a:pt x="15980" y="6252"/>
                  </a:lnTo>
                  <a:lnTo>
                    <a:pt x="15983" y="6260"/>
                  </a:lnTo>
                  <a:cubicBezTo>
                    <a:pt x="15822" y="6387"/>
                    <a:pt x="15709" y="6641"/>
                    <a:pt x="15709" y="6943"/>
                  </a:cubicBezTo>
                  <a:lnTo>
                    <a:pt x="15709" y="14657"/>
                  </a:lnTo>
                  <a:cubicBezTo>
                    <a:pt x="15709" y="14959"/>
                    <a:pt x="15822" y="15213"/>
                    <a:pt x="15983" y="15340"/>
                  </a:cubicBezTo>
                  <a:lnTo>
                    <a:pt x="15980" y="15347"/>
                  </a:lnTo>
                  <a:lnTo>
                    <a:pt x="16002" y="15360"/>
                  </a:lnTo>
                  <a:cubicBezTo>
                    <a:pt x="16008" y="15365"/>
                    <a:pt x="16013" y="15368"/>
                    <a:pt x="16018" y="15371"/>
                  </a:cubicBez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1"/>
                    <a:pt x="21380" y="3086"/>
                    <a:pt x="21109" y="3086"/>
                  </a:cubicBezTo>
                  <a:moveTo>
                    <a:pt x="13745" y="18514"/>
                  </a:moveTo>
                  <a:cubicBezTo>
                    <a:pt x="13745" y="19367"/>
                    <a:pt x="13306" y="20057"/>
                    <a:pt x="12764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3086"/>
                  </a:lnTo>
                  <a:cubicBezTo>
                    <a:pt x="982" y="2233"/>
                    <a:pt x="1422" y="1543"/>
                    <a:pt x="1964" y="1543"/>
                  </a:cubicBezTo>
                  <a:lnTo>
                    <a:pt x="12764" y="1543"/>
                  </a:lnTo>
                  <a:cubicBezTo>
                    <a:pt x="13306" y="1543"/>
                    <a:pt x="13745" y="2233"/>
                    <a:pt x="13745" y="3086"/>
                  </a:cubicBezTo>
                  <a:cubicBezTo>
                    <a:pt x="13745" y="3086"/>
                    <a:pt x="13745" y="18514"/>
                    <a:pt x="13745" y="18514"/>
                  </a:cubicBezTo>
                  <a:close/>
                  <a:moveTo>
                    <a:pt x="12764" y="0"/>
                  </a:move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2764" y="21600"/>
                  </a:lnTo>
                  <a:cubicBezTo>
                    <a:pt x="13848" y="21600"/>
                    <a:pt x="14727" y="20219"/>
                    <a:pt x="14727" y="18514"/>
                  </a:cubicBezTo>
                  <a:lnTo>
                    <a:pt x="14727" y="3086"/>
                  </a:lnTo>
                  <a:cubicBezTo>
                    <a:pt x="14727" y="1382"/>
                    <a:pt x="13848" y="0"/>
                    <a:pt x="12764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Shape 2642">
              <a:extLst>
                <a:ext uri="{FF2B5EF4-FFF2-40B4-BE49-F238E27FC236}">
                  <a16:creationId xmlns:a16="http://schemas.microsoft.com/office/drawing/2014/main" id="{609957C8-AFA8-4E0F-A3A4-208BD8FE0A12}"/>
                </a:ext>
              </a:extLst>
            </p:cNvPr>
            <p:cNvSpPr/>
            <p:nvPr/>
          </p:nvSpPr>
          <p:spPr bwMode="gray">
            <a:xfrm>
              <a:off x="3376106" y="177218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0800"/>
                  </a:moveTo>
                  <a:cubicBezTo>
                    <a:pt x="6653" y="10800"/>
                    <a:pt x="6873" y="10559"/>
                    <a:pt x="6873" y="10260"/>
                  </a:cubicBezTo>
                  <a:cubicBezTo>
                    <a:pt x="6873" y="9962"/>
                    <a:pt x="6653" y="9720"/>
                    <a:pt x="6382" y="9720"/>
                  </a:cubicBezTo>
                  <a:cubicBezTo>
                    <a:pt x="6110" y="9720"/>
                    <a:pt x="5891" y="9962"/>
                    <a:pt x="5891" y="10260"/>
                  </a:cubicBezTo>
                  <a:cubicBezTo>
                    <a:pt x="5891" y="10559"/>
                    <a:pt x="6110" y="10800"/>
                    <a:pt x="6382" y="10800"/>
                  </a:cubicBezTo>
                  <a:moveTo>
                    <a:pt x="3436" y="10800"/>
                  </a:moveTo>
                  <a:cubicBezTo>
                    <a:pt x="3708" y="10800"/>
                    <a:pt x="3927" y="11042"/>
                    <a:pt x="3927" y="11340"/>
                  </a:cubicBezTo>
                  <a:cubicBezTo>
                    <a:pt x="3927" y="11639"/>
                    <a:pt x="3708" y="11880"/>
                    <a:pt x="3436" y="11880"/>
                  </a:cubicBezTo>
                  <a:cubicBezTo>
                    <a:pt x="3165" y="11880"/>
                    <a:pt x="2945" y="11639"/>
                    <a:pt x="2945" y="11340"/>
                  </a:cubicBezTo>
                  <a:cubicBezTo>
                    <a:pt x="2945" y="11042"/>
                    <a:pt x="3165" y="10800"/>
                    <a:pt x="3436" y="10800"/>
                  </a:cubicBezTo>
                  <a:moveTo>
                    <a:pt x="3436" y="12960"/>
                  </a:moveTo>
                  <a:cubicBezTo>
                    <a:pt x="4249" y="12960"/>
                    <a:pt x="4909" y="12235"/>
                    <a:pt x="4909" y="11340"/>
                  </a:cubicBezTo>
                  <a:cubicBezTo>
                    <a:pt x="4909" y="10446"/>
                    <a:pt x="4249" y="9720"/>
                    <a:pt x="3436" y="9720"/>
                  </a:cubicBezTo>
                  <a:cubicBezTo>
                    <a:pt x="2623" y="9720"/>
                    <a:pt x="1964" y="10446"/>
                    <a:pt x="1964" y="11340"/>
                  </a:cubicBezTo>
                  <a:cubicBezTo>
                    <a:pt x="1964" y="12235"/>
                    <a:pt x="2623" y="12960"/>
                    <a:pt x="3436" y="12960"/>
                  </a:cubicBezTo>
                  <a:moveTo>
                    <a:pt x="14236" y="18360"/>
                  </a:moveTo>
                  <a:lnTo>
                    <a:pt x="2455" y="18360"/>
                  </a:lnTo>
                  <a:cubicBezTo>
                    <a:pt x="2183" y="18360"/>
                    <a:pt x="1964" y="18602"/>
                    <a:pt x="1964" y="18900"/>
                  </a:cubicBezTo>
                  <a:cubicBezTo>
                    <a:pt x="1964" y="19199"/>
                    <a:pt x="2183" y="19440"/>
                    <a:pt x="2455" y="19440"/>
                  </a:cubicBezTo>
                  <a:lnTo>
                    <a:pt x="14236" y="19440"/>
                  </a:lnTo>
                  <a:cubicBezTo>
                    <a:pt x="14508" y="19440"/>
                    <a:pt x="14727" y="19199"/>
                    <a:pt x="14727" y="18900"/>
                  </a:cubicBezTo>
                  <a:cubicBezTo>
                    <a:pt x="14727" y="18602"/>
                    <a:pt x="14508" y="18360"/>
                    <a:pt x="14236" y="18360"/>
                  </a:cubicBezTo>
                  <a:moveTo>
                    <a:pt x="20618" y="18105"/>
                  </a:moveTo>
                  <a:lnTo>
                    <a:pt x="16691" y="16377"/>
                  </a:lnTo>
                  <a:lnTo>
                    <a:pt x="16691" y="12784"/>
                  </a:lnTo>
                  <a:lnTo>
                    <a:pt x="20618" y="11056"/>
                  </a:lnTo>
                  <a:cubicBezTo>
                    <a:pt x="20618" y="11056"/>
                    <a:pt x="20618" y="18105"/>
                    <a:pt x="20618" y="18105"/>
                  </a:cubicBezTo>
                  <a:close/>
                  <a:moveTo>
                    <a:pt x="15709" y="19440"/>
                  </a:moveTo>
                  <a:cubicBezTo>
                    <a:pt x="15709" y="20037"/>
                    <a:pt x="15269" y="20520"/>
                    <a:pt x="14727" y="20520"/>
                  </a:cubicBezTo>
                  <a:lnTo>
                    <a:pt x="1964" y="20520"/>
                  </a:lnTo>
                  <a:cubicBezTo>
                    <a:pt x="1422" y="20520"/>
                    <a:pt x="982" y="20037"/>
                    <a:pt x="982" y="19440"/>
                  </a:cubicBezTo>
                  <a:lnTo>
                    <a:pt x="982" y="9720"/>
                  </a:lnTo>
                  <a:cubicBezTo>
                    <a:pt x="982" y="9124"/>
                    <a:pt x="1422" y="8640"/>
                    <a:pt x="1964" y="8640"/>
                  </a:cubicBezTo>
                  <a:lnTo>
                    <a:pt x="14727" y="8640"/>
                  </a:lnTo>
                  <a:cubicBezTo>
                    <a:pt x="15269" y="8640"/>
                    <a:pt x="15709" y="9124"/>
                    <a:pt x="15709" y="9720"/>
                  </a:cubicBezTo>
                  <a:cubicBezTo>
                    <a:pt x="15709" y="9720"/>
                    <a:pt x="15709" y="19440"/>
                    <a:pt x="15709" y="19440"/>
                  </a:cubicBezTo>
                  <a:close/>
                  <a:moveTo>
                    <a:pt x="1964" y="4320"/>
                  </a:moveTo>
                  <a:cubicBezTo>
                    <a:pt x="1964" y="2531"/>
                    <a:pt x="3282" y="1080"/>
                    <a:pt x="4909" y="1080"/>
                  </a:cubicBezTo>
                  <a:cubicBezTo>
                    <a:pt x="6536" y="1080"/>
                    <a:pt x="7855" y="2531"/>
                    <a:pt x="7855" y="4320"/>
                  </a:cubicBezTo>
                  <a:cubicBezTo>
                    <a:pt x="7855" y="6110"/>
                    <a:pt x="6536" y="7560"/>
                    <a:pt x="4909" y="7560"/>
                  </a:cubicBezTo>
                  <a:cubicBezTo>
                    <a:pt x="3282" y="7560"/>
                    <a:pt x="1964" y="6110"/>
                    <a:pt x="1964" y="4320"/>
                  </a:cubicBezTo>
                  <a:moveTo>
                    <a:pt x="9190" y="7560"/>
                  </a:moveTo>
                  <a:lnTo>
                    <a:pt x="7501" y="7560"/>
                  </a:lnTo>
                  <a:cubicBezTo>
                    <a:pt x="7839" y="7233"/>
                    <a:pt x="8122" y="6840"/>
                    <a:pt x="8342" y="6404"/>
                  </a:cubicBezTo>
                  <a:cubicBezTo>
                    <a:pt x="8562" y="6842"/>
                    <a:pt x="8851" y="7232"/>
                    <a:pt x="9190" y="7560"/>
                  </a:cubicBezTo>
                  <a:moveTo>
                    <a:pt x="11782" y="1080"/>
                  </a:moveTo>
                  <a:cubicBezTo>
                    <a:pt x="13409" y="1080"/>
                    <a:pt x="14727" y="2531"/>
                    <a:pt x="14727" y="4320"/>
                  </a:cubicBezTo>
                  <a:cubicBezTo>
                    <a:pt x="14727" y="6110"/>
                    <a:pt x="13409" y="7560"/>
                    <a:pt x="11782" y="7560"/>
                  </a:cubicBezTo>
                  <a:cubicBezTo>
                    <a:pt x="10155" y="7560"/>
                    <a:pt x="8836" y="6110"/>
                    <a:pt x="8836" y="4320"/>
                  </a:cubicBezTo>
                  <a:cubicBezTo>
                    <a:pt x="8836" y="2531"/>
                    <a:pt x="10155" y="1080"/>
                    <a:pt x="11782" y="1080"/>
                  </a:cubicBezTo>
                  <a:moveTo>
                    <a:pt x="21109" y="9720"/>
                  </a:moveTo>
                  <a:cubicBezTo>
                    <a:pt x="21030" y="9720"/>
                    <a:pt x="20958" y="9745"/>
                    <a:pt x="20892" y="9782"/>
                  </a:cubicBezTo>
                  <a:lnTo>
                    <a:pt x="20890" y="9777"/>
                  </a:lnTo>
                  <a:lnTo>
                    <a:pt x="16691" y="11625"/>
                  </a:lnTo>
                  <a:lnTo>
                    <a:pt x="16691" y="9720"/>
                  </a:lnTo>
                  <a:cubicBezTo>
                    <a:pt x="16691" y="8527"/>
                    <a:pt x="15812" y="7560"/>
                    <a:pt x="14727" y="7560"/>
                  </a:cubicBezTo>
                  <a:lnTo>
                    <a:pt x="14373" y="7560"/>
                  </a:lnTo>
                  <a:cubicBezTo>
                    <a:pt x="15191" y="6768"/>
                    <a:pt x="15709" y="5612"/>
                    <a:pt x="15709" y="4320"/>
                  </a:cubicBezTo>
                  <a:cubicBezTo>
                    <a:pt x="15709" y="1934"/>
                    <a:pt x="13951" y="0"/>
                    <a:pt x="11782" y="0"/>
                  </a:cubicBezTo>
                  <a:cubicBezTo>
                    <a:pt x="10302" y="0"/>
                    <a:pt x="9015" y="901"/>
                    <a:pt x="8345" y="2231"/>
                  </a:cubicBezTo>
                  <a:cubicBezTo>
                    <a:pt x="7676" y="901"/>
                    <a:pt x="6389" y="0"/>
                    <a:pt x="4909" y="0"/>
                  </a:cubicBezTo>
                  <a:cubicBezTo>
                    <a:pt x="2740" y="0"/>
                    <a:pt x="982" y="1934"/>
                    <a:pt x="982" y="4320"/>
                  </a:cubicBezTo>
                  <a:cubicBezTo>
                    <a:pt x="982" y="5612"/>
                    <a:pt x="1501" y="6768"/>
                    <a:pt x="2317" y="7560"/>
                  </a:cubicBezTo>
                  <a:lnTo>
                    <a:pt x="1964" y="7560"/>
                  </a:lnTo>
                  <a:cubicBezTo>
                    <a:pt x="879" y="7560"/>
                    <a:pt x="0" y="8527"/>
                    <a:pt x="0" y="9720"/>
                  </a:cubicBezTo>
                  <a:lnTo>
                    <a:pt x="0" y="19440"/>
                  </a:lnTo>
                  <a:cubicBezTo>
                    <a:pt x="0" y="20633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633"/>
                    <a:pt x="16691" y="19440"/>
                  </a:cubicBezTo>
                  <a:lnTo>
                    <a:pt x="16691" y="17536"/>
                  </a:lnTo>
                  <a:lnTo>
                    <a:pt x="20890" y="19383"/>
                  </a:lnTo>
                  <a:lnTo>
                    <a:pt x="20891" y="19379"/>
                  </a:lnTo>
                  <a:cubicBezTo>
                    <a:pt x="20958" y="19415"/>
                    <a:pt x="21030" y="19440"/>
                    <a:pt x="21109" y="19440"/>
                  </a:cubicBezTo>
                  <a:cubicBezTo>
                    <a:pt x="21380" y="19440"/>
                    <a:pt x="21600" y="19199"/>
                    <a:pt x="21600" y="18900"/>
                  </a:cubicBezTo>
                  <a:lnTo>
                    <a:pt x="21600" y="10260"/>
                  </a:lnTo>
                  <a:cubicBezTo>
                    <a:pt x="21600" y="9962"/>
                    <a:pt x="21380" y="9720"/>
                    <a:pt x="21109" y="9720"/>
                  </a:cubicBezTo>
                  <a:moveTo>
                    <a:pt x="11782" y="5400"/>
                  </a:moveTo>
                  <a:cubicBezTo>
                    <a:pt x="12324" y="5400"/>
                    <a:pt x="12764" y="4916"/>
                    <a:pt x="12764" y="4320"/>
                  </a:cubicBezTo>
                  <a:cubicBezTo>
                    <a:pt x="12764" y="3724"/>
                    <a:pt x="12324" y="3240"/>
                    <a:pt x="11782" y="3240"/>
                  </a:cubicBezTo>
                  <a:cubicBezTo>
                    <a:pt x="11240" y="3240"/>
                    <a:pt x="10800" y="3724"/>
                    <a:pt x="10800" y="4320"/>
                  </a:cubicBezTo>
                  <a:cubicBezTo>
                    <a:pt x="10800" y="4916"/>
                    <a:pt x="11240" y="5400"/>
                    <a:pt x="11782" y="5400"/>
                  </a:cubicBezTo>
                  <a:moveTo>
                    <a:pt x="4909" y="5400"/>
                  </a:moveTo>
                  <a:cubicBezTo>
                    <a:pt x="5451" y="5400"/>
                    <a:pt x="5891" y="4916"/>
                    <a:pt x="5891" y="4320"/>
                  </a:cubicBezTo>
                  <a:cubicBezTo>
                    <a:pt x="5891" y="3724"/>
                    <a:pt x="5451" y="3240"/>
                    <a:pt x="4909" y="3240"/>
                  </a:cubicBezTo>
                  <a:cubicBezTo>
                    <a:pt x="4367" y="3240"/>
                    <a:pt x="3927" y="3724"/>
                    <a:pt x="3927" y="4320"/>
                  </a:cubicBezTo>
                  <a:cubicBezTo>
                    <a:pt x="3927" y="4916"/>
                    <a:pt x="4367" y="5400"/>
                    <a:pt x="4909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Shape 2643">
              <a:extLst>
                <a:ext uri="{FF2B5EF4-FFF2-40B4-BE49-F238E27FC236}">
                  <a16:creationId xmlns:a16="http://schemas.microsoft.com/office/drawing/2014/main" id="{72049E7D-F5C6-464E-AC04-4F71A7A201C4}"/>
                </a:ext>
              </a:extLst>
            </p:cNvPr>
            <p:cNvSpPr/>
            <p:nvPr/>
          </p:nvSpPr>
          <p:spPr bwMode="gray">
            <a:xfrm>
              <a:off x="3993500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00" y="1473"/>
                  </a:moveTo>
                  <a:lnTo>
                    <a:pt x="9900" y="1473"/>
                  </a:lnTo>
                  <a:cubicBezTo>
                    <a:pt x="9403" y="1473"/>
                    <a:pt x="9000" y="1692"/>
                    <a:pt x="9000" y="1964"/>
                  </a:cubicBezTo>
                  <a:cubicBezTo>
                    <a:pt x="9000" y="2235"/>
                    <a:pt x="9403" y="2455"/>
                    <a:pt x="9900" y="2455"/>
                  </a:cubicBezTo>
                  <a:lnTo>
                    <a:pt x="11700" y="2455"/>
                  </a:lnTo>
                  <a:cubicBezTo>
                    <a:pt x="12197" y="2455"/>
                    <a:pt x="12600" y="2235"/>
                    <a:pt x="12600" y="1964"/>
                  </a:cubicBezTo>
                  <a:cubicBezTo>
                    <a:pt x="12600" y="1692"/>
                    <a:pt x="12197" y="1473"/>
                    <a:pt x="11700" y="1473"/>
                  </a:cubicBezTo>
                  <a:moveTo>
                    <a:pt x="19800" y="2945"/>
                  </a:moveTo>
                  <a:lnTo>
                    <a:pt x="1800" y="2945"/>
                  </a:lnTo>
                  <a:lnTo>
                    <a:pt x="1800" y="1964"/>
                  </a:lnTo>
                  <a:cubicBezTo>
                    <a:pt x="1800" y="1422"/>
                    <a:pt x="2605" y="982"/>
                    <a:pt x="3600" y="982"/>
                  </a:cubicBezTo>
                  <a:lnTo>
                    <a:pt x="18000" y="982"/>
                  </a:lnTo>
                  <a:cubicBezTo>
                    <a:pt x="18993" y="982"/>
                    <a:pt x="19800" y="1422"/>
                    <a:pt x="19800" y="1964"/>
                  </a:cubicBezTo>
                  <a:cubicBezTo>
                    <a:pt x="19800" y="1964"/>
                    <a:pt x="19800" y="2945"/>
                    <a:pt x="19800" y="2945"/>
                  </a:cubicBezTo>
                  <a:close/>
                  <a:moveTo>
                    <a:pt x="19800" y="17673"/>
                  </a:moveTo>
                  <a:lnTo>
                    <a:pt x="1800" y="17673"/>
                  </a:lnTo>
                  <a:lnTo>
                    <a:pt x="1800" y="3927"/>
                  </a:lnTo>
                  <a:lnTo>
                    <a:pt x="19800" y="3927"/>
                  </a:lnTo>
                  <a:cubicBezTo>
                    <a:pt x="19800" y="3927"/>
                    <a:pt x="19800" y="17673"/>
                    <a:pt x="19800" y="17673"/>
                  </a:cubicBezTo>
                  <a:close/>
                  <a:moveTo>
                    <a:pt x="19800" y="19636"/>
                  </a:moveTo>
                  <a:cubicBezTo>
                    <a:pt x="19800" y="20179"/>
                    <a:pt x="18993" y="20618"/>
                    <a:pt x="18000" y="20618"/>
                  </a:cubicBezTo>
                  <a:lnTo>
                    <a:pt x="3600" y="20618"/>
                  </a:lnTo>
                  <a:cubicBezTo>
                    <a:pt x="2605" y="20618"/>
                    <a:pt x="1800" y="20179"/>
                    <a:pt x="1800" y="19636"/>
                  </a:cubicBezTo>
                  <a:lnTo>
                    <a:pt x="1800" y="18655"/>
                  </a:lnTo>
                  <a:lnTo>
                    <a:pt x="19800" y="18655"/>
                  </a:lnTo>
                  <a:cubicBezTo>
                    <a:pt x="19800" y="18655"/>
                    <a:pt x="19800" y="19636"/>
                    <a:pt x="19800" y="19636"/>
                  </a:cubicBezTo>
                  <a:close/>
                  <a:moveTo>
                    <a:pt x="18000" y="0"/>
                  </a:moveTo>
                  <a:lnTo>
                    <a:pt x="3600" y="0"/>
                  </a:lnTo>
                  <a:cubicBezTo>
                    <a:pt x="1612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612" y="21600"/>
                    <a:pt x="3600" y="21600"/>
                  </a:cubicBezTo>
                  <a:lnTo>
                    <a:pt x="18000" y="21600"/>
                  </a:lnTo>
                  <a:cubicBezTo>
                    <a:pt x="19988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19988" y="0"/>
                    <a:pt x="18000" y="0"/>
                  </a:cubicBezTo>
                  <a:moveTo>
                    <a:pt x="10800" y="20127"/>
                  </a:moveTo>
                  <a:cubicBezTo>
                    <a:pt x="11297" y="20127"/>
                    <a:pt x="11700" y="19908"/>
                    <a:pt x="11700" y="19636"/>
                  </a:cubicBezTo>
                  <a:cubicBezTo>
                    <a:pt x="11700" y="19366"/>
                    <a:pt x="11297" y="19145"/>
                    <a:pt x="10800" y="19145"/>
                  </a:cubicBezTo>
                  <a:cubicBezTo>
                    <a:pt x="10303" y="19145"/>
                    <a:pt x="9900" y="19366"/>
                    <a:pt x="9900" y="19636"/>
                  </a:cubicBezTo>
                  <a:cubicBezTo>
                    <a:pt x="9900" y="19908"/>
                    <a:pt x="10303" y="20127"/>
                    <a:pt x="10800" y="201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Shape 2644">
              <a:extLst>
                <a:ext uri="{FF2B5EF4-FFF2-40B4-BE49-F238E27FC236}">
                  <a16:creationId xmlns:a16="http://schemas.microsoft.com/office/drawing/2014/main" id="{1831D2FD-96EB-4450-92B2-58492C843F8D}"/>
                </a:ext>
              </a:extLst>
            </p:cNvPr>
            <p:cNvSpPr/>
            <p:nvPr/>
          </p:nvSpPr>
          <p:spPr bwMode="gray">
            <a:xfrm>
              <a:off x="4518941" y="175904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9636"/>
                  </a:moveTo>
                  <a:cubicBezTo>
                    <a:pt x="20250" y="20179"/>
                    <a:pt x="19645" y="20618"/>
                    <a:pt x="18900" y="20618"/>
                  </a:cubicBezTo>
                  <a:lnTo>
                    <a:pt x="2700" y="20618"/>
                  </a:lnTo>
                  <a:cubicBezTo>
                    <a:pt x="1954" y="20618"/>
                    <a:pt x="1350" y="20179"/>
                    <a:pt x="1350" y="19636"/>
                  </a:cubicBezTo>
                  <a:lnTo>
                    <a:pt x="1350" y="1964"/>
                  </a:lnTo>
                  <a:cubicBezTo>
                    <a:pt x="1350" y="1422"/>
                    <a:pt x="1954" y="982"/>
                    <a:pt x="2700" y="982"/>
                  </a:cubicBezTo>
                  <a:lnTo>
                    <a:pt x="18900" y="982"/>
                  </a:lnTo>
                  <a:cubicBezTo>
                    <a:pt x="19645" y="982"/>
                    <a:pt x="20250" y="1422"/>
                    <a:pt x="20250" y="1964"/>
                  </a:cubicBezTo>
                  <a:cubicBezTo>
                    <a:pt x="20250" y="1964"/>
                    <a:pt x="20250" y="19636"/>
                    <a:pt x="20250" y="19636"/>
                  </a:cubicBezTo>
                  <a:close/>
                  <a:moveTo>
                    <a:pt x="18900" y="0"/>
                  </a:moveTo>
                  <a:lnTo>
                    <a:pt x="2700" y="0"/>
                  </a:lnTo>
                  <a:cubicBezTo>
                    <a:pt x="120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209" y="21600"/>
                    <a:pt x="2700" y="21600"/>
                  </a:cubicBezTo>
                  <a:lnTo>
                    <a:pt x="18900" y="21600"/>
                  </a:lnTo>
                  <a:cubicBezTo>
                    <a:pt x="2039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391" y="0"/>
                    <a:pt x="18900" y="0"/>
                  </a:cubicBezTo>
                  <a:moveTo>
                    <a:pt x="4050" y="3927"/>
                  </a:moveTo>
                  <a:lnTo>
                    <a:pt x="17550" y="3927"/>
                  </a:lnTo>
                  <a:lnTo>
                    <a:pt x="17550" y="17673"/>
                  </a:lnTo>
                  <a:lnTo>
                    <a:pt x="4050" y="17673"/>
                  </a:lnTo>
                  <a:cubicBezTo>
                    <a:pt x="4050" y="17673"/>
                    <a:pt x="4050" y="3927"/>
                    <a:pt x="4050" y="3927"/>
                  </a:cubicBezTo>
                  <a:close/>
                  <a:moveTo>
                    <a:pt x="2700" y="18655"/>
                  </a:moveTo>
                  <a:lnTo>
                    <a:pt x="18900" y="18655"/>
                  </a:lnTo>
                  <a:lnTo>
                    <a:pt x="18900" y="2945"/>
                  </a:lnTo>
                  <a:lnTo>
                    <a:pt x="2700" y="2945"/>
                  </a:lnTo>
                  <a:cubicBezTo>
                    <a:pt x="2700" y="2945"/>
                    <a:pt x="2700" y="18655"/>
                    <a:pt x="2700" y="18655"/>
                  </a:cubicBezTo>
                  <a:close/>
                  <a:moveTo>
                    <a:pt x="10125" y="2455"/>
                  </a:moveTo>
                  <a:lnTo>
                    <a:pt x="11475" y="2455"/>
                  </a:lnTo>
                  <a:cubicBezTo>
                    <a:pt x="11848" y="2455"/>
                    <a:pt x="12150" y="2235"/>
                    <a:pt x="12150" y="1964"/>
                  </a:cubicBezTo>
                  <a:cubicBezTo>
                    <a:pt x="12150" y="1692"/>
                    <a:pt x="11848" y="1473"/>
                    <a:pt x="11475" y="1473"/>
                  </a:cubicBezTo>
                  <a:lnTo>
                    <a:pt x="10125" y="1473"/>
                  </a:lnTo>
                  <a:cubicBezTo>
                    <a:pt x="9752" y="1473"/>
                    <a:pt x="9450" y="1692"/>
                    <a:pt x="9450" y="1964"/>
                  </a:cubicBezTo>
                  <a:cubicBezTo>
                    <a:pt x="9450" y="2235"/>
                    <a:pt x="9752" y="2455"/>
                    <a:pt x="10125" y="2455"/>
                  </a:cubicBezTo>
                  <a:moveTo>
                    <a:pt x="10800" y="19145"/>
                  </a:moveTo>
                  <a:cubicBezTo>
                    <a:pt x="10427" y="19145"/>
                    <a:pt x="10125" y="19366"/>
                    <a:pt x="10125" y="19636"/>
                  </a:cubicBezTo>
                  <a:cubicBezTo>
                    <a:pt x="10125" y="19908"/>
                    <a:pt x="10427" y="20127"/>
                    <a:pt x="10800" y="20127"/>
                  </a:cubicBezTo>
                  <a:cubicBezTo>
                    <a:pt x="11173" y="20127"/>
                    <a:pt x="11475" y="19908"/>
                    <a:pt x="11475" y="19636"/>
                  </a:cubicBezTo>
                  <a:cubicBezTo>
                    <a:pt x="11475" y="19366"/>
                    <a:pt x="11173" y="19145"/>
                    <a:pt x="10800" y="191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Shape 2645">
              <a:extLst>
                <a:ext uri="{FF2B5EF4-FFF2-40B4-BE49-F238E27FC236}">
                  <a16:creationId xmlns:a16="http://schemas.microsoft.com/office/drawing/2014/main" id="{D9EC29D9-9A56-41C8-A6EF-D8AB945F25BF}"/>
                </a:ext>
              </a:extLst>
            </p:cNvPr>
            <p:cNvSpPr/>
            <p:nvPr/>
          </p:nvSpPr>
          <p:spPr bwMode="gray">
            <a:xfrm>
              <a:off x="5031247" y="179845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08" y="20250"/>
                  </a:moveTo>
                  <a:lnTo>
                    <a:pt x="2740" y="17504"/>
                  </a:lnTo>
                  <a:cubicBezTo>
                    <a:pt x="2807" y="17526"/>
                    <a:pt x="2874" y="17550"/>
                    <a:pt x="2945" y="17550"/>
                  </a:cubicBezTo>
                  <a:lnTo>
                    <a:pt x="18655" y="17550"/>
                  </a:lnTo>
                  <a:cubicBezTo>
                    <a:pt x="18726" y="17550"/>
                    <a:pt x="18793" y="17526"/>
                    <a:pt x="18860" y="17504"/>
                  </a:cubicBezTo>
                  <a:lnTo>
                    <a:pt x="20192" y="20250"/>
                  </a:lnTo>
                  <a:cubicBezTo>
                    <a:pt x="20192" y="20250"/>
                    <a:pt x="1408" y="20250"/>
                    <a:pt x="1408" y="20250"/>
                  </a:cubicBezTo>
                  <a:close/>
                  <a:moveTo>
                    <a:pt x="2945" y="1350"/>
                  </a:moveTo>
                  <a:lnTo>
                    <a:pt x="18655" y="1350"/>
                  </a:lnTo>
                  <a:lnTo>
                    <a:pt x="18655" y="16200"/>
                  </a:lnTo>
                  <a:lnTo>
                    <a:pt x="2945" y="16200"/>
                  </a:lnTo>
                  <a:cubicBezTo>
                    <a:pt x="2945" y="16200"/>
                    <a:pt x="2945" y="1350"/>
                    <a:pt x="2945" y="1350"/>
                  </a:cubicBezTo>
                  <a:close/>
                  <a:moveTo>
                    <a:pt x="21510" y="20558"/>
                  </a:moveTo>
                  <a:lnTo>
                    <a:pt x="21518" y="20551"/>
                  </a:lnTo>
                  <a:lnTo>
                    <a:pt x="19591" y="16577"/>
                  </a:lnTo>
                  <a:cubicBezTo>
                    <a:pt x="19617" y="16457"/>
                    <a:pt x="19636" y="16332"/>
                    <a:pt x="19636" y="16200"/>
                  </a:cubicBezTo>
                  <a:lnTo>
                    <a:pt x="19636" y="1350"/>
                  </a:lnTo>
                  <a:cubicBezTo>
                    <a:pt x="19636" y="605"/>
                    <a:pt x="19197" y="0"/>
                    <a:pt x="18655" y="0"/>
                  </a:cubicBezTo>
                  <a:lnTo>
                    <a:pt x="2945" y="0"/>
                  </a:lnTo>
                  <a:cubicBezTo>
                    <a:pt x="2403" y="0"/>
                    <a:pt x="1964" y="605"/>
                    <a:pt x="1964" y="1350"/>
                  </a:cubicBezTo>
                  <a:lnTo>
                    <a:pt x="1964" y="16200"/>
                  </a:lnTo>
                  <a:cubicBezTo>
                    <a:pt x="1964" y="16332"/>
                    <a:pt x="1983" y="16457"/>
                    <a:pt x="2009" y="16577"/>
                  </a:cubicBezTo>
                  <a:lnTo>
                    <a:pt x="82" y="20551"/>
                  </a:lnTo>
                  <a:lnTo>
                    <a:pt x="90" y="20558"/>
                  </a:lnTo>
                  <a:cubicBezTo>
                    <a:pt x="38" y="20665"/>
                    <a:pt x="0" y="20787"/>
                    <a:pt x="0" y="20925"/>
                  </a:cubicBezTo>
                  <a:cubicBezTo>
                    <a:pt x="0" y="21298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298"/>
                    <a:pt x="21600" y="20925"/>
                  </a:cubicBezTo>
                  <a:cubicBezTo>
                    <a:pt x="21600" y="20787"/>
                    <a:pt x="21562" y="20665"/>
                    <a:pt x="21510" y="2055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Shape 2646">
              <a:extLst>
                <a:ext uri="{FF2B5EF4-FFF2-40B4-BE49-F238E27FC236}">
                  <a16:creationId xmlns:a16="http://schemas.microsoft.com/office/drawing/2014/main" id="{DCA47A19-C94F-4CB9-B190-47F0690FE5BC}"/>
                </a:ext>
              </a:extLst>
            </p:cNvPr>
            <p:cNvSpPr/>
            <p:nvPr/>
          </p:nvSpPr>
          <p:spPr bwMode="gray">
            <a:xfrm>
              <a:off x="5582960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1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8" y="21600"/>
                    <a:pt x="14727" y="21381"/>
                    <a:pt x="14727" y="21109"/>
                  </a:cubicBezTo>
                  <a:cubicBezTo>
                    <a:pt x="14727" y="20838"/>
                    <a:pt x="14508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Shape 2647">
              <a:extLst>
                <a:ext uri="{FF2B5EF4-FFF2-40B4-BE49-F238E27FC236}">
                  <a16:creationId xmlns:a16="http://schemas.microsoft.com/office/drawing/2014/main" id="{6DEB15C3-74CC-476D-BA66-5D8BDFDF50CF}"/>
                </a:ext>
              </a:extLst>
            </p:cNvPr>
            <p:cNvSpPr/>
            <p:nvPr/>
          </p:nvSpPr>
          <p:spPr bwMode="gray">
            <a:xfrm>
              <a:off x="61753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773" y="5201"/>
                  </a:moveTo>
                  <a:cubicBezTo>
                    <a:pt x="10712" y="5093"/>
                    <a:pt x="10614" y="5023"/>
                    <a:pt x="10504" y="4986"/>
                  </a:cubicBezTo>
                  <a:lnTo>
                    <a:pt x="10517" y="4938"/>
                  </a:lnTo>
                  <a:cubicBezTo>
                    <a:pt x="10483" y="4941"/>
                    <a:pt x="10451" y="4949"/>
                    <a:pt x="10419" y="4957"/>
                  </a:cubicBezTo>
                  <a:lnTo>
                    <a:pt x="8464" y="4433"/>
                  </a:lnTo>
                  <a:cubicBezTo>
                    <a:pt x="8343" y="4400"/>
                    <a:pt x="8209" y="4414"/>
                    <a:pt x="8091" y="4482"/>
                  </a:cubicBezTo>
                  <a:cubicBezTo>
                    <a:pt x="7856" y="4618"/>
                    <a:pt x="7776" y="4918"/>
                    <a:pt x="7912" y="5153"/>
                  </a:cubicBezTo>
                  <a:cubicBezTo>
                    <a:pt x="7979" y="5270"/>
                    <a:pt x="8088" y="5349"/>
                    <a:pt x="8210" y="5381"/>
                  </a:cubicBezTo>
                  <a:lnTo>
                    <a:pt x="8965" y="5584"/>
                  </a:lnTo>
                  <a:cubicBezTo>
                    <a:pt x="8292" y="6116"/>
                    <a:pt x="7855" y="6927"/>
                    <a:pt x="7855" y="7855"/>
                  </a:cubicBezTo>
                  <a:cubicBezTo>
                    <a:pt x="7855" y="9081"/>
                    <a:pt x="8605" y="10131"/>
                    <a:pt x="9671" y="10574"/>
                  </a:cubicBezTo>
                  <a:lnTo>
                    <a:pt x="9934" y="9609"/>
                  </a:lnTo>
                  <a:cubicBezTo>
                    <a:pt x="9286" y="9288"/>
                    <a:pt x="8836" y="8627"/>
                    <a:pt x="8836" y="7855"/>
                  </a:cubicBezTo>
                  <a:cubicBezTo>
                    <a:pt x="8836" y="7221"/>
                    <a:pt x="9142" y="6665"/>
                    <a:pt x="9609" y="6309"/>
                  </a:cubicBezTo>
                  <a:lnTo>
                    <a:pt x="9336" y="7331"/>
                  </a:lnTo>
                  <a:cubicBezTo>
                    <a:pt x="9303" y="7453"/>
                    <a:pt x="9316" y="7586"/>
                    <a:pt x="9384" y="7704"/>
                  </a:cubicBezTo>
                  <a:cubicBezTo>
                    <a:pt x="9520" y="7938"/>
                    <a:pt x="9820" y="8019"/>
                    <a:pt x="10055" y="7884"/>
                  </a:cubicBezTo>
                  <a:cubicBezTo>
                    <a:pt x="10172" y="7815"/>
                    <a:pt x="10251" y="7706"/>
                    <a:pt x="10284" y="7585"/>
                  </a:cubicBezTo>
                  <a:lnTo>
                    <a:pt x="10823" y="5573"/>
                  </a:lnTo>
                  <a:cubicBezTo>
                    <a:pt x="10855" y="5452"/>
                    <a:pt x="10841" y="5318"/>
                    <a:pt x="10773" y="5201"/>
                  </a:cubicBezTo>
                  <a:moveTo>
                    <a:pt x="13421" y="10343"/>
                  </a:moveTo>
                  <a:lnTo>
                    <a:pt x="12630" y="10132"/>
                  </a:lnTo>
                  <a:cubicBezTo>
                    <a:pt x="13306" y="9598"/>
                    <a:pt x="13745" y="8785"/>
                    <a:pt x="13745" y="7855"/>
                  </a:cubicBezTo>
                  <a:cubicBezTo>
                    <a:pt x="13745" y="6643"/>
                    <a:pt x="13013" y="5604"/>
                    <a:pt x="11967" y="5152"/>
                  </a:cubicBezTo>
                  <a:lnTo>
                    <a:pt x="11702" y="6121"/>
                  </a:lnTo>
                  <a:cubicBezTo>
                    <a:pt x="12330" y="6448"/>
                    <a:pt x="12764" y="7098"/>
                    <a:pt x="12764" y="7855"/>
                  </a:cubicBezTo>
                  <a:cubicBezTo>
                    <a:pt x="12764" y="8468"/>
                    <a:pt x="12477" y="9008"/>
                    <a:pt x="12035" y="9366"/>
                  </a:cubicBezTo>
                  <a:lnTo>
                    <a:pt x="12295" y="8394"/>
                  </a:lnTo>
                  <a:cubicBezTo>
                    <a:pt x="12328" y="8273"/>
                    <a:pt x="12314" y="8139"/>
                    <a:pt x="12246" y="8021"/>
                  </a:cubicBezTo>
                  <a:cubicBezTo>
                    <a:pt x="12111" y="7786"/>
                    <a:pt x="11811" y="7706"/>
                    <a:pt x="11576" y="7842"/>
                  </a:cubicBezTo>
                  <a:cubicBezTo>
                    <a:pt x="11458" y="7910"/>
                    <a:pt x="11380" y="8019"/>
                    <a:pt x="11347" y="8140"/>
                  </a:cubicBezTo>
                  <a:lnTo>
                    <a:pt x="10808" y="10152"/>
                  </a:lnTo>
                  <a:lnTo>
                    <a:pt x="10808" y="10152"/>
                  </a:lnTo>
                  <a:cubicBezTo>
                    <a:pt x="10776" y="10273"/>
                    <a:pt x="10789" y="10407"/>
                    <a:pt x="10857" y="10524"/>
                  </a:cubicBezTo>
                  <a:cubicBezTo>
                    <a:pt x="10920" y="10634"/>
                    <a:pt x="11021" y="10706"/>
                    <a:pt x="11133" y="10742"/>
                  </a:cubicBezTo>
                  <a:lnTo>
                    <a:pt x="11126" y="10768"/>
                  </a:lnTo>
                  <a:cubicBezTo>
                    <a:pt x="11142" y="10766"/>
                    <a:pt x="11157" y="10761"/>
                    <a:pt x="11173" y="10758"/>
                  </a:cubicBezTo>
                  <a:lnTo>
                    <a:pt x="13167" y="11292"/>
                  </a:lnTo>
                  <a:cubicBezTo>
                    <a:pt x="13288" y="11324"/>
                    <a:pt x="13422" y="11311"/>
                    <a:pt x="13540" y="11243"/>
                  </a:cubicBezTo>
                  <a:cubicBezTo>
                    <a:pt x="13774" y="11107"/>
                    <a:pt x="13855" y="10807"/>
                    <a:pt x="13719" y="10572"/>
                  </a:cubicBezTo>
                  <a:cubicBezTo>
                    <a:pt x="13651" y="10455"/>
                    <a:pt x="13542" y="10376"/>
                    <a:pt x="13421" y="103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Shape 2648">
              <a:extLst>
                <a:ext uri="{FF2B5EF4-FFF2-40B4-BE49-F238E27FC236}">
                  <a16:creationId xmlns:a16="http://schemas.microsoft.com/office/drawing/2014/main" id="{159AFDF9-CBCC-4BCA-B9AB-30598DE55A10}"/>
                </a:ext>
              </a:extLst>
            </p:cNvPr>
            <p:cNvSpPr/>
            <p:nvPr/>
          </p:nvSpPr>
          <p:spPr bwMode="gray">
            <a:xfrm>
              <a:off x="116925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764" y="8836"/>
                  </a:moveTo>
                  <a:cubicBezTo>
                    <a:pt x="12628" y="8836"/>
                    <a:pt x="12505" y="8891"/>
                    <a:pt x="12417" y="8980"/>
                  </a:cubicBezTo>
                  <a:lnTo>
                    <a:pt x="11291" y="10106"/>
                  </a:lnTo>
                  <a:lnTo>
                    <a:pt x="11291" y="4419"/>
                  </a:lnTo>
                  <a:lnTo>
                    <a:pt x="11291" y="4418"/>
                  </a:ln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lnTo>
                    <a:pt x="10309" y="10106"/>
                  </a:lnTo>
                  <a:lnTo>
                    <a:pt x="9183" y="8980"/>
                  </a:lnTo>
                  <a:cubicBezTo>
                    <a:pt x="9095" y="8891"/>
                    <a:pt x="8972" y="8836"/>
                    <a:pt x="8836" y="8836"/>
                  </a:cubicBezTo>
                  <a:cubicBezTo>
                    <a:pt x="8566" y="8836"/>
                    <a:pt x="8345" y="9056"/>
                    <a:pt x="8345" y="9327"/>
                  </a:cubicBezTo>
                  <a:cubicBezTo>
                    <a:pt x="8345" y="9463"/>
                    <a:pt x="8400" y="9586"/>
                    <a:pt x="8489" y="9674"/>
                  </a:cubicBezTo>
                  <a:lnTo>
                    <a:pt x="10453" y="11638"/>
                  </a:lnTo>
                  <a:cubicBezTo>
                    <a:pt x="10542" y="11727"/>
                    <a:pt x="10665" y="11782"/>
                    <a:pt x="10800" y="11782"/>
                  </a:cubicBezTo>
                  <a:cubicBezTo>
                    <a:pt x="10935" y="11782"/>
                    <a:pt x="11058" y="11727"/>
                    <a:pt x="11147" y="11638"/>
                  </a:cubicBezTo>
                  <a:lnTo>
                    <a:pt x="13111" y="9674"/>
                  </a:lnTo>
                  <a:cubicBezTo>
                    <a:pt x="13200" y="9586"/>
                    <a:pt x="13255" y="9463"/>
                    <a:pt x="13255" y="9327"/>
                  </a:cubicBezTo>
                  <a:cubicBezTo>
                    <a:pt x="13255" y="9056"/>
                    <a:pt x="13034" y="8836"/>
                    <a:pt x="12764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Shape 2649">
              <a:extLst>
                <a:ext uri="{FF2B5EF4-FFF2-40B4-BE49-F238E27FC236}">
                  <a16:creationId xmlns:a16="http://schemas.microsoft.com/office/drawing/2014/main" id="{1241385F-23B0-4FBD-B7E5-65F8501E956A}"/>
                </a:ext>
              </a:extLst>
            </p:cNvPr>
            <p:cNvSpPr/>
            <p:nvPr/>
          </p:nvSpPr>
          <p:spPr bwMode="gray">
            <a:xfrm>
              <a:off x="1720965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1147" y="4071"/>
                  </a:moveTo>
                  <a:cubicBezTo>
                    <a:pt x="11058" y="3982"/>
                    <a:pt x="10935" y="3927"/>
                    <a:pt x="10800" y="3927"/>
                  </a:cubicBezTo>
                  <a:cubicBezTo>
                    <a:pt x="10665" y="3927"/>
                    <a:pt x="10542" y="3982"/>
                    <a:pt x="10453" y="4071"/>
                  </a:cubicBezTo>
                  <a:lnTo>
                    <a:pt x="8489" y="6035"/>
                  </a:lnTo>
                  <a:cubicBezTo>
                    <a:pt x="8400" y="6124"/>
                    <a:pt x="8345" y="6247"/>
                    <a:pt x="8345" y="6382"/>
                  </a:cubicBezTo>
                  <a:cubicBezTo>
                    <a:pt x="8345" y="6653"/>
                    <a:pt x="8566" y="6873"/>
                    <a:pt x="8836" y="6873"/>
                  </a:cubicBezTo>
                  <a:cubicBezTo>
                    <a:pt x="8972" y="6873"/>
                    <a:pt x="9095" y="6818"/>
                    <a:pt x="9183" y="6729"/>
                  </a:cubicBezTo>
                  <a:lnTo>
                    <a:pt x="10309" y="5603"/>
                  </a:lnTo>
                  <a:lnTo>
                    <a:pt x="10309" y="11291"/>
                  </a:lnTo>
                  <a:cubicBezTo>
                    <a:pt x="10309" y="11562"/>
                    <a:pt x="10529" y="11782"/>
                    <a:pt x="10800" y="11782"/>
                  </a:cubicBezTo>
                  <a:cubicBezTo>
                    <a:pt x="11071" y="11782"/>
                    <a:pt x="11291" y="11562"/>
                    <a:pt x="11291" y="11291"/>
                  </a:cubicBezTo>
                  <a:lnTo>
                    <a:pt x="11291" y="5603"/>
                  </a:lnTo>
                  <a:lnTo>
                    <a:pt x="12417" y="6729"/>
                  </a:lnTo>
                  <a:cubicBezTo>
                    <a:pt x="12505" y="6818"/>
                    <a:pt x="12628" y="6873"/>
                    <a:pt x="12764" y="6873"/>
                  </a:cubicBezTo>
                  <a:cubicBezTo>
                    <a:pt x="13034" y="6873"/>
                    <a:pt x="13255" y="6653"/>
                    <a:pt x="13255" y="6382"/>
                  </a:cubicBezTo>
                  <a:cubicBezTo>
                    <a:pt x="13255" y="6247"/>
                    <a:pt x="13200" y="6124"/>
                    <a:pt x="13111" y="6035"/>
                  </a:cubicBezTo>
                  <a:cubicBezTo>
                    <a:pt x="13111" y="6035"/>
                    <a:pt x="11147" y="4071"/>
                    <a:pt x="11147" y="407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Shape 2650">
              <a:extLst>
                <a:ext uri="{FF2B5EF4-FFF2-40B4-BE49-F238E27FC236}">
                  <a16:creationId xmlns:a16="http://schemas.microsoft.com/office/drawing/2014/main" id="{A8EF73DC-C2F6-4656-A9C1-AD1458680C60}"/>
                </a:ext>
              </a:extLst>
            </p:cNvPr>
            <p:cNvSpPr/>
            <p:nvPr/>
          </p:nvSpPr>
          <p:spPr bwMode="gray">
            <a:xfrm>
              <a:off x="227267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236" y="7364"/>
                  </a:moveTo>
                  <a:lnTo>
                    <a:pt x="8549" y="7364"/>
                  </a:lnTo>
                  <a:lnTo>
                    <a:pt x="9674" y="6238"/>
                  </a:lnTo>
                  <a:cubicBezTo>
                    <a:pt x="9763" y="6149"/>
                    <a:pt x="9818" y="6027"/>
                    <a:pt x="9818" y="5891"/>
                  </a:cubicBezTo>
                  <a:cubicBezTo>
                    <a:pt x="9818" y="5620"/>
                    <a:pt x="9598" y="5400"/>
                    <a:pt x="9327" y="5400"/>
                  </a:cubicBezTo>
                  <a:cubicBezTo>
                    <a:pt x="9192" y="5400"/>
                    <a:pt x="9069" y="5455"/>
                    <a:pt x="8980" y="5544"/>
                  </a:cubicBezTo>
                  <a:lnTo>
                    <a:pt x="7017" y="7507"/>
                  </a:lnTo>
                  <a:cubicBezTo>
                    <a:pt x="6928" y="7597"/>
                    <a:pt x="6873" y="7720"/>
                    <a:pt x="6873" y="7855"/>
                  </a:cubicBezTo>
                  <a:cubicBezTo>
                    <a:pt x="6873" y="7990"/>
                    <a:pt x="6928" y="8113"/>
                    <a:pt x="7017" y="8202"/>
                  </a:cubicBezTo>
                  <a:lnTo>
                    <a:pt x="8980" y="10165"/>
                  </a:lnTo>
                  <a:cubicBezTo>
                    <a:pt x="9069" y="10255"/>
                    <a:pt x="9192" y="10309"/>
                    <a:pt x="9327" y="10309"/>
                  </a:cubicBezTo>
                  <a:cubicBezTo>
                    <a:pt x="9598" y="10309"/>
                    <a:pt x="9818" y="10090"/>
                    <a:pt x="9818" y="9818"/>
                  </a:cubicBezTo>
                  <a:cubicBezTo>
                    <a:pt x="9818" y="9683"/>
                    <a:pt x="9763" y="9560"/>
                    <a:pt x="9674" y="9471"/>
                  </a:cubicBezTo>
                  <a:lnTo>
                    <a:pt x="8549" y="8345"/>
                  </a:lnTo>
                  <a:lnTo>
                    <a:pt x="14236" y="8345"/>
                  </a:lnTo>
                  <a:cubicBezTo>
                    <a:pt x="14507" y="8345"/>
                    <a:pt x="14727" y="8126"/>
                    <a:pt x="14727" y="7855"/>
                  </a:cubicBezTo>
                  <a:cubicBezTo>
                    <a:pt x="14727" y="7584"/>
                    <a:pt x="14507" y="7364"/>
                    <a:pt x="14236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Shape 2651">
              <a:extLst>
                <a:ext uri="{FF2B5EF4-FFF2-40B4-BE49-F238E27FC236}">
                  <a16:creationId xmlns:a16="http://schemas.microsoft.com/office/drawing/2014/main" id="{FE9E6BB9-E48D-42AA-852F-BD4AAC677B31}"/>
                </a:ext>
              </a:extLst>
            </p:cNvPr>
            <p:cNvSpPr/>
            <p:nvPr/>
          </p:nvSpPr>
          <p:spPr bwMode="gray">
            <a:xfrm>
              <a:off x="282439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3" y="7507"/>
                  </a:moveTo>
                  <a:lnTo>
                    <a:pt x="12620" y="5544"/>
                  </a:lnTo>
                  <a:cubicBezTo>
                    <a:pt x="12531" y="5455"/>
                    <a:pt x="12408" y="5400"/>
                    <a:pt x="12273" y="5400"/>
                  </a:cubicBezTo>
                  <a:cubicBezTo>
                    <a:pt x="12001" y="5400"/>
                    <a:pt x="11782" y="5620"/>
                    <a:pt x="11782" y="5891"/>
                  </a:cubicBezTo>
                  <a:cubicBezTo>
                    <a:pt x="11782" y="6027"/>
                    <a:pt x="11837" y="6149"/>
                    <a:pt x="11926" y="6238"/>
                  </a:cubicBezTo>
                  <a:lnTo>
                    <a:pt x="13051" y="7364"/>
                  </a:lnTo>
                  <a:lnTo>
                    <a:pt x="7364" y="7364"/>
                  </a:lnTo>
                  <a:cubicBezTo>
                    <a:pt x="7092" y="7364"/>
                    <a:pt x="6873" y="7584"/>
                    <a:pt x="6873" y="7855"/>
                  </a:cubicBezTo>
                  <a:cubicBezTo>
                    <a:pt x="6873" y="8126"/>
                    <a:pt x="7092" y="8345"/>
                    <a:pt x="7364" y="8345"/>
                  </a:cubicBezTo>
                  <a:lnTo>
                    <a:pt x="13051" y="8345"/>
                  </a:lnTo>
                  <a:lnTo>
                    <a:pt x="11926" y="9471"/>
                  </a:lnTo>
                  <a:cubicBezTo>
                    <a:pt x="11837" y="9560"/>
                    <a:pt x="11782" y="9683"/>
                    <a:pt x="11782" y="9818"/>
                  </a:cubicBezTo>
                  <a:cubicBezTo>
                    <a:pt x="11782" y="10090"/>
                    <a:pt x="12001" y="10309"/>
                    <a:pt x="12273" y="10309"/>
                  </a:cubicBezTo>
                  <a:cubicBezTo>
                    <a:pt x="12408" y="10309"/>
                    <a:pt x="12531" y="10255"/>
                    <a:pt x="12620" y="10165"/>
                  </a:cubicBezTo>
                  <a:lnTo>
                    <a:pt x="14583" y="8202"/>
                  </a:lnTo>
                  <a:cubicBezTo>
                    <a:pt x="14672" y="8113"/>
                    <a:pt x="14727" y="7990"/>
                    <a:pt x="14727" y="7855"/>
                  </a:cubicBezTo>
                  <a:cubicBezTo>
                    <a:pt x="14727" y="7720"/>
                    <a:pt x="14672" y="7597"/>
                    <a:pt x="14583" y="7507"/>
                  </a:cubicBezTo>
                  <a:close/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1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0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0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Shape 2652">
              <a:extLst>
                <a:ext uri="{FF2B5EF4-FFF2-40B4-BE49-F238E27FC236}">
                  <a16:creationId xmlns:a16="http://schemas.microsoft.com/office/drawing/2014/main" id="{221F195E-E44F-4D3F-BE06-0AB6388874BD}"/>
                </a:ext>
              </a:extLst>
            </p:cNvPr>
            <p:cNvSpPr/>
            <p:nvPr/>
          </p:nvSpPr>
          <p:spPr bwMode="gray">
            <a:xfrm>
              <a:off x="337610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4727"/>
                  </a:moveTo>
                  <a:cubicBezTo>
                    <a:pt x="7547" y="14727"/>
                    <a:pt x="4909" y="12969"/>
                    <a:pt x="4909" y="10800"/>
                  </a:cubicBezTo>
                  <a:cubicBezTo>
                    <a:pt x="4909" y="8631"/>
                    <a:pt x="7547" y="6873"/>
                    <a:pt x="10800" y="6873"/>
                  </a:cubicBezTo>
                  <a:cubicBezTo>
                    <a:pt x="11895" y="6873"/>
                    <a:pt x="12917" y="7076"/>
                    <a:pt x="13795" y="7423"/>
                  </a:cubicBezTo>
                  <a:lnTo>
                    <a:pt x="15709" y="5073"/>
                  </a:lnTo>
                  <a:lnTo>
                    <a:pt x="15709" y="8631"/>
                  </a:lnTo>
                  <a:cubicBezTo>
                    <a:pt x="16328" y="9253"/>
                    <a:pt x="16691" y="9998"/>
                    <a:pt x="16691" y="10800"/>
                  </a:cubicBezTo>
                  <a:cubicBezTo>
                    <a:pt x="16691" y="12969"/>
                    <a:pt x="14053" y="14727"/>
                    <a:pt x="10800" y="14727"/>
                  </a:cubicBezTo>
                  <a:moveTo>
                    <a:pt x="16691" y="1964"/>
                  </a:moveTo>
                  <a:lnTo>
                    <a:pt x="13360" y="6247"/>
                  </a:lnTo>
                  <a:cubicBezTo>
                    <a:pt x="12568" y="6020"/>
                    <a:pt x="11706" y="5891"/>
                    <a:pt x="10800" y="5891"/>
                  </a:cubicBezTo>
                  <a:cubicBezTo>
                    <a:pt x="7004" y="5891"/>
                    <a:pt x="3927" y="8089"/>
                    <a:pt x="3927" y="10800"/>
                  </a:cubicBezTo>
                  <a:cubicBezTo>
                    <a:pt x="3927" y="13511"/>
                    <a:pt x="7004" y="15709"/>
                    <a:pt x="10800" y="15709"/>
                  </a:cubicBezTo>
                  <a:cubicBezTo>
                    <a:pt x="14596" y="15709"/>
                    <a:pt x="17673" y="13511"/>
                    <a:pt x="17673" y="10800"/>
                  </a:cubicBezTo>
                  <a:cubicBezTo>
                    <a:pt x="17673" y="9878"/>
                    <a:pt x="17310" y="9018"/>
                    <a:pt x="16691" y="8281"/>
                  </a:cubicBezTo>
                  <a:cubicBezTo>
                    <a:pt x="16691" y="8281"/>
                    <a:pt x="16691" y="1964"/>
                    <a:pt x="16691" y="1964"/>
                  </a:cubicBezTo>
                  <a:close/>
                  <a:moveTo>
                    <a:pt x="19145" y="1964"/>
                  </a:moveTo>
                  <a:cubicBezTo>
                    <a:pt x="18874" y="1964"/>
                    <a:pt x="18655" y="2184"/>
                    <a:pt x="18655" y="2455"/>
                  </a:cubicBezTo>
                  <a:cubicBezTo>
                    <a:pt x="18655" y="2726"/>
                    <a:pt x="18874" y="2945"/>
                    <a:pt x="19145" y="2945"/>
                  </a:cubicBezTo>
                  <a:cubicBezTo>
                    <a:pt x="19417" y="2945"/>
                    <a:pt x="19636" y="2726"/>
                    <a:pt x="19636" y="2455"/>
                  </a:cubicBezTo>
                  <a:cubicBezTo>
                    <a:pt x="19636" y="2184"/>
                    <a:pt x="19417" y="1964"/>
                    <a:pt x="19145" y="1964"/>
                  </a:cubicBezTo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6691"/>
                    <a:pt x="20618" y="16691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8382"/>
                  </a:lnTo>
                  <a:cubicBezTo>
                    <a:pt x="1271" y="18551"/>
                    <a:pt x="1604" y="18655"/>
                    <a:pt x="1964" y="18655"/>
                  </a:cubicBezTo>
                  <a:lnTo>
                    <a:pt x="19636" y="18655"/>
                  </a:lnTo>
                  <a:cubicBezTo>
                    <a:pt x="19996" y="18655"/>
                    <a:pt x="20329" y="18551"/>
                    <a:pt x="20618" y="18382"/>
                  </a:cubicBezTo>
                  <a:cubicBezTo>
                    <a:pt x="20618" y="18382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800" y="11291"/>
                  </a:moveTo>
                  <a:cubicBezTo>
                    <a:pt x="10258" y="11291"/>
                    <a:pt x="9818" y="11072"/>
                    <a:pt x="9818" y="10800"/>
                  </a:cubicBezTo>
                  <a:cubicBezTo>
                    <a:pt x="9818" y="10529"/>
                    <a:pt x="10258" y="10309"/>
                    <a:pt x="10800" y="10309"/>
                  </a:cubicBezTo>
                  <a:cubicBezTo>
                    <a:pt x="11342" y="10309"/>
                    <a:pt x="11782" y="10529"/>
                    <a:pt x="11782" y="10800"/>
                  </a:cubicBezTo>
                  <a:cubicBezTo>
                    <a:pt x="11782" y="11072"/>
                    <a:pt x="11342" y="11291"/>
                    <a:pt x="10800" y="11291"/>
                  </a:cubicBezTo>
                  <a:moveTo>
                    <a:pt x="10800" y="9327"/>
                  </a:moveTo>
                  <a:cubicBezTo>
                    <a:pt x="9716" y="9327"/>
                    <a:pt x="8836" y="9986"/>
                    <a:pt x="8836" y="10800"/>
                  </a:cubicBezTo>
                  <a:cubicBezTo>
                    <a:pt x="8836" y="11614"/>
                    <a:pt x="9716" y="12273"/>
                    <a:pt x="10800" y="12273"/>
                  </a:cubicBezTo>
                  <a:cubicBezTo>
                    <a:pt x="11884" y="12273"/>
                    <a:pt x="12764" y="11614"/>
                    <a:pt x="12764" y="10800"/>
                  </a:cubicBezTo>
                  <a:cubicBezTo>
                    <a:pt x="12764" y="9986"/>
                    <a:pt x="11884" y="9327"/>
                    <a:pt x="10800" y="9327"/>
                  </a:cubicBezTo>
                  <a:moveTo>
                    <a:pt x="19145" y="15709"/>
                  </a:moveTo>
                  <a:cubicBezTo>
                    <a:pt x="18874" y="15709"/>
                    <a:pt x="18655" y="15929"/>
                    <a:pt x="18655" y="16200"/>
                  </a:cubicBezTo>
                  <a:cubicBezTo>
                    <a:pt x="18655" y="16472"/>
                    <a:pt x="18874" y="16691"/>
                    <a:pt x="19145" y="16691"/>
                  </a:cubicBezTo>
                  <a:cubicBezTo>
                    <a:pt x="19417" y="16691"/>
                    <a:pt x="19636" y="16472"/>
                    <a:pt x="19636" y="16200"/>
                  </a:cubicBezTo>
                  <a:cubicBezTo>
                    <a:pt x="19636" y="15929"/>
                    <a:pt x="19417" y="15709"/>
                    <a:pt x="19145" y="15709"/>
                  </a:cubicBezTo>
                  <a:moveTo>
                    <a:pt x="2455" y="15709"/>
                  </a:moveTo>
                  <a:cubicBezTo>
                    <a:pt x="2183" y="15709"/>
                    <a:pt x="1964" y="15929"/>
                    <a:pt x="1964" y="16200"/>
                  </a:cubicBezTo>
                  <a:cubicBezTo>
                    <a:pt x="1964" y="16472"/>
                    <a:pt x="2183" y="16691"/>
                    <a:pt x="2455" y="16691"/>
                  </a:cubicBezTo>
                  <a:cubicBezTo>
                    <a:pt x="2726" y="16691"/>
                    <a:pt x="2945" y="16472"/>
                    <a:pt x="2945" y="16200"/>
                  </a:cubicBezTo>
                  <a:cubicBezTo>
                    <a:pt x="2945" y="15929"/>
                    <a:pt x="2726" y="15709"/>
                    <a:pt x="2455" y="15709"/>
                  </a:cubicBezTo>
                  <a:moveTo>
                    <a:pt x="5645" y="4418"/>
                  </a:moveTo>
                  <a:lnTo>
                    <a:pt x="12027" y="4418"/>
                  </a:lnTo>
                  <a:cubicBezTo>
                    <a:pt x="12434" y="4418"/>
                    <a:pt x="12764" y="4088"/>
                    <a:pt x="12764" y="3682"/>
                  </a:cubicBezTo>
                  <a:cubicBezTo>
                    <a:pt x="12764" y="3275"/>
                    <a:pt x="12434" y="2945"/>
                    <a:pt x="12027" y="2945"/>
                  </a:cubicBezTo>
                  <a:lnTo>
                    <a:pt x="5645" y="2945"/>
                  </a:lnTo>
                  <a:cubicBezTo>
                    <a:pt x="5239" y="2945"/>
                    <a:pt x="4909" y="3275"/>
                    <a:pt x="4909" y="3682"/>
                  </a:cubicBezTo>
                  <a:cubicBezTo>
                    <a:pt x="4909" y="4088"/>
                    <a:pt x="5239" y="4418"/>
                    <a:pt x="5645" y="4418"/>
                  </a:cubicBezTo>
                  <a:moveTo>
                    <a:pt x="2455" y="1964"/>
                  </a:moveTo>
                  <a:cubicBezTo>
                    <a:pt x="2183" y="1964"/>
                    <a:pt x="1964" y="2184"/>
                    <a:pt x="1964" y="2455"/>
                  </a:cubicBezTo>
                  <a:cubicBezTo>
                    <a:pt x="1964" y="2726"/>
                    <a:pt x="2183" y="2945"/>
                    <a:pt x="2455" y="2945"/>
                  </a:cubicBezTo>
                  <a:cubicBezTo>
                    <a:pt x="2726" y="2945"/>
                    <a:pt x="2945" y="2726"/>
                    <a:pt x="2945" y="2455"/>
                  </a:cubicBezTo>
                  <a:cubicBezTo>
                    <a:pt x="2945" y="2184"/>
                    <a:pt x="2726" y="1964"/>
                    <a:pt x="245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Shape 2653">
              <a:extLst>
                <a:ext uri="{FF2B5EF4-FFF2-40B4-BE49-F238E27FC236}">
                  <a16:creationId xmlns:a16="http://schemas.microsoft.com/office/drawing/2014/main" id="{B1CFDFB7-0DBE-4EB9-879F-B0B33B6C498E}"/>
                </a:ext>
              </a:extLst>
            </p:cNvPr>
            <p:cNvSpPr/>
            <p:nvPr/>
          </p:nvSpPr>
          <p:spPr bwMode="gray">
            <a:xfrm>
              <a:off x="392782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  <a:moveTo>
                    <a:pt x="6873" y="2945"/>
                  </a:moveTo>
                  <a:lnTo>
                    <a:pt x="10800" y="2945"/>
                  </a:lnTo>
                  <a:lnTo>
                    <a:pt x="10800" y="1964"/>
                  </a:lnTo>
                  <a:lnTo>
                    <a:pt x="6873" y="1964"/>
                  </a:lnTo>
                  <a:cubicBezTo>
                    <a:pt x="6873" y="1964"/>
                    <a:pt x="6873" y="2945"/>
                    <a:pt x="6873" y="29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6873" y="4909"/>
                  </a:moveTo>
                  <a:lnTo>
                    <a:pt x="9818" y="4909"/>
                  </a:lnTo>
                  <a:lnTo>
                    <a:pt x="9818" y="3927"/>
                  </a:lnTo>
                  <a:lnTo>
                    <a:pt x="6873" y="3927"/>
                  </a:lnTo>
                  <a:cubicBezTo>
                    <a:pt x="6873" y="3927"/>
                    <a:pt x="6873" y="4909"/>
                    <a:pt x="6873" y="49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Shape 2654">
              <a:extLst>
                <a:ext uri="{FF2B5EF4-FFF2-40B4-BE49-F238E27FC236}">
                  <a16:creationId xmlns:a16="http://schemas.microsoft.com/office/drawing/2014/main" id="{645E823D-D21A-4BE9-A9A2-46477A7A8B88}"/>
                </a:ext>
              </a:extLst>
            </p:cNvPr>
            <p:cNvSpPr/>
            <p:nvPr/>
          </p:nvSpPr>
          <p:spPr bwMode="gray">
            <a:xfrm>
              <a:off x="447953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6691"/>
                  </a:lnTo>
                  <a:lnTo>
                    <a:pt x="15709" y="16691"/>
                  </a:lnTo>
                  <a:cubicBezTo>
                    <a:pt x="15709" y="16691"/>
                    <a:pt x="15709" y="15709"/>
                    <a:pt x="15709" y="15709"/>
                  </a:cubicBezTo>
                  <a:close/>
                  <a:moveTo>
                    <a:pt x="15709" y="17673"/>
                  </a:moveTo>
                  <a:lnTo>
                    <a:pt x="5891" y="17673"/>
                  </a:lnTo>
                  <a:lnTo>
                    <a:pt x="5891" y="18655"/>
                  </a:lnTo>
                  <a:lnTo>
                    <a:pt x="15709" y="18655"/>
                  </a:lnTo>
                  <a:cubicBezTo>
                    <a:pt x="15709" y="18655"/>
                    <a:pt x="15709" y="17673"/>
                    <a:pt x="15709" y="17673"/>
                  </a:cubicBezTo>
                  <a:close/>
                  <a:moveTo>
                    <a:pt x="11782" y="13745"/>
                  </a:moveTo>
                  <a:lnTo>
                    <a:pt x="5891" y="13745"/>
                  </a:lnTo>
                  <a:lnTo>
                    <a:pt x="5891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Shape 2655">
              <a:extLst>
                <a:ext uri="{FF2B5EF4-FFF2-40B4-BE49-F238E27FC236}">
                  <a16:creationId xmlns:a16="http://schemas.microsoft.com/office/drawing/2014/main" id="{8924DD9E-ACB3-414C-AC06-AE708013D9C4}"/>
                </a:ext>
              </a:extLst>
            </p:cNvPr>
            <p:cNvSpPr/>
            <p:nvPr/>
          </p:nvSpPr>
          <p:spPr bwMode="gray">
            <a:xfrm>
              <a:off x="5031247" y="2337031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400"/>
                  </a:moveTo>
                  <a:lnTo>
                    <a:pt x="16349" y="14400"/>
                  </a:lnTo>
                  <a:cubicBezTo>
                    <a:pt x="16227" y="14820"/>
                    <a:pt x="16076" y="15221"/>
                    <a:pt x="15897" y="15600"/>
                  </a:cubicBezTo>
                  <a:lnTo>
                    <a:pt x="20618" y="15600"/>
                  </a:lnTo>
                  <a:lnTo>
                    <a:pt x="20618" y="19200"/>
                  </a:lnTo>
                  <a:cubicBezTo>
                    <a:pt x="20618" y="19862"/>
                    <a:pt x="20178" y="20400"/>
                    <a:pt x="19636" y="20400"/>
                  </a:cubicBez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lnTo>
                    <a:pt x="982" y="15600"/>
                  </a:lnTo>
                  <a:lnTo>
                    <a:pt x="5704" y="15600"/>
                  </a:lnTo>
                  <a:cubicBezTo>
                    <a:pt x="5524" y="15221"/>
                    <a:pt x="5373" y="14820"/>
                    <a:pt x="5251" y="14400"/>
                  </a:cubicBezTo>
                  <a:lnTo>
                    <a:pt x="982" y="14400"/>
                  </a:lnTo>
                  <a:lnTo>
                    <a:pt x="982" y="4800"/>
                  </a:lnTo>
                  <a:cubicBezTo>
                    <a:pt x="982" y="4138"/>
                    <a:pt x="1422" y="3600"/>
                    <a:pt x="1964" y="3600"/>
                  </a:cubicBezTo>
                  <a:lnTo>
                    <a:pt x="3927" y="3600"/>
                  </a:lnTo>
                  <a:cubicBezTo>
                    <a:pt x="5891" y="3600"/>
                    <a:pt x="5891" y="1200"/>
                    <a:pt x="7364" y="1200"/>
                  </a:cubicBezTo>
                  <a:lnTo>
                    <a:pt x="10800" y="1200"/>
                  </a:lnTo>
                  <a:lnTo>
                    <a:pt x="14236" y="1200"/>
                  </a:lnTo>
                  <a:cubicBezTo>
                    <a:pt x="15709" y="1200"/>
                    <a:pt x="15709" y="3600"/>
                    <a:pt x="17673" y="3600"/>
                  </a:cubicBezTo>
                  <a:lnTo>
                    <a:pt x="19636" y="3600"/>
                  </a:lnTo>
                  <a:cubicBezTo>
                    <a:pt x="20178" y="3600"/>
                    <a:pt x="20618" y="4138"/>
                    <a:pt x="20618" y="4800"/>
                  </a:cubicBezTo>
                  <a:cubicBezTo>
                    <a:pt x="20618" y="4800"/>
                    <a:pt x="20618" y="14400"/>
                    <a:pt x="20618" y="14400"/>
                  </a:cubicBezTo>
                  <a:close/>
                  <a:moveTo>
                    <a:pt x="19636" y="2400"/>
                  </a:moveTo>
                  <a:lnTo>
                    <a:pt x="17673" y="2400"/>
                  </a:lnTo>
                  <a:cubicBezTo>
                    <a:pt x="16200" y="2400"/>
                    <a:pt x="16200" y="0"/>
                    <a:pt x="14236" y="0"/>
                  </a:cubicBezTo>
                  <a:lnTo>
                    <a:pt x="10800" y="0"/>
                  </a:lnTo>
                  <a:lnTo>
                    <a:pt x="7364" y="0"/>
                  </a:lnTo>
                  <a:cubicBezTo>
                    <a:pt x="5400" y="0"/>
                    <a:pt x="5400" y="2400"/>
                    <a:pt x="3927" y="2400"/>
                  </a:cubicBezTo>
                  <a:lnTo>
                    <a:pt x="1964" y="2400"/>
                  </a:lnTo>
                  <a:cubicBezTo>
                    <a:pt x="879" y="2400"/>
                    <a:pt x="0" y="3475"/>
                    <a:pt x="0" y="4800"/>
                  </a:cubicBezTo>
                  <a:lnTo>
                    <a:pt x="0" y="19200"/>
                  </a:ln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lnTo>
                    <a:pt x="21600" y="4800"/>
                  </a:lnTo>
                  <a:cubicBezTo>
                    <a:pt x="21600" y="3475"/>
                    <a:pt x="20721" y="2400"/>
                    <a:pt x="19636" y="2400"/>
                  </a:cubicBezTo>
                  <a:moveTo>
                    <a:pt x="18164" y="7200"/>
                  </a:moveTo>
                  <a:cubicBezTo>
                    <a:pt x="17892" y="7200"/>
                    <a:pt x="17673" y="6932"/>
                    <a:pt x="17673" y="6600"/>
                  </a:cubicBezTo>
                  <a:cubicBezTo>
                    <a:pt x="17673" y="6269"/>
                    <a:pt x="17892" y="6000"/>
                    <a:pt x="18164" y="6000"/>
                  </a:cubicBezTo>
                  <a:cubicBezTo>
                    <a:pt x="18435" y="6000"/>
                    <a:pt x="18655" y="6269"/>
                    <a:pt x="18655" y="6600"/>
                  </a:cubicBezTo>
                  <a:cubicBezTo>
                    <a:pt x="18655" y="6932"/>
                    <a:pt x="18435" y="7200"/>
                    <a:pt x="18164" y="7200"/>
                  </a:cubicBezTo>
                  <a:moveTo>
                    <a:pt x="18164" y="4800"/>
                  </a:moveTo>
                  <a:cubicBezTo>
                    <a:pt x="17351" y="4800"/>
                    <a:pt x="16691" y="5607"/>
                    <a:pt x="16691" y="6600"/>
                  </a:cubicBezTo>
                  <a:cubicBezTo>
                    <a:pt x="16691" y="7594"/>
                    <a:pt x="17351" y="8400"/>
                    <a:pt x="18164" y="8400"/>
                  </a:cubicBezTo>
                  <a:cubicBezTo>
                    <a:pt x="18977" y="8400"/>
                    <a:pt x="19636" y="7594"/>
                    <a:pt x="19636" y="6600"/>
                  </a:cubicBezTo>
                  <a:cubicBezTo>
                    <a:pt x="19636" y="5607"/>
                    <a:pt x="18977" y="4800"/>
                    <a:pt x="18164" y="4800"/>
                  </a:cubicBezTo>
                  <a:moveTo>
                    <a:pt x="18164" y="9600"/>
                  </a:moveTo>
                  <a:cubicBezTo>
                    <a:pt x="17892" y="9600"/>
                    <a:pt x="17673" y="9869"/>
                    <a:pt x="17673" y="10200"/>
                  </a:cubicBezTo>
                  <a:cubicBezTo>
                    <a:pt x="17673" y="10532"/>
                    <a:pt x="17892" y="10800"/>
                    <a:pt x="18164" y="10800"/>
                  </a:cubicBezTo>
                  <a:cubicBezTo>
                    <a:pt x="18435" y="10800"/>
                    <a:pt x="18655" y="10532"/>
                    <a:pt x="18655" y="10200"/>
                  </a:cubicBezTo>
                  <a:cubicBezTo>
                    <a:pt x="18655" y="9869"/>
                    <a:pt x="18435" y="9600"/>
                    <a:pt x="18164" y="9600"/>
                  </a:cubicBezTo>
                  <a:moveTo>
                    <a:pt x="10800" y="16800"/>
                  </a:moveTo>
                  <a:cubicBezTo>
                    <a:pt x="8631" y="16800"/>
                    <a:pt x="6873" y="14651"/>
                    <a:pt x="6873" y="12000"/>
                  </a:cubicBezTo>
                  <a:cubicBezTo>
                    <a:pt x="6873" y="9349"/>
                    <a:pt x="8631" y="7200"/>
                    <a:pt x="10800" y="7200"/>
                  </a:cubicBezTo>
                  <a:cubicBezTo>
                    <a:pt x="12969" y="7200"/>
                    <a:pt x="14727" y="9349"/>
                    <a:pt x="14727" y="12000"/>
                  </a:cubicBezTo>
                  <a:cubicBezTo>
                    <a:pt x="14727" y="14651"/>
                    <a:pt x="12969" y="16800"/>
                    <a:pt x="10800" y="16800"/>
                  </a:cubicBezTo>
                  <a:moveTo>
                    <a:pt x="10800" y="6000"/>
                  </a:moveTo>
                  <a:cubicBezTo>
                    <a:pt x="8088" y="6000"/>
                    <a:pt x="5891" y="8687"/>
                    <a:pt x="5891" y="12000"/>
                  </a:cubicBezTo>
                  <a:cubicBezTo>
                    <a:pt x="5891" y="15314"/>
                    <a:pt x="8088" y="18000"/>
                    <a:pt x="10800" y="18000"/>
                  </a:cubicBezTo>
                  <a:cubicBezTo>
                    <a:pt x="13512" y="18000"/>
                    <a:pt x="15709" y="15314"/>
                    <a:pt x="15709" y="12000"/>
                  </a:cubicBezTo>
                  <a:cubicBezTo>
                    <a:pt x="15709" y="8687"/>
                    <a:pt x="13512" y="6000"/>
                    <a:pt x="10800" y="6000"/>
                  </a:cubicBezTo>
                  <a:moveTo>
                    <a:pt x="10800" y="14400"/>
                  </a:moveTo>
                  <a:cubicBezTo>
                    <a:pt x="9716" y="14400"/>
                    <a:pt x="8836" y="13325"/>
                    <a:pt x="8836" y="12000"/>
                  </a:cubicBezTo>
                  <a:cubicBezTo>
                    <a:pt x="8836" y="10675"/>
                    <a:pt x="9716" y="9600"/>
                    <a:pt x="10800" y="9600"/>
                  </a:cubicBezTo>
                  <a:cubicBezTo>
                    <a:pt x="11884" y="9600"/>
                    <a:pt x="12764" y="10675"/>
                    <a:pt x="12764" y="12000"/>
                  </a:cubicBezTo>
                  <a:cubicBezTo>
                    <a:pt x="12764" y="13325"/>
                    <a:pt x="11884" y="14400"/>
                    <a:pt x="10800" y="14400"/>
                  </a:cubicBezTo>
                  <a:moveTo>
                    <a:pt x="10800" y="8400"/>
                  </a:moveTo>
                  <a:cubicBezTo>
                    <a:pt x="9173" y="8400"/>
                    <a:pt x="7855" y="10012"/>
                    <a:pt x="7855" y="12000"/>
                  </a:cubicBezTo>
                  <a:cubicBezTo>
                    <a:pt x="7855" y="13988"/>
                    <a:pt x="9173" y="15600"/>
                    <a:pt x="10800" y="15600"/>
                  </a:cubicBezTo>
                  <a:cubicBezTo>
                    <a:pt x="12426" y="15600"/>
                    <a:pt x="13745" y="13988"/>
                    <a:pt x="13745" y="12000"/>
                  </a:cubicBezTo>
                  <a:cubicBezTo>
                    <a:pt x="13745" y="10012"/>
                    <a:pt x="12426" y="8400"/>
                    <a:pt x="10800" y="8400"/>
                  </a:cubicBezTo>
                  <a:moveTo>
                    <a:pt x="8345" y="3600"/>
                  </a:moveTo>
                  <a:lnTo>
                    <a:pt x="13255" y="3600"/>
                  </a:lnTo>
                  <a:cubicBezTo>
                    <a:pt x="13526" y="3600"/>
                    <a:pt x="13745" y="3332"/>
                    <a:pt x="13745" y="3000"/>
                  </a:cubicBezTo>
                  <a:cubicBezTo>
                    <a:pt x="13745" y="2669"/>
                    <a:pt x="13526" y="2400"/>
                    <a:pt x="13255" y="2400"/>
                  </a:cubicBezTo>
                  <a:lnTo>
                    <a:pt x="8345" y="2400"/>
                  </a:lnTo>
                  <a:cubicBezTo>
                    <a:pt x="8074" y="2400"/>
                    <a:pt x="7855" y="2669"/>
                    <a:pt x="7855" y="3000"/>
                  </a:cubicBezTo>
                  <a:cubicBezTo>
                    <a:pt x="7855" y="3332"/>
                    <a:pt x="8074" y="3600"/>
                    <a:pt x="8345" y="36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Shape 2656">
              <a:extLst>
                <a:ext uri="{FF2B5EF4-FFF2-40B4-BE49-F238E27FC236}">
                  <a16:creationId xmlns:a16="http://schemas.microsoft.com/office/drawing/2014/main" id="{A86AF5A8-40B2-4BAB-BD7A-ED71FC47ACC0}"/>
                </a:ext>
              </a:extLst>
            </p:cNvPr>
            <p:cNvSpPr/>
            <p:nvPr/>
          </p:nvSpPr>
          <p:spPr bwMode="gray">
            <a:xfrm>
              <a:off x="558296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0800"/>
                  </a:moveTo>
                  <a:cubicBezTo>
                    <a:pt x="14186" y="10800"/>
                    <a:pt x="13745" y="11240"/>
                    <a:pt x="13745" y="11782"/>
                  </a:cubicBezTo>
                  <a:cubicBezTo>
                    <a:pt x="13745" y="12324"/>
                    <a:pt x="14186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90" y="6382"/>
                    <a:pt x="4909" y="6162"/>
                    <a:pt x="4909" y="5891"/>
                  </a:cubicBezTo>
                  <a:lnTo>
                    <a:pt x="4909" y="982"/>
                  </a:lnTo>
                  <a:lnTo>
                    <a:pt x="20618" y="982"/>
                  </a:lnTo>
                  <a:lnTo>
                    <a:pt x="20618" y="12764"/>
                  </a:lnTo>
                  <a:lnTo>
                    <a:pt x="19145" y="12764"/>
                  </a:lnTo>
                  <a:cubicBezTo>
                    <a:pt x="18874" y="12764"/>
                    <a:pt x="18655" y="12984"/>
                    <a:pt x="18655" y="13255"/>
                  </a:cubicBezTo>
                  <a:cubicBezTo>
                    <a:pt x="18655" y="13526"/>
                    <a:pt x="18874" y="13745"/>
                    <a:pt x="19145" y="13745"/>
                  </a:cubicBezTo>
                  <a:lnTo>
                    <a:pt x="20618" y="13745"/>
                  </a:lnTo>
                  <a:lnTo>
                    <a:pt x="20618" y="16691"/>
                  </a:lnTo>
                  <a:lnTo>
                    <a:pt x="19145" y="16691"/>
                  </a:lnTo>
                  <a:cubicBezTo>
                    <a:pt x="18874" y="16691"/>
                    <a:pt x="18655" y="16911"/>
                    <a:pt x="18655" y="17182"/>
                  </a:cubicBezTo>
                  <a:cubicBezTo>
                    <a:pt x="18655" y="17453"/>
                    <a:pt x="18874" y="17673"/>
                    <a:pt x="19145" y="17673"/>
                  </a:cubicBezTo>
                  <a:lnTo>
                    <a:pt x="20618" y="17673"/>
                  </a:lnTo>
                  <a:cubicBezTo>
                    <a:pt x="21160" y="17673"/>
                    <a:pt x="21600" y="17234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9" y="14727"/>
                    <a:pt x="15218" y="14508"/>
                    <a:pt x="15218" y="14236"/>
                  </a:cubicBezTo>
                  <a:cubicBezTo>
                    <a:pt x="15218" y="13966"/>
                    <a:pt x="14999" y="13745"/>
                    <a:pt x="14727" y="13745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6"/>
                    <a:pt x="6668" y="18655"/>
                    <a:pt x="8836" y="18655"/>
                  </a:cubicBezTo>
                  <a:cubicBezTo>
                    <a:pt x="11005" y="18655"/>
                    <a:pt x="12764" y="16896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  <a:moveTo>
                    <a:pt x="8836" y="15709"/>
                  </a:moveTo>
                  <a:cubicBezTo>
                    <a:pt x="8295" y="15709"/>
                    <a:pt x="7855" y="15269"/>
                    <a:pt x="7855" y="14727"/>
                  </a:cubicBezTo>
                  <a:cubicBezTo>
                    <a:pt x="7855" y="14186"/>
                    <a:pt x="8295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Shape 2657">
              <a:extLst>
                <a:ext uri="{FF2B5EF4-FFF2-40B4-BE49-F238E27FC236}">
                  <a16:creationId xmlns:a16="http://schemas.microsoft.com/office/drawing/2014/main" id="{DF4A7A8E-E22D-4F34-A45A-E141A25DB796}"/>
                </a:ext>
              </a:extLst>
            </p:cNvPr>
            <p:cNvSpPr/>
            <p:nvPr/>
          </p:nvSpPr>
          <p:spPr bwMode="gray">
            <a:xfrm>
              <a:off x="617538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4909"/>
                  </a:moveTo>
                  <a:lnTo>
                    <a:pt x="6873" y="4909"/>
                  </a:lnTo>
                  <a:lnTo>
                    <a:pt x="6873" y="3927"/>
                  </a:lnTo>
                  <a:lnTo>
                    <a:pt x="5891" y="3927"/>
                  </a:lnTo>
                  <a:cubicBezTo>
                    <a:pt x="5891" y="3927"/>
                    <a:pt x="5891" y="4909"/>
                    <a:pt x="5891" y="4909"/>
                  </a:cubicBezTo>
                  <a:close/>
                  <a:moveTo>
                    <a:pt x="18655" y="13745"/>
                  </a:moveTo>
                  <a:lnTo>
                    <a:pt x="19636" y="13745"/>
                  </a:lnTo>
                  <a:lnTo>
                    <a:pt x="19636" y="12764"/>
                  </a:lnTo>
                  <a:lnTo>
                    <a:pt x="18655" y="12764"/>
                  </a:lnTo>
                  <a:cubicBezTo>
                    <a:pt x="18655" y="12764"/>
                    <a:pt x="18655" y="13745"/>
                    <a:pt x="18655" y="13745"/>
                  </a:cubicBezTo>
                  <a:close/>
                  <a:moveTo>
                    <a:pt x="6873" y="1964"/>
                  </a:moveTo>
                  <a:lnTo>
                    <a:pt x="5891" y="1964"/>
                  </a:lnTo>
                  <a:lnTo>
                    <a:pt x="5891" y="2945"/>
                  </a:lnTo>
                  <a:lnTo>
                    <a:pt x="6873" y="2945"/>
                  </a:lnTo>
                  <a:cubicBezTo>
                    <a:pt x="6873" y="2945"/>
                    <a:pt x="6873" y="1964"/>
                    <a:pt x="6873" y="1964"/>
                  </a:cubicBezTo>
                  <a:close/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89" y="6382"/>
                    <a:pt x="4909" y="6162"/>
                    <a:pt x="4909" y="5891"/>
                  </a:cubicBezTo>
                  <a:lnTo>
                    <a:pt x="4909" y="1964"/>
                  </a:lnTo>
                  <a:cubicBezTo>
                    <a:pt x="4909" y="1422"/>
                    <a:pt x="5349" y="982"/>
                    <a:pt x="5891" y="982"/>
                  </a:cubicBezTo>
                  <a:lnTo>
                    <a:pt x="7855" y="982"/>
                  </a:lnTo>
                  <a:lnTo>
                    <a:pt x="7855" y="5400"/>
                  </a:lnTo>
                  <a:cubicBezTo>
                    <a:pt x="7855" y="5671"/>
                    <a:pt x="8075" y="5891"/>
                    <a:pt x="8345" y="5891"/>
                  </a:cubicBezTo>
                  <a:cubicBezTo>
                    <a:pt x="8616" y="5891"/>
                    <a:pt x="8836" y="5671"/>
                    <a:pt x="8836" y="5400"/>
                  </a:cubicBezTo>
                  <a:lnTo>
                    <a:pt x="8836" y="982"/>
                  </a:lnTo>
                  <a:lnTo>
                    <a:pt x="16691" y="982"/>
                  </a:lnTo>
                  <a:lnTo>
                    <a:pt x="16691" y="7364"/>
                  </a:lnTo>
                  <a:cubicBezTo>
                    <a:pt x="16691" y="7635"/>
                    <a:pt x="16911" y="7855"/>
                    <a:pt x="17182" y="7855"/>
                  </a:cubicBezTo>
                  <a:cubicBezTo>
                    <a:pt x="17453" y="7855"/>
                    <a:pt x="17673" y="7635"/>
                    <a:pt x="17673" y="7364"/>
                  </a:cubicBezTo>
                  <a:lnTo>
                    <a:pt x="17673" y="982"/>
                  </a:ln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lnTo>
                    <a:pt x="20618" y="8345"/>
                  </a:lnTo>
                  <a:lnTo>
                    <a:pt x="19145" y="8345"/>
                  </a:lnTo>
                  <a:cubicBezTo>
                    <a:pt x="18875" y="8345"/>
                    <a:pt x="18655" y="8566"/>
                    <a:pt x="18655" y="8836"/>
                  </a:cubicBezTo>
                  <a:cubicBezTo>
                    <a:pt x="18655" y="9108"/>
                    <a:pt x="18875" y="9327"/>
                    <a:pt x="19145" y="9327"/>
                  </a:cubicBezTo>
                  <a:lnTo>
                    <a:pt x="20618" y="9327"/>
                  </a:lnTo>
                  <a:lnTo>
                    <a:pt x="20618" y="15709"/>
                  </a:lnTo>
                  <a:cubicBezTo>
                    <a:pt x="20618" y="16252"/>
                    <a:pt x="20179" y="16691"/>
                    <a:pt x="19636" y="16691"/>
                  </a:cubicBezTo>
                  <a:lnTo>
                    <a:pt x="19145" y="16691"/>
                  </a:lnTo>
                  <a:cubicBezTo>
                    <a:pt x="18875" y="16691"/>
                    <a:pt x="18655" y="16911"/>
                    <a:pt x="18655" y="17182"/>
                  </a:cubicBezTo>
                  <a:cubicBezTo>
                    <a:pt x="18655" y="17453"/>
                    <a:pt x="18875" y="17673"/>
                    <a:pt x="19145" y="17673"/>
                  </a:cubicBezTo>
                  <a:lnTo>
                    <a:pt x="19145" y="17673"/>
                  </a:lnTo>
                  <a:lnTo>
                    <a:pt x="19636" y="17673"/>
                  </a:lnTo>
                  <a:lnTo>
                    <a:pt x="19636" y="17673"/>
                  </a:lnTo>
                  <a:lnTo>
                    <a:pt x="20618" y="17673"/>
                  </a:lnTo>
                  <a:cubicBezTo>
                    <a:pt x="21160" y="17673"/>
                    <a:pt x="21600" y="17233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9636" y="10800"/>
                  </a:moveTo>
                  <a:lnTo>
                    <a:pt x="18655" y="10800"/>
                  </a:lnTo>
                  <a:lnTo>
                    <a:pt x="18655" y="11782"/>
                  </a:lnTo>
                  <a:lnTo>
                    <a:pt x="19636" y="11782"/>
                  </a:lnTo>
                  <a:cubicBezTo>
                    <a:pt x="19636" y="11782"/>
                    <a:pt x="19636" y="10800"/>
                    <a:pt x="19636" y="10800"/>
                  </a:cubicBezTo>
                  <a:close/>
                  <a:moveTo>
                    <a:pt x="18655" y="6873"/>
                  </a:moveTo>
                  <a:lnTo>
                    <a:pt x="19636" y="6873"/>
                  </a:lnTo>
                  <a:lnTo>
                    <a:pt x="19636" y="5891"/>
                  </a:lnTo>
                  <a:lnTo>
                    <a:pt x="18655" y="5891"/>
                  </a:lnTo>
                  <a:cubicBezTo>
                    <a:pt x="18655" y="5891"/>
                    <a:pt x="18655" y="6873"/>
                    <a:pt x="18655" y="6873"/>
                  </a:cubicBezTo>
                  <a:close/>
                  <a:moveTo>
                    <a:pt x="18655" y="15709"/>
                  </a:moveTo>
                  <a:lnTo>
                    <a:pt x="19636" y="15709"/>
                  </a:lnTo>
                  <a:lnTo>
                    <a:pt x="19636" y="14727"/>
                  </a:lnTo>
                  <a:lnTo>
                    <a:pt x="18655" y="14727"/>
                  </a:lnTo>
                  <a:cubicBezTo>
                    <a:pt x="18655" y="14727"/>
                    <a:pt x="18655" y="15709"/>
                    <a:pt x="18655" y="15709"/>
                  </a:cubicBezTo>
                  <a:close/>
                  <a:moveTo>
                    <a:pt x="19636" y="1964"/>
                  </a:moveTo>
                  <a:lnTo>
                    <a:pt x="18655" y="1964"/>
                  </a:lnTo>
                  <a:lnTo>
                    <a:pt x="18655" y="2945"/>
                  </a:lnTo>
                  <a:lnTo>
                    <a:pt x="19636" y="2945"/>
                  </a:lnTo>
                  <a:cubicBezTo>
                    <a:pt x="19636" y="2945"/>
                    <a:pt x="19636" y="1964"/>
                    <a:pt x="19636" y="1964"/>
                  </a:cubicBezTo>
                  <a:close/>
                  <a:moveTo>
                    <a:pt x="18655" y="4909"/>
                  </a:moveTo>
                  <a:lnTo>
                    <a:pt x="19636" y="4909"/>
                  </a:lnTo>
                  <a:lnTo>
                    <a:pt x="19636" y="3927"/>
                  </a:lnTo>
                  <a:lnTo>
                    <a:pt x="18655" y="3927"/>
                  </a:lnTo>
                  <a:cubicBezTo>
                    <a:pt x="18655" y="3927"/>
                    <a:pt x="18655" y="4909"/>
                    <a:pt x="18655" y="4909"/>
                  </a:cubicBezTo>
                  <a:close/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7" y="10800"/>
                    <a:pt x="4909" y="12558"/>
                    <a:pt x="4909" y="14727"/>
                  </a:cubicBezTo>
                  <a:cubicBezTo>
                    <a:pt x="4909" y="16897"/>
                    <a:pt x="6667" y="18655"/>
                    <a:pt x="8836" y="18655"/>
                  </a:cubicBezTo>
                  <a:cubicBezTo>
                    <a:pt x="11006" y="18655"/>
                    <a:pt x="12764" y="16897"/>
                    <a:pt x="12764" y="14727"/>
                  </a:cubicBezTo>
                  <a:cubicBezTo>
                    <a:pt x="12764" y="12558"/>
                    <a:pt x="11006" y="10800"/>
                    <a:pt x="8836" y="10800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5"/>
                    <a:pt x="8294" y="13745"/>
                    <a:pt x="8836" y="13745"/>
                  </a:cubicBezTo>
                  <a:cubicBezTo>
                    <a:pt x="9378" y="13745"/>
                    <a:pt x="9818" y="14185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4"/>
                    <a:pt x="14185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Shape 2658">
              <a:extLst>
                <a:ext uri="{FF2B5EF4-FFF2-40B4-BE49-F238E27FC236}">
                  <a16:creationId xmlns:a16="http://schemas.microsoft.com/office/drawing/2014/main" id="{686FACF2-97BB-4C98-8C81-C1EA99BCD757}"/>
                </a:ext>
              </a:extLst>
            </p:cNvPr>
            <p:cNvSpPr/>
            <p:nvPr/>
          </p:nvSpPr>
          <p:spPr bwMode="gray">
            <a:xfrm>
              <a:off x="116925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3745"/>
                  </a:moveTo>
                  <a:cubicBezTo>
                    <a:pt x="16420" y="13745"/>
                    <a:pt x="16200" y="13966"/>
                    <a:pt x="16200" y="14236"/>
                  </a:cubicBezTo>
                  <a:cubicBezTo>
                    <a:pt x="16200" y="14508"/>
                    <a:pt x="16420" y="14727"/>
                    <a:pt x="16691" y="14727"/>
                  </a:cubicBezTo>
                  <a:cubicBezTo>
                    <a:pt x="16962" y="14727"/>
                    <a:pt x="17182" y="14508"/>
                    <a:pt x="17182" y="14236"/>
                  </a:cubicBezTo>
                  <a:cubicBezTo>
                    <a:pt x="17182" y="13966"/>
                    <a:pt x="16962" y="13745"/>
                    <a:pt x="16691" y="13745"/>
                  </a:cubicBezTo>
                  <a:moveTo>
                    <a:pt x="16691" y="10800"/>
                  </a:moveTo>
                  <a:cubicBezTo>
                    <a:pt x="16149" y="10800"/>
                    <a:pt x="15709" y="11240"/>
                    <a:pt x="15709" y="11782"/>
                  </a:cubicBezTo>
                  <a:cubicBezTo>
                    <a:pt x="15709" y="12325"/>
                    <a:pt x="16149" y="12764"/>
                    <a:pt x="16691" y="12764"/>
                  </a:cubicBezTo>
                  <a:cubicBezTo>
                    <a:pt x="17233" y="12764"/>
                    <a:pt x="17673" y="12325"/>
                    <a:pt x="17673" y="11782"/>
                  </a:cubicBezTo>
                  <a:cubicBezTo>
                    <a:pt x="17673" y="11240"/>
                    <a:pt x="17233" y="10800"/>
                    <a:pt x="16691" y="10800"/>
                  </a:cubicBezTo>
                  <a:moveTo>
                    <a:pt x="14236" y="5891"/>
                  </a:moveTo>
                  <a:lnTo>
                    <a:pt x="17960" y="5891"/>
                  </a:lnTo>
                  <a:lnTo>
                    <a:pt x="16835" y="7017"/>
                  </a:lnTo>
                  <a:cubicBezTo>
                    <a:pt x="16746" y="7106"/>
                    <a:pt x="16691" y="7229"/>
                    <a:pt x="16691" y="7364"/>
                  </a:cubicBezTo>
                  <a:cubicBezTo>
                    <a:pt x="16691" y="7635"/>
                    <a:pt x="16911" y="7855"/>
                    <a:pt x="17182" y="7855"/>
                  </a:cubicBezTo>
                  <a:cubicBezTo>
                    <a:pt x="17317" y="7855"/>
                    <a:pt x="17440" y="7800"/>
                    <a:pt x="17529" y="7711"/>
                  </a:cubicBezTo>
                  <a:lnTo>
                    <a:pt x="19493" y="5748"/>
                  </a:lnTo>
                  <a:cubicBezTo>
                    <a:pt x="19581" y="5658"/>
                    <a:pt x="19636" y="5536"/>
                    <a:pt x="19636" y="5400"/>
                  </a:cubicBezTo>
                  <a:cubicBezTo>
                    <a:pt x="19636" y="5265"/>
                    <a:pt x="19581" y="5142"/>
                    <a:pt x="19493" y="5053"/>
                  </a:cubicBezTo>
                  <a:lnTo>
                    <a:pt x="17529" y="3089"/>
                  </a:lnTo>
                  <a:cubicBezTo>
                    <a:pt x="17440" y="3001"/>
                    <a:pt x="17317" y="2945"/>
                    <a:pt x="17182" y="2945"/>
                  </a:cubicBezTo>
                  <a:cubicBezTo>
                    <a:pt x="16911" y="2945"/>
                    <a:pt x="16691" y="3166"/>
                    <a:pt x="16691" y="3436"/>
                  </a:cubicBezTo>
                  <a:cubicBezTo>
                    <a:pt x="16691" y="3572"/>
                    <a:pt x="16746" y="3695"/>
                    <a:pt x="16835" y="3784"/>
                  </a:cubicBezTo>
                  <a:lnTo>
                    <a:pt x="17960" y="4909"/>
                  </a:lnTo>
                  <a:lnTo>
                    <a:pt x="14236" y="4909"/>
                  </a:lnTo>
                  <a:cubicBezTo>
                    <a:pt x="13966" y="4909"/>
                    <a:pt x="13745" y="5129"/>
                    <a:pt x="13745" y="5400"/>
                  </a:cubicBezTo>
                  <a:cubicBezTo>
                    <a:pt x="13745" y="5672"/>
                    <a:pt x="13966" y="5891"/>
                    <a:pt x="14236" y="5891"/>
                  </a:cubicBezTo>
                  <a:moveTo>
                    <a:pt x="10800" y="15709"/>
                  </a:moveTo>
                  <a:cubicBezTo>
                    <a:pt x="10258" y="15709"/>
                    <a:pt x="9818" y="15269"/>
                    <a:pt x="9818" y="14727"/>
                  </a:cubicBezTo>
                  <a:cubicBezTo>
                    <a:pt x="9818" y="14186"/>
                    <a:pt x="10258" y="13745"/>
                    <a:pt x="10800" y="13745"/>
                  </a:cubicBezTo>
                  <a:cubicBezTo>
                    <a:pt x="11342" y="13745"/>
                    <a:pt x="11782" y="14186"/>
                    <a:pt x="11782" y="14727"/>
                  </a:cubicBezTo>
                  <a:cubicBezTo>
                    <a:pt x="11782" y="15269"/>
                    <a:pt x="11342" y="15709"/>
                    <a:pt x="10800" y="15709"/>
                  </a:cubicBezTo>
                  <a:moveTo>
                    <a:pt x="10800" y="12764"/>
                  </a:moveTo>
                  <a:cubicBezTo>
                    <a:pt x="9716" y="12764"/>
                    <a:pt x="8836" y="13643"/>
                    <a:pt x="8836" y="14727"/>
                  </a:cubicBezTo>
                  <a:cubicBezTo>
                    <a:pt x="8836" y="15812"/>
                    <a:pt x="9716" y="16691"/>
                    <a:pt x="10800" y="16691"/>
                  </a:cubicBezTo>
                  <a:cubicBezTo>
                    <a:pt x="11884" y="16691"/>
                    <a:pt x="12764" y="15812"/>
                    <a:pt x="12764" y="14727"/>
                  </a:cubicBezTo>
                  <a:cubicBezTo>
                    <a:pt x="12764" y="13643"/>
                    <a:pt x="11884" y="12764"/>
                    <a:pt x="10800" y="12764"/>
                  </a:cubicBezTo>
                  <a:moveTo>
                    <a:pt x="4071" y="7711"/>
                  </a:moveTo>
                  <a:cubicBezTo>
                    <a:pt x="4160" y="7800"/>
                    <a:pt x="4283" y="7855"/>
                    <a:pt x="4418" y="7855"/>
                  </a:cubicBezTo>
                  <a:cubicBezTo>
                    <a:pt x="4689" y="7855"/>
                    <a:pt x="4909" y="7635"/>
                    <a:pt x="4909" y="7364"/>
                  </a:cubicBezTo>
                  <a:cubicBezTo>
                    <a:pt x="4909" y="7229"/>
                    <a:pt x="4854" y="7106"/>
                    <a:pt x="4765" y="7017"/>
                  </a:cubicBezTo>
                  <a:lnTo>
                    <a:pt x="3640" y="5891"/>
                  </a:lnTo>
                  <a:lnTo>
                    <a:pt x="7364" y="5891"/>
                  </a:lnTo>
                  <a:cubicBezTo>
                    <a:pt x="7634" y="5891"/>
                    <a:pt x="7855" y="5672"/>
                    <a:pt x="7855" y="5400"/>
                  </a:cubicBezTo>
                  <a:cubicBezTo>
                    <a:pt x="7855" y="5129"/>
                    <a:pt x="7634" y="4909"/>
                    <a:pt x="7364" y="4909"/>
                  </a:cubicBezTo>
                  <a:lnTo>
                    <a:pt x="3640" y="4909"/>
                  </a:lnTo>
                  <a:lnTo>
                    <a:pt x="4765" y="3784"/>
                  </a:lnTo>
                  <a:cubicBezTo>
                    <a:pt x="4854" y="3695"/>
                    <a:pt x="4909" y="3572"/>
                    <a:pt x="4909" y="3436"/>
                  </a:cubicBezTo>
                  <a:cubicBezTo>
                    <a:pt x="4909" y="3166"/>
                    <a:pt x="4689" y="2945"/>
                    <a:pt x="4418" y="2945"/>
                  </a:cubicBezTo>
                  <a:cubicBezTo>
                    <a:pt x="4283" y="2945"/>
                    <a:pt x="4160" y="3001"/>
                    <a:pt x="4071" y="3089"/>
                  </a:cubicBezTo>
                  <a:lnTo>
                    <a:pt x="2107" y="5053"/>
                  </a:lnTo>
                  <a:cubicBezTo>
                    <a:pt x="2019" y="5142"/>
                    <a:pt x="1964" y="5265"/>
                    <a:pt x="1964" y="5400"/>
                  </a:cubicBezTo>
                  <a:cubicBezTo>
                    <a:pt x="1964" y="5536"/>
                    <a:pt x="2019" y="5658"/>
                    <a:pt x="2107" y="5748"/>
                  </a:cubicBezTo>
                  <a:cubicBezTo>
                    <a:pt x="2107" y="5748"/>
                    <a:pt x="4071" y="7711"/>
                    <a:pt x="4071" y="7711"/>
                  </a:cubicBezTo>
                  <a:close/>
                  <a:moveTo>
                    <a:pt x="20618" y="15709"/>
                  </a:moveTo>
                  <a:lnTo>
                    <a:pt x="19636" y="15709"/>
                  </a:lnTo>
                  <a:lnTo>
                    <a:pt x="19636" y="10800"/>
                  </a:lnTo>
                  <a:cubicBezTo>
                    <a:pt x="19636" y="9716"/>
                    <a:pt x="18757" y="8836"/>
                    <a:pt x="17673" y="8836"/>
                  </a:cubicBezTo>
                  <a:lnTo>
                    <a:pt x="15709" y="8836"/>
                  </a:lnTo>
                  <a:cubicBezTo>
                    <a:pt x="14236" y="8836"/>
                    <a:pt x="14236" y="6873"/>
                    <a:pt x="12273" y="6873"/>
                  </a:cubicBezTo>
                  <a:lnTo>
                    <a:pt x="9327" y="6873"/>
                  </a:lnTo>
                  <a:cubicBezTo>
                    <a:pt x="7364" y="6873"/>
                    <a:pt x="7364" y="8836"/>
                    <a:pt x="5891" y="8836"/>
                  </a:cubicBezTo>
                  <a:lnTo>
                    <a:pt x="3927" y="8836"/>
                  </a:lnTo>
                  <a:cubicBezTo>
                    <a:pt x="2843" y="8836"/>
                    <a:pt x="1964" y="9716"/>
                    <a:pt x="1964" y="10800"/>
                  </a:cubicBezTo>
                  <a:lnTo>
                    <a:pt x="1964" y="15709"/>
                  </a:lnTo>
                  <a:lnTo>
                    <a:pt x="982" y="157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15709"/>
                    <a:pt x="20618" y="15709"/>
                  </a:cubicBezTo>
                  <a:close/>
                  <a:moveTo>
                    <a:pt x="18655" y="19636"/>
                  </a:moveTo>
                  <a:cubicBezTo>
                    <a:pt x="18655" y="20178"/>
                    <a:pt x="18215" y="20618"/>
                    <a:pt x="17673" y="20618"/>
                  </a:cubicBezTo>
                  <a:lnTo>
                    <a:pt x="3927" y="20618"/>
                  </a:lnTo>
                  <a:cubicBezTo>
                    <a:pt x="3385" y="20618"/>
                    <a:pt x="2945" y="20178"/>
                    <a:pt x="2945" y="19636"/>
                  </a:cubicBezTo>
                  <a:lnTo>
                    <a:pt x="2945" y="10800"/>
                  </a:lnTo>
                  <a:cubicBezTo>
                    <a:pt x="2945" y="10258"/>
                    <a:pt x="3385" y="9818"/>
                    <a:pt x="3927" y="9818"/>
                  </a:cubicBezTo>
                  <a:lnTo>
                    <a:pt x="5891" y="9818"/>
                  </a:lnTo>
                  <a:cubicBezTo>
                    <a:pt x="7855" y="9818"/>
                    <a:pt x="7855" y="7855"/>
                    <a:pt x="9327" y="7855"/>
                  </a:cubicBezTo>
                  <a:lnTo>
                    <a:pt x="10800" y="7855"/>
                  </a:lnTo>
                  <a:lnTo>
                    <a:pt x="12273" y="7855"/>
                  </a:lnTo>
                  <a:cubicBezTo>
                    <a:pt x="13745" y="7855"/>
                    <a:pt x="13745" y="9818"/>
                    <a:pt x="15709" y="9818"/>
                  </a:cubicBezTo>
                  <a:lnTo>
                    <a:pt x="17673" y="9818"/>
                  </a:lnTo>
                  <a:cubicBezTo>
                    <a:pt x="18215" y="9818"/>
                    <a:pt x="18655" y="10258"/>
                    <a:pt x="18655" y="10800"/>
                  </a:cubicBezTo>
                  <a:cubicBezTo>
                    <a:pt x="18655" y="10800"/>
                    <a:pt x="18655" y="19636"/>
                    <a:pt x="18655" y="19636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15709"/>
                  </a:lnTo>
                  <a:cubicBezTo>
                    <a:pt x="0" y="16252"/>
                    <a:pt x="440" y="16691"/>
                    <a:pt x="982" y="16691"/>
                  </a:cubicBezTo>
                  <a:lnTo>
                    <a:pt x="1964" y="16691"/>
                  </a:lnTo>
                  <a:lnTo>
                    <a:pt x="1964" y="19636"/>
                  </a:lnTo>
                  <a:cubicBezTo>
                    <a:pt x="1964" y="20721"/>
                    <a:pt x="2843" y="21600"/>
                    <a:pt x="3927" y="21600"/>
                  </a:cubicBezTo>
                  <a:lnTo>
                    <a:pt x="17673" y="21600"/>
                  </a:lnTo>
                  <a:cubicBezTo>
                    <a:pt x="18757" y="21600"/>
                    <a:pt x="19636" y="20721"/>
                    <a:pt x="19636" y="19636"/>
                  </a:cubicBezTo>
                  <a:lnTo>
                    <a:pt x="19636" y="16691"/>
                  </a:lnTo>
                  <a:lnTo>
                    <a:pt x="20618" y="16691"/>
                  </a:lnTo>
                  <a:cubicBezTo>
                    <a:pt x="21160" y="16691"/>
                    <a:pt x="21600" y="16252"/>
                    <a:pt x="21600" y="157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0800" y="17673"/>
                  </a:moveTo>
                  <a:cubicBezTo>
                    <a:pt x="9173" y="17673"/>
                    <a:pt x="7855" y="16354"/>
                    <a:pt x="7855" y="14727"/>
                  </a:cubicBezTo>
                  <a:cubicBezTo>
                    <a:pt x="7855" y="13101"/>
                    <a:pt x="9173" y="11782"/>
                    <a:pt x="10800" y="11782"/>
                  </a:cubicBezTo>
                  <a:cubicBezTo>
                    <a:pt x="12427" y="11782"/>
                    <a:pt x="13745" y="13101"/>
                    <a:pt x="13745" y="14727"/>
                  </a:cubicBezTo>
                  <a:cubicBezTo>
                    <a:pt x="13745" y="16354"/>
                    <a:pt x="12427" y="17673"/>
                    <a:pt x="10800" y="17673"/>
                  </a:cubicBezTo>
                  <a:moveTo>
                    <a:pt x="10800" y="10800"/>
                  </a:moveTo>
                  <a:cubicBezTo>
                    <a:pt x="8631" y="10800"/>
                    <a:pt x="6873" y="12558"/>
                    <a:pt x="6873" y="14727"/>
                  </a:cubicBezTo>
                  <a:cubicBezTo>
                    <a:pt x="6873" y="16897"/>
                    <a:pt x="8631" y="18655"/>
                    <a:pt x="10800" y="18655"/>
                  </a:cubicBezTo>
                  <a:cubicBezTo>
                    <a:pt x="12969" y="18655"/>
                    <a:pt x="14727" y="16897"/>
                    <a:pt x="14727" y="14727"/>
                  </a:cubicBezTo>
                  <a:cubicBezTo>
                    <a:pt x="14727" y="12558"/>
                    <a:pt x="12969" y="10800"/>
                    <a:pt x="108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Shape 2659">
              <a:extLst>
                <a:ext uri="{FF2B5EF4-FFF2-40B4-BE49-F238E27FC236}">
                  <a16:creationId xmlns:a16="http://schemas.microsoft.com/office/drawing/2014/main" id="{432841E2-61B9-478E-A140-5C10325F6133}"/>
                </a:ext>
              </a:extLst>
            </p:cNvPr>
            <p:cNvSpPr/>
            <p:nvPr/>
          </p:nvSpPr>
          <p:spPr bwMode="gray">
            <a:xfrm>
              <a:off x="172096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7855"/>
                  </a:moveTo>
                  <a:cubicBezTo>
                    <a:pt x="16052" y="7855"/>
                    <a:pt x="16376" y="7925"/>
                    <a:pt x="16682" y="8033"/>
                  </a:cubicBezTo>
                  <a:cubicBezTo>
                    <a:pt x="16684" y="7973"/>
                    <a:pt x="16691" y="7915"/>
                    <a:pt x="16691" y="7855"/>
                  </a:cubicBezTo>
                  <a:cubicBezTo>
                    <a:pt x="16691" y="5686"/>
                    <a:pt x="14932" y="3927"/>
                    <a:pt x="12764" y="3927"/>
                  </a:cubicBezTo>
                  <a:cubicBezTo>
                    <a:pt x="11311" y="3927"/>
                    <a:pt x="10045" y="4718"/>
                    <a:pt x="9366" y="5891"/>
                  </a:cubicBezTo>
                  <a:lnTo>
                    <a:pt x="10309" y="5891"/>
                  </a:lnTo>
                  <a:cubicBezTo>
                    <a:pt x="10401" y="5891"/>
                    <a:pt x="10481" y="5904"/>
                    <a:pt x="10567" y="5910"/>
                  </a:cubicBezTo>
                  <a:cubicBezTo>
                    <a:pt x="11107" y="5301"/>
                    <a:pt x="11886" y="4909"/>
                    <a:pt x="12764" y="4909"/>
                  </a:cubicBezTo>
                  <a:cubicBezTo>
                    <a:pt x="14390" y="4909"/>
                    <a:pt x="15709" y="6228"/>
                    <a:pt x="15709" y="7855"/>
                  </a:cubicBezTo>
                  <a:moveTo>
                    <a:pt x="11716" y="6199"/>
                  </a:moveTo>
                  <a:cubicBezTo>
                    <a:pt x="12102" y="6387"/>
                    <a:pt x="12403" y="6637"/>
                    <a:pt x="12649" y="6884"/>
                  </a:cubicBezTo>
                  <a:cubicBezTo>
                    <a:pt x="12687" y="6880"/>
                    <a:pt x="12724" y="6873"/>
                    <a:pt x="12764" y="6873"/>
                  </a:cubicBezTo>
                  <a:cubicBezTo>
                    <a:pt x="13306" y="6873"/>
                    <a:pt x="13745" y="7313"/>
                    <a:pt x="13745" y="7855"/>
                  </a:cubicBezTo>
                  <a:lnTo>
                    <a:pt x="14727" y="7855"/>
                  </a:lnTo>
                  <a:cubicBezTo>
                    <a:pt x="14727" y="6770"/>
                    <a:pt x="13848" y="5891"/>
                    <a:pt x="12764" y="5891"/>
                  </a:cubicBezTo>
                  <a:cubicBezTo>
                    <a:pt x="12377" y="5891"/>
                    <a:pt x="12020" y="6006"/>
                    <a:pt x="11716" y="6199"/>
                  </a:cubicBezTo>
                  <a:moveTo>
                    <a:pt x="19636" y="1964"/>
                  </a:moveTo>
                  <a:lnTo>
                    <a:pt x="17673" y="1964"/>
                  </a:lnTo>
                  <a:cubicBezTo>
                    <a:pt x="16200" y="1964"/>
                    <a:pt x="16200" y="0"/>
                    <a:pt x="14236" y="0"/>
                  </a:cubicBezTo>
                  <a:lnTo>
                    <a:pt x="11291" y="0"/>
                  </a:lnTo>
                  <a:cubicBezTo>
                    <a:pt x="9327" y="0"/>
                    <a:pt x="9327" y="1964"/>
                    <a:pt x="7855" y="1964"/>
                  </a:cubicBezTo>
                  <a:lnTo>
                    <a:pt x="5891" y="1964"/>
                  </a:lnTo>
                  <a:cubicBezTo>
                    <a:pt x="4806" y="1964"/>
                    <a:pt x="3927" y="2843"/>
                    <a:pt x="3927" y="3927"/>
                  </a:cubicBezTo>
                  <a:lnTo>
                    <a:pt x="3927" y="7855"/>
                  </a:lnTo>
                  <a:cubicBezTo>
                    <a:pt x="4125" y="7855"/>
                    <a:pt x="4236" y="7769"/>
                    <a:pt x="4627" y="7318"/>
                  </a:cubicBezTo>
                  <a:cubicBezTo>
                    <a:pt x="4712" y="7220"/>
                    <a:pt x="4807" y="7113"/>
                    <a:pt x="4909" y="7005"/>
                  </a:cubicBezTo>
                  <a:lnTo>
                    <a:pt x="4909" y="3927"/>
                  </a:lnTo>
                  <a:cubicBezTo>
                    <a:pt x="4909" y="3386"/>
                    <a:pt x="5349" y="2945"/>
                    <a:pt x="5891" y="2945"/>
                  </a:cubicBezTo>
                  <a:lnTo>
                    <a:pt x="7855" y="2945"/>
                  </a:lnTo>
                  <a:cubicBezTo>
                    <a:pt x="9818" y="2945"/>
                    <a:pt x="9818" y="982"/>
                    <a:pt x="11291" y="982"/>
                  </a:cubicBezTo>
                  <a:lnTo>
                    <a:pt x="12764" y="982"/>
                  </a:lnTo>
                  <a:lnTo>
                    <a:pt x="14236" y="982"/>
                  </a:lnTo>
                  <a:cubicBezTo>
                    <a:pt x="15709" y="982"/>
                    <a:pt x="15709" y="2945"/>
                    <a:pt x="17673" y="2945"/>
                  </a:cubicBezTo>
                  <a:lnTo>
                    <a:pt x="19636" y="2945"/>
                  </a:lnTo>
                  <a:cubicBezTo>
                    <a:pt x="20178" y="2945"/>
                    <a:pt x="20618" y="3386"/>
                    <a:pt x="20618" y="3927"/>
                  </a:cubicBezTo>
                  <a:lnTo>
                    <a:pt x="20618" y="12764"/>
                  </a:lnTo>
                  <a:cubicBezTo>
                    <a:pt x="20618" y="13306"/>
                    <a:pt x="20178" y="13745"/>
                    <a:pt x="19636" y="13745"/>
                  </a:cubicBezTo>
                  <a:lnTo>
                    <a:pt x="18655" y="13745"/>
                  </a:lnTo>
                  <a:lnTo>
                    <a:pt x="18655" y="14727"/>
                  </a:lnTo>
                  <a:lnTo>
                    <a:pt x="19636" y="14727"/>
                  </a:lnTo>
                  <a:cubicBezTo>
                    <a:pt x="20721" y="14727"/>
                    <a:pt x="21600" y="13849"/>
                    <a:pt x="21600" y="12764"/>
                  </a:cubicBezTo>
                  <a:lnTo>
                    <a:pt x="21600" y="3927"/>
                  </a:lnTo>
                  <a:cubicBezTo>
                    <a:pt x="21600" y="2843"/>
                    <a:pt x="20721" y="1964"/>
                    <a:pt x="19636" y="19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9636" y="4909"/>
                  </a:moveTo>
                  <a:cubicBezTo>
                    <a:pt x="19636" y="4367"/>
                    <a:pt x="19197" y="3927"/>
                    <a:pt x="18655" y="3927"/>
                  </a:cubicBezTo>
                  <a:cubicBezTo>
                    <a:pt x="18113" y="3927"/>
                    <a:pt x="17673" y="4367"/>
                    <a:pt x="17673" y="4909"/>
                  </a:cubicBezTo>
                  <a:cubicBezTo>
                    <a:pt x="17673" y="5451"/>
                    <a:pt x="18113" y="5891"/>
                    <a:pt x="18655" y="5891"/>
                  </a:cubicBezTo>
                  <a:cubicBezTo>
                    <a:pt x="19197" y="5891"/>
                    <a:pt x="19636" y="5451"/>
                    <a:pt x="19636" y="4909"/>
                  </a:cubicBezTo>
                  <a:moveTo>
                    <a:pt x="19145" y="7364"/>
                  </a:moveTo>
                  <a:cubicBezTo>
                    <a:pt x="19145" y="7093"/>
                    <a:pt x="18925" y="6873"/>
                    <a:pt x="18655" y="6873"/>
                  </a:cubicBezTo>
                  <a:cubicBezTo>
                    <a:pt x="18384" y="6873"/>
                    <a:pt x="18164" y="7093"/>
                    <a:pt x="18164" y="7364"/>
                  </a:cubicBezTo>
                  <a:cubicBezTo>
                    <a:pt x="18164" y="7635"/>
                    <a:pt x="18384" y="7855"/>
                    <a:pt x="18655" y="7855"/>
                  </a:cubicBezTo>
                  <a:cubicBezTo>
                    <a:pt x="18925" y="7855"/>
                    <a:pt x="19145" y="7635"/>
                    <a:pt x="19145" y="7364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6"/>
                    <a:pt x="8294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5"/>
                    <a:pt x="14185" y="12764"/>
                    <a:pt x="14727" y="12764"/>
                  </a:cubicBezTo>
                  <a:cubicBezTo>
                    <a:pt x="15269" y="12764"/>
                    <a:pt x="15709" y="12325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7"/>
                    <a:pt x="6668" y="18655"/>
                    <a:pt x="8836" y="18655"/>
                  </a:cubicBezTo>
                  <a:cubicBezTo>
                    <a:pt x="11005" y="18655"/>
                    <a:pt x="12764" y="16897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Shape 2660">
              <a:extLst>
                <a:ext uri="{FF2B5EF4-FFF2-40B4-BE49-F238E27FC236}">
                  <a16:creationId xmlns:a16="http://schemas.microsoft.com/office/drawing/2014/main" id="{08A84CC5-4A75-4658-A49E-DA85DDE994B6}"/>
                </a:ext>
              </a:extLst>
            </p:cNvPr>
            <p:cNvSpPr/>
            <p:nvPr/>
          </p:nvSpPr>
          <p:spPr bwMode="gray">
            <a:xfrm>
              <a:off x="2272679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3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3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1"/>
                    <a:pt x="4147" y="21600"/>
                    <a:pt x="4418" y="21600"/>
                  </a:cubicBezTo>
                  <a:cubicBezTo>
                    <a:pt x="4689" y="21600"/>
                    <a:pt x="4909" y="21381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1"/>
                    <a:pt x="16911" y="21600"/>
                    <a:pt x="17182" y="21600"/>
                  </a:cubicBezTo>
                  <a:cubicBezTo>
                    <a:pt x="17453" y="21600"/>
                    <a:pt x="17673" y="21381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Shape 2661">
              <a:extLst>
                <a:ext uri="{FF2B5EF4-FFF2-40B4-BE49-F238E27FC236}">
                  <a16:creationId xmlns:a16="http://schemas.microsoft.com/office/drawing/2014/main" id="{06DA42D1-7AAF-412A-95A1-911DB7D6CD08}"/>
                </a:ext>
              </a:extLst>
            </p:cNvPr>
            <p:cNvSpPr/>
            <p:nvPr/>
          </p:nvSpPr>
          <p:spPr bwMode="gray">
            <a:xfrm>
              <a:off x="282439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7855"/>
                  </a:moveTo>
                  <a:lnTo>
                    <a:pt x="7855" y="7855"/>
                  </a:lnTo>
                  <a:lnTo>
                    <a:pt x="7855" y="9818"/>
                  </a:lnTo>
                  <a:lnTo>
                    <a:pt x="9818" y="9818"/>
                  </a:lnTo>
                  <a:cubicBezTo>
                    <a:pt x="9818" y="9818"/>
                    <a:pt x="9818" y="7855"/>
                    <a:pt x="9818" y="7855"/>
                  </a:cubicBezTo>
                  <a:close/>
                  <a:moveTo>
                    <a:pt x="5891" y="7855"/>
                  </a:moveTo>
                  <a:lnTo>
                    <a:pt x="3927" y="7855"/>
                  </a:lnTo>
                  <a:lnTo>
                    <a:pt x="3927" y="9818"/>
                  </a:lnTo>
                  <a:lnTo>
                    <a:pt x="5891" y="9818"/>
                  </a:lnTo>
                  <a:cubicBezTo>
                    <a:pt x="5891" y="9818"/>
                    <a:pt x="5891" y="7855"/>
                    <a:pt x="5891" y="7855"/>
                  </a:cubicBezTo>
                  <a:close/>
                  <a:moveTo>
                    <a:pt x="13745" y="7855"/>
                  </a:moveTo>
                  <a:lnTo>
                    <a:pt x="11782" y="7855"/>
                  </a:lnTo>
                  <a:lnTo>
                    <a:pt x="11782" y="9818"/>
                  </a:lnTo>
                  <a:lnTo>
                    <a:pt x="13745" y="9818"/>
                  </a:lnTo>
                  <a:cubicBezTo>
                    <a:pt x="13745" y="9818"/>
                    <a:pt x="13745" y="7855"/>
                    <a:pt x="13745" y="7855"/>
                  </a:cubicBezTo>
                  <a:close/>
                  <a:moveTo>
                    <a:pt x="7855" y="13745"/>
                  </a:moveTo>
                  <a:lnTo>
                    <a:pt x="9818" y="13745"/>
                  </a:lnTo>
                  <a:lnTo>
                    <a:pt x="9818" y="11782"/>
                  </a:lnTo>
                  <a:lnTo>
                    <a:pt x="7855" y="11782"/>
                  </a:lnTo>
                  <a:cubicBezTo>
                    <a:pt x="7855" y="11782"/>
                    <a:pt x="7855" y="13745"/>
                    <a:pt x="7855" y="13745"/>
                  </a:cubicBezTo>
                  <a:close/>
                  <a:moveTo>
                    <a:pt x="13745" y="11782"/>
                  </a:moveTo>
                  <a:lnTo>
                    <a:pt x="15709" y="11782"/>
                  </a:lnTo>
                  <a:lnTo>
                    <a:pt x="15709" y="9818"/>
                  </a:lnTo>
                  <a:lnTo>
                    <a:pt x="13745" y="9818"/>
                  </a:lnTo>
                  <a:cubicBezTo>
                    <a:pt x="13745" y="9818"/>
                    <a:pt x="13745" y="11782"/>
                    <a:pt x="13745" y="11782"/>
                  </a:cubicBezTo>
                  <a:close/>
                  <a:moveTo>
                    <a:pt x="5891" y="11782"/>
                  </a:moveTo>
                  <a:lnTo>
                    <a:pt x="3927" y="11782"/>
                  </a:lnTo>
                  <a:lnTo>
                    <a:pt x="3927" y="13745"/>
                  </a:lnTo>
                  <a:lnTo>
                    <a:pt x="5891" y="13745"/>
                  </a:lnTo>
                  <a:cubicBezTo>
                    <a:pt x="5891" y="13745"/>
                    <a:pt x="5891" y="11782"/>
                    <a:pt x="5891" y="11782"/>
                  </a:cubicBezTo>
                  <a:close/>
                  <a:moveTo>
                    <a:pt x="11782" y="13745"/>
                  </a:moveTo>
                  <a:lnTo>
                    <a:pt x="13745" y="13745"/>
                  </a:lnTo>
                  <a:lnTo>
                    <a:pt x="13745" y="11782"/>
                  </a:lnTo>
                  <a:lnTo>
                    <a:pt x="11782" y="11782"/>
                  </a:lnTo>
                  <a:cubicBezTo>
                    <a:pt x="11782" y="11782"/>
                    <a:pt x="11782" y="13745"/>
                    <a:pt x="11782" y="13745"/>
                  </a:cubicBezTo>
                  <a:close/>
                  <a:moveTo>
                    <a:pt x="13745" y="15709"/>
                  </a:moveTo>
                  <a:lnTo>
                    <a:pt x="15709" y="15709"/>
                  </a:lnTo>
                  <a:lnTo>
                    <a:pt x="15709" y="13745"/>
                  </a:lnTo>
                  <a:lnTo>
                    <a:pt x="13745" y="13745"/>
                  </a:lnTo>
                  <a:cubicBezTo>
                    <a:pt x="13745" y="13745"/>
                    <a:pt x="13745" y="15709"/>
                    <a:pt x="13745" y="15709"/>
                  </a:cubicBezTo>
                  <a:close/>
                  <a:moveTo>
                    <a:pt x="17673" y="7855"/>
                  </a:moveTo>
                  <a:lnTo>
                    <a:pt x="19636" y="7855"/>
                  </a:lnTo>
                  <a:lnTo>
                    <a:pt x="19636" y="5891"/>
                  </a:lnTo>
                  <a:lnTo>
                    <a:pt x="17673" y="5891"/>
                  </a:lnTo>
                  <a:cubicBezTo>
                    <a:pt x="17673" y="5891"/>
                    <a:pt x="17673" y="7855"/>
                    <a:pt x="17673" y="7855"/>
                  </a:cubicBezTo>
                  <a:close/>
                  <a:moveTo>
                    <a:pt x="15709" y="9818"/>
                  </a:moveTo>
                  <a:lnTo>
                    <a:pt x="17673" y="9818"/>
                  </a:lnTo>
                  <a:lnTo>
                    <a:pt x="17673" y="7855"/>
                  </a:lnTo>
                  <a:lnTo>
                    <a:pt x="15709" y="7855"/>
                  </a:lnTo>
                  <a:cubicBezTo>
                    <a:pt x="15709" y="7855"/>
                    <a:pt x="15709" y="9818"/>
                    <a:pt x="15709" y="9818"/>
                  </a:cubicBezTo>
                  <a:close/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2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2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0"/>
                    <a:pt x="4147" y="21600"/>
                    <a:pt x="4418" y="21600"/>
                  </a:cubicBezTo>
                  <a:cubicBezTo>
                    <a:pt x="4689" y="21600"/>
                    <a:pt x="4909" y="21380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0"/>
                    <a:pt x="16911" y="21600"/>
                    <a:pt x="17182" y="21600"/>
                  </a:cubicBez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  <a:moveTo>
                    <a:pt x="5891" y="15709"/>
                  </a:moveTo>
                  <a:lnTo>
                    <a:pt x="7855" y="15709"/>
                  </a:lnTo>
                  <a:lnTo>
                    <a:pt x="7855" y="13745"/>
                  </a:lnTo>
                  <a:lnTo>
                    <a:pt x="5891" y="13745"/>
                  </a:lnTo>
                  <a:cubicBezTo>
                    <a:pt x="5891" y="13745"/>
                    <a:pt x="5891" y="15709"/>
                    <a:pt x="5891" y="15709"/>
                  </a:cubicBezTo>
                  <a:close/>
                  <a:moveTo>
                    <a:pt x="9818" y="15709"/>
                  </a:moveTo>
                  <a:lnTo>
                    <a:pt x="11782" y="15709"/>
                  </a:lnTo>
                  <a:lnTo>
                    <a:pt x="11782" y="13745"/>
                  </a:lnTo>
                  <a:lnTo>
                    <a:pt x="9818" y="13745"/>
                  </a:lnTo>
                  <a:cubicBezTo>
                    <a:pt x="9818" y="13745"/>
                    <a:pt x="9818" y="15709"/>
                    <a:pt x="9818" y="15709"/>
                  </a:cubicBezTo>
                  <a:close/>
                  <a:moveTo>
                    <a:pt x="7855" y="9818"/>
                  </a:moveTo>
                  <a:lnTo>
                    <a:pt x="5891" y="9818"/>
                  </a:lnTo>
                  <a:lnTo>
                    <a:pt x="5891" y="11782"/>
                  </a:lnTo>
                  <a:lnTo>
                    <a:pt x="7855" y="11782"/>
                  </a:lnTo>
                  <a:cubicBezTo>
                    <a:pt x="7855" y="11782"/>
                    <a:pt x="7855" y="9818"/>
                    <a:pt x="7855" y="9818"/>
                  </a:cubicBezTo>
                  <a:close/>
                  <a:moveTo>
                    <a:pt x="15709" y="13745"/>
                  </a:moveTo>
                  <a:lnTo>
                    <a:pt x="17673" y="13745"/>
                  </a:lnTo>
                  <a:lnTo>
                    <a:pt x="17673" y="11782"/>
                  </a:lnTo>
                  <a:lnTo>
                    <a:pt x="15709" y="11782"/>
                  </a:lnTo>
                  <a:cubicBezTo>
                    <a:pt x="15709" y="11782"/>
                    <a:pt x="15709" y="13745"/>
                    <a:pt x="15709" y="13745"/>
                  </a:cubicBezTo>
                  <a:close/>
                  <a:moveTo>
                    <a:pt x="1964" y="7855"/>
                  </a:moveTo>
                  <a:lnTo>
                    <a:pt x="3927" y="7855"/>
                  </a:lnTo>
                  <a:lnTo>
                    <a:pt x="3927" y="5891"/>
                  </a:lnTo>
                  <a:lnTo>
                    <a:pt x="1964" y="5891"/>
                  </a:lnTo>
                  <a:cubicBezTo>
                    <a:pt x="1964" y="5891"/>
                    <a:pt x="1964" y="7855"/>
                    <a:pt x="1964" y="7855"/>
                  </a:cubicBezTo>
                  <a:close/>
                  <a:moveTo>
                    <a:pt x="3927" y="17673"/>
                  </a:moveTo>
                  <a:lnTo>
                    <a:pt x="5891" y="17673"/>
                  </a:lnTo>
                  <a:lnTo>
                    <a:pt x="5891" y="15709"/>
                  </a:lnTo>
                  <a:lnTo>
                    <a:pt x="3927" y="15709"/>
                  </a:lnTo>
                  <a:cubicBezTo>
                    <a:pt x="3927" y="15709"/>
                    <a:pt x="3927" y="17673"/>
                    <a:pt x="3927" y="17673"/>
                  </a:cubicBezTo>
                  <a:close/>
                  <a:moveTo>
                    <a:pt x="11782" y="5891"/>
                  </a:moveTo>
                  <a:lnTo>
                    <a:pt x="9818" y="5891"/>
                  </a:lnTo>
                  <a:lnTo>
                    <a:pt x="9818" y="7855"/>
                  </a:lnTo>
                  <a:lnTo>
                    <a:pt x="11782" y="7855"/>
                  </a:lnTo>
                  <a:cubicBezTo>
                    <a:pt x="11782" y="7855"/>
                    <a:pt x="11782" y="5891"/>
                    <a:pt x="11782" y="5891"/>
                  </a:cubicBezTo>
                  <a:close/>
                  <a:moveTo>
                    <a:pt x="7855" y="5891"/>
                  </a:moveTo>
                  <a:lnTo>
                    <a:pt x="5891" y="5891"/>
                  </a:lnTo>
                  <a:lnTo>
                    <a:pt x="5891" y="7855"/>
                  </a:lnTo>
                  <a:lnTo>
                    <a:pt x="7855" y="7855"/>
                  </a:lnTo>
                  <a:cubicBezTo>
                    <a:pt x="7855" y="7855"/>
                    <a:pt x="7855" y="5891"/>
                    <a:pt x="7855" y="5891"/>
                  </a:cubicBezTo>
                  <a:close/>
                  <a:moveTo>
                    <a:pt x="1964" y="15709"/>
                  </a:moveTo>
                  <a:lnTo>
                    <a:pt x="3927" y="15709"/>
                  </a:lnTo>
                  <a:lnTo>
                    <a:pt x="3927" y="13745"/>
                  </a:lnTo>
                  <a:lnTo>
                    <a:pt x="1964" y="13745"/>
                  </a:lnTo>
                  <a:cubicBezTo>
                    <a:pt x="1964" y="13745"/>
                    <a:pt x="1964" y="15709"/>
                    <a:pt x="1964" y="15709"/>
                  </a:cubicBezTo>
                  <a:close/>
                  <a:moveTo>
                    <a:pt x="1964" y="11782"/>
                  </a:moveTo>
                  <a:lnTo>
                    <a:pt x="3927" y="11782"/>
                  </a:lnTo>
                  <a:lnTo>
                    <a:pt x="3927" y="9818"/>
                  </a:lnTo>
                  <a:lnTo>
                    <a:pt x="1964" y="9818"/>
                  </a:lnTo>
                  <a:cubicBezTo>
                    <a:pt x="1964" y="9818"/>
                    <a:pt x="1964" y="11782"/>
                    <a:pt x="1964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5709"/>
                  </a:lnTo>
                  <a:lnTo>
                    <a:pt x="7855" y="15709"/>
                  </a:lnTo>
                  <a:cubicBezTo>
                    <a:pt x="7855" y="15709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5709"/>
                  </a:lnTo>
                  <a:lnTo>
                    <a:pt x="11782" y="15709"/>
                  </a:lnTo>
                  <a:cubicBezTo>
                    <a:pt x="11782" y="15709"/>
                    <a:pt x="11782" y="17673"/>
                    <a:pt x="11782" y="17673"/>
                  </a:cubicBezTo>
                  <a:close/>
                  <a:moveTo>
                    <a:pt x="15709" y="17673"/>
                  </a:moveTo>
                  <a:lnTo>
                    <a:pt x="17673" y="17673"/>
                  </a:lnTo>
                  <a:lnTo>
                    <a:pt x="17673" y="15709"/>
                  </a:lnTo>
                  <a:lnTo>
                    <a:pt x="15709" y="15709"/>
                  </a:lnTo>
                  <a:cubicBezTo>
                    <a:pt x="15709" y="15709"/>
                    <a:pt x="15709" y="17673"/>
                    <a:pt x="15709" y="17673"/>
                  </a:cubicBezTo>
                  <a:close/>
                  <a:moveTo>
                    <a:pt x="11782" y="9818"/>
                  </a:moveTo>
                  <a:lnTo>
                    <a:pt x="9818" y="9818"/>
                  </a:lnTo>
                  <a:lnTo>
                    <a:pt x="9818" y="11782"/>
                  </a:lnTo>
                  <a:lnTo>
                    <a:pt x="11782" y="11782"/>
                  </a:lnTo>
                  <a:cubicBezTo>
                    <a:pt x="11782" y="11782"/>
                    <a:pt x="11782" y="9818"/>
                    <a:pt x="11782" y="9818"/>
                  </a:cubicBezTo>
                  <a:close/>
                  <a:moveTo>
                    <a:pt x="19636" y="9818"/>
                  </a:moveTo>
                  <a:lnTo>
                    <a:pt x="17673" y="9818"/>
                  </a:lnTo>
                  <a:lnTo>
                    <a:pt x="17673" y="11782"/>
                  </a:lnTo>
                  <a:lnTo>
                    <a:pt x="19636" y="11782"/>
                  </a:lnTo>
                  <a:cubicBezTo>
                    <a:pt x="19636" y="11782"/>
                    <a:pt x="19636" y="9818"/>
                    <a:pt x="19636" y="9818"/>
                  </a:cubicBezTo>
                  <a:close/>
                  <a:moveTo>
                    <a:pt x="19636" y="13745"/>
                  </a:moveTo>
                  <a:lnTo>
                    <a:pt x="17673" y="13745"/>
                  </a:lnTo>
                  <a:lnTo>
                    <a:pt x="17673" y="15709"/>
                  </a:lnTo>
                  <a:lnTo>
                    <a:pt x="19636" y="15709"/>
                  </a:lnTo>
                  <a:cubicBezTo>
                    <a:pt x="19636" y="15709"/>
                    <a:pt x="19636" y="13745"/>
                    <a:pt x="19636" y="13745"/>
                  </a:cubicBezTo>
                  <a:close/>
                  <a:moveTo>
                    <a:pt x="15709" y="5891"/>
                  </a:moveTo>
                  <a:lnTo>
                    <a:pt x="13745" y="5891"/>
                  </a:lnTo>
                  <a:lnTo>
                    <a:pt x="13745" y="7855"/>
                  </a:lnTo>
                  <a:lnTo>
                    <a:pt x="15709" y="7855"/>
                  </a:lnTo>
                  <a:cubicBezTo>
                    <a:pt x="15709" y="7855"/>
                    <a:pt x="15709" y="5891"/>
                    <a:pt x="15709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Shape 2662">
              <a:extLst>
                <a:ext uri="{FF2B5EF4-FFF2-40B4-BE49-F238E27FC236}">
                  <a16:creationId xmlns:a16="http://schemas.microsoft.com/office/drawing/2014/main" id="{08A351C0-B459-4694-B5AF-1A98B72C848D}"/>
                </a:ext>
              </a:extLst>
            </p:cNvPr>
            <p:cNvSpPr/>
            <p:nvPr/>
          </p:nvSpPr>
          <p:spPr bwMode="gray">
            <a:xfrm>
              <a:off x="3376106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782"/>
                  </a:moveTo>
                  <a:cubicBezTo>
                    <a:pt x="18383" y="11782"/>
                    <a:pt x="18164" y="12002"/>
                    <a:pt x="18164" y="12273"/>
                  </a:cubicBezTo>
                  <a:cubicBezTo>
                    <a:pt x="18164" y="12544"/>
                    <a:pt x="18383" y="12764"/>
                    <a:pt x="18655" y="12764"/>
                  </a:cubicBezTo>
                  <a:cubicBezTo>
                    <a:pt x="18926" y="12764"/>
                    <a:pt x="19145" y="12544"/>
                    <a:pt x="19145" y="12273"/>
                  </a:cubicBezTo>
                  <a:cubicBezTo>
                    <a:pt x="19145" y="12002"/>
                    <a:pt x="18926" y="11782"/>
                    <a:pt x="18655" y="11782"/>
                  </a:cubicBezTo>
                  <a:moveTo>
                    <a:pt x="18655" y="13745"/>
                  </a:moveTo>
                  <a:cubicBezTo>
                    <a:pt x="18383" y="13745"/>
                    <a:pt x="18164" y="13966"/>
                    <a:pt x="18164" y="14236"/>
                  </a:cubicBezTo>
                  <a:cubicBezTo>
                    <a:pt x="18164" y="14508"/>
                    <a:pt x="18383" y="14727"/>
                    <a:pt x="18655" y="14727"/>
                  </a:cubicBezTo>
                  <a:cubicBezTo>
                    <a:pt x="18926" y="14727"/>
                    <a:pt x="19145" y="14508"/>
                    <a:pt x="19145" y="14236"/>
                  </a:cubicBezTo>
                  <a:cubicBezTo>
                    <a:pt x="19145" y="13966"/>
                    <a:pt x="18926" y="13745"/>
                    <a:pt x="18655" y="13745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6691" y="20618"/>
                  </a:lnTo>
                  <a:lnTo>
                    <a:pt x="16691" y="6873"/>
                  </a:ln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7855"/>
                  </a:lnTo>
                  <a:cubicBezTo>
                    <a:pt x="982" y="7313"/>
                    <a:pt x="1422" y="6873"/>
                    <a:pt x="1964" y="6873"/>
                  </a:cubicBezTo>
                  <a:lnTo>
                    <a:pt x="15709" y="6873"/>
                  </a:lnTo>
                  <a:cubicBezTo>
                    <a:pt x="15709" y="6873"/>
                    <a:pt x="15709" y="20618"/>
                    <a:pt x="15709" y="20618"/>
                  </a:cubicBezTo>
                  <a:close/>
                  <a:moveTo>
                    <a:pt x="19636" y="5891"/>
                  </a:moveTo>
                  <a:lnTo>
                    <a:pt x="13205" y="5891"/>
                  </a:lnTo>
                  <a:cubicBezTo>
                    <a:pt x="13069" y="5222"/>
                    <a:pt x="12657" y="4657"/>
                    <a:pt x="12097" y="4306"/>
                  </a:cubicBez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6" y="0"/>
                    <a:pt x="13745" y="440"/>
                    <a:pt x="13745" y="982"/>
                  </a:cubicBezTo>
                  <a:cubicBezTo>
                    <a:pt x="13745" y="1070"/>
                    <a:pt x="13761" y="1153"/>
                    <a:pt x="13782" y="1233"/>
                  </a:cubicBezTo>
                  <a:lnTo>
                    <a:pt x="11061" y="3954"/>
                  </a:lnTo>
                  <a:cubicBezTo>
                    <a:pt x="10975" y="3945"/>
                    <a:pt x="10889" y="3927"/>
                    <a:pt x="10800" y="3927"/>
                  </a:cubicBezTo>
                  <a:cubicBezTo>
                    <a:pt x="10711" y="3927"/>
                    <a:pt x="10625" y="3945"/>
                    <a:pt x="10539" y="3954"/>
                  </a:cubicBezTo>
                  <a:lnTo>
                    <a:pt x="7818" y="1233"/>
                  </a:lnTo>
                  <a:cubicBezTo>
                    <a:pt x="7839" y="1153"/>
                    <a:pt x="7855" y="1070"/>
                    <a:pt x="7855" y="982"/>
                  </a:cubicBezTo>
                  <a:cubicBezTo>
                    <a:pt x="7855" y="440"/>
                    <a:pt x="7414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503" y="4306"/>
                  </a:lnTo>
                  <a:cubicBezTo>
                    <a:pt x="8943" y="4657"/>
                    <a:pt x="8531" y="5222"/>
                    <a:pt x="8395" y="5891"/>
                  </a:cubicBez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2764" y="17673"/>
                  </a:moveTo>
                  <a:lnTo>
                    <a:pt x="3927" y="17673"/>
                  </a:lnTo>
                  <a:lnTo>
                    <a:pt x="3927" y="9818"/>
                  </a:lnTo>
                  <a:lnTo>
                    <a:pt x="12764" y="9818"/>
                  </a:lnTo>
                  <a:cubicBezTo>
                    <a:pt x="12764" y="9818"/>
                    <a:pt x="12764" y="17673"/>
                    <a:pt x="12764" y="17673"/>
                  </a:cubicBezTo>
                  <a:close/>
                  <a:moveTo>
                    <a:pt x="13745" y="8836"/>
                  </a:moveTo>
                  <a:lnTo>
                    <a:pt x="2945" y="8836"/>
                  </a:lnTo>
                  <a:lnTo>
                    <a:pt x="2945" y="18655"/>
                  </a:lnTo>
                  <a:lnTo>
                    <a:pt x="13745" y="18655"/>
                  </a:lnTo>
                  <a:cubicBezTo>
                    <a:pt x="13745" y="18655"/>
                    <a:pt x="13745" y="8836"/>
                    <a:pt x="13745" y="8836"/>
                  </a:cubicBezTo>
                  <a:close/>
                  <a:moveTo>
                    <a:pt x="18655" y="8836"/>
                  </a:moveTo>
                  <a:cubicBezTo>
                    <a:pt x="18113" y="8836"/>
                    <a:pt x="17673" y="9276"/>
                    <a:pt x="17673" y="9818"/>
                  </a:cubicBezTo>
                  <a:cubicBezTo>
                    <a:pt x="17673" y="10360"/>
                    <a:pt x="18113" y="10800"/>
                    <a:pt x="18655" y="10800"/>
                  </a:cubicBezTo>
                  <a:cubicBezTo>
                    <a:pt x="19196" y="10800"/>
                    <a:pt x="19636" y="10360"/>
                    <a:pt x="19636" y="9818"/>
                  </a:cubicBezTo>
                  <a:cubicBezTo>
                    <a:pt x="19636" y="9276"/>
                    <a:pt x="19196" y="8836"/>
                    <a:pt x="18655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Shape 2663">
              <a:extLst>
                <a:ext uri="{FF2B5EF4-FFF2-40B4-BE49-F238E27FC236}">
                  <a16:creationId xmlns:a16="http://schemas.microsoft.com/office/drawing/2014/main" id="{24AF21C4-2868-4FA1-9341-6F05727A4FAC}"/>
                </a:ext>
              </a:extLst>
            </p:cNvPr>
            <p:cNvSpPr/>
            <p:nvPr/>
          </p:nvSpPr>
          <p:spPr bwMode="gray">
            <a:xfrm>
              <a:off x="392782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0800" y="5400"/>
                  </a:moveTo>
                  <a:lnTo>
                    <a:pt x="3927" y="10800"/>
                  </a:lnTo>
                  <a:lnTo>
                    <a:pt x="8836" y="10800"/>
                  </a:lnTo>
                  <a:lnTo>
                    <a:pt x="9818" y="16200"/>
                  </a:lnTo>
                  <a:lnTo>
                    <a:pt x="16691" y="10800"/>
                  </a:lnTo>
                  <a:lnTo>
                    <a:pt x="11782" y="10800"/>
                  </a:lnTo>
                  <a:cubicBezTo>
                    <a:pt x="11782" y="10800"/>
                    <a:pt x="10800" y="5400"/>
                    <a:pt x="10800" y="54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Shape 2664">
              <a:extLst>
                <a:ext uri="{FF2B5EF4-FFF2-40B4-BE49-F238E27FC236}">
                  <a16:creationId xmlns:a16="http://schemas.microsoft.com/office/drawing/2014/main" id="{BDF4345E-8558-4EAF-A3D3-666CCE929047}"/>
                </a:ext>
              </a:extLst>
            </p:cNvPr>
            <p:cNvSpPr/>
            <p:nvPr/>
          </p:nvSpPr>
          <p:spPr bwMode="gray">
            <a:xfrm>
              <a:off x="4479533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Shape 2665">
              <a:extLst>
                <a:ext uri="{FF2B5EF4-FFF2-40B4-BE49-F238E27FC236}">
                  <a16:creationId xmlns:a16="http://schemas.microsoft.com/office/drawing/2014/main" id="{D7699A40-1A10-4811-8E93-2B5297FBFA8C}"/>
                </a:ext>
              </a:extLst>
            </p:cNvPr>
            <p:cNvSpPr/>
            <p:nvPr/>
          </p:nvSpPr>
          <p:spPr bwMode="gray">
            <a:xfrm>
              <a:off x="5031247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6873" y="18000"/>
                  </a:lnTo>
                  <a:lnTo>
                    <a:pt x="6873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Shape 2666">
              <a:extLst>
                <a:ext uri="{FF2B5EF4-FFF2-40B4-BE49-F238E27FC236}">
                  <a16:creationId xmlns:a16="http://schemas.microsoft.com/office/drawing/2014/main" id="{0DABFB97-9B68-4C2B-B1F9-3C68EE0E2B88}"/>
                </a:ext>
              </a:extLst>
            </p:cNvPr>
            <p:cNvSpPr/>
            <p:nvPr/>
          </p:nvSpPr>
          <p:spPr bwMode="gray">
            <a:xfrm>
              <a:off x="558296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10800" y="18000"/>
                  </a:lnTo>
                  <a:lnTo>
                    <a:pt x="10800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Shape 2667">
              <a:extLst>
                <a:ext uri="{FF2B5EF4-FFF2-40B4-BE49-F238E27FC236}">
                  <a16:creationId xmlns:a16="http://schemas.microsoft.com/office/drawing/2014/main" id="{D80EF58B-D630-4EEC-B276-D71BEB404A70}"/>
                </a:ext>
              </a:extLst>
            </p:cNvPr>
            <p:cNvSpPr/>
            <p:nvPr/>
          </p:nvSpPr>
          <p:spPr bwMode="gray">
            <a:xfrm>
              <a:off x="617538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4727" y="18000"/>
                  </a:lnTo>
                  <a:lnTo>
                    <a:pt x="14727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Shape 2668">
              <a:extLst>
                <a:ext uri="{FF2B5EF4-FFF2-40B4-BE49-F238E27FC236}">
                  <a16:creationId xmlns:a16="http://schemas.microsoft.com/office/drawing/2014/main" id="{4EFE4E6F-393F-423D-8871-1414997A7841}"/>
                </a:ext>
              </a:extLst>
            </p:cNvPr>
            <p:cNvSpPr/>
            <p:nvPr/>
          </p:nvSpPr>
          <p:spPr bwMode="gray">
            <a:xfrm>
              <a:off x="1169252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8655" y="18000"/>
                  </a:lnTo>
                  <a:lnTo>
                    <a:pt x="18655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Shape 2669">
              <a:extLst>
                <a:ext uri="{FF2B5EF4-FFF2-40B4-BE49-F238E27FC236}">
                  <a16:creationId xmlns:a16="http://schemas.microsoft.com/office/drawing/2014/main" id="{2DC3BB58-A59E-484D-B0AB-D44C7476E07D}"/>
                </a:ext>
              </a:extLst>
            </p:cNvPr>
            <p:cNvSpPr/>
            <p:nvPr/>
          </p:nvSpPr>
          <p:spPr bwMode="gray">
            <a:xfrm>
              <a:off x="1734101" y="3414186"/>
              <a:ext cx="262721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2161"/>
                  </a:moveTo>
                  <a:lnTo>
                    <a:pt x="12960" y="2178"/>
                  </a:lnTo>
                  <a:cubicBezTo>
                    <a:pt x="12662" y="2178"/>
                    <a:pt x="12420" y="2398"/>
                    <a:pt x="12420" y="2669"/>
                  </a:cubicBezTo>
                  <a:cubicBezTo>
                    <a:pt x="12420" y="2940"/>
                    <a:pt x="12662" y="3160"/>
                    <a:pt x="12960" y="3160"/>
                  </a:cubicBezTo>
                  <a:lnTo>
                    <a:pt x="12960" y="3172"/>
                  </a:lnTo>
                  <a:cubicBezTo>
                    <a:pt x="17287" y="4066"/>
                    <a:pt x="20520" y="7577"/>
                    <a:pt x="20520" y="11782"/>
                  </a:cubicBezTo>
                  <a:cubicBezTo>
                    <a:pt x="20520" y="16662"/>
                    <a:pt x="16168" y="20618"/>
                    <a:pt x="10800" y="20618"/>
                  </a:cubicBezTo>
                  <a:cubicBezTo>
                    <a:pt x="5432" y="20618"/>
                    <a:pt x="1080" y="16662"/>
                    <a:pt x="1080" y="11782"/>
                  </a:cubicBezTo>
                  <a:cubicBezTo>
                    <a:pt x="1080" y="7577"/>
                    <a:pt x="4313" y="4066"/>
                    <a:pt x="8640" y="3172"/>
                  </a:cubicBezTo>
                  <a:lnTo>
                    <a:pt x="8640" y="3160"/>
                  </a:lnTo>
                  <a:cubicBezTo>
                    <a:pt x="8938" y="3160"/>
                    <a:pt x="9180" y="2940"/>
                    <a:pt x="9180" y="2669"/>
                  </a:cubicBezTo>
                  <a:cubicBezTo>
                    <a:pt x="9180" y="2398"/>
                    <a:pt x="8938" y="2178"/>
                    <a:pt x="8640" y="2178"/>
                  </a:cubicBezTo>
                  <a:lnTo>
                    <a:pt x="8640" y="2161"/>
                  </a:lnTo>
                  <a:cubicBezTo>
                    <a:pt x="3710" y="3071"/>
                    <a:pt x="0" y="7031"/>
                    <a:pt x="0" y="11782"/>
                  </a:cubicBezTo>
                  <a:cubicBezTo>
                    <a:pt x="0" y="17204"/>
                    <a:pt x="4835" y="21600"/>
                    <a:pt x="10800" y="21600"/>
                  </a:cubicBezTo>
                  <a:cubicBezTo>
                    <a:pt x="16765" y="21600"/>
                    <a:pt x="21600" y="17204"/>
                    <a:pt x="21600" y="11782"/>
                  </a:cubicBezTo>
                  <a:cubicBezTo>
                    <a:pt x="21600" y="7031"/>
                    <a:pt x="17890" y="3071"/>
                    <a:pt x="12960" y="2161"/>
                  </a:cubicBezTo>
                  <a:moveTo>
                    <a:pt x="10800" y="12763"/>
                  </a:moveTo>
                  <a:cubicBezTo>
                    <a:pt x="11098" y="12763"/>
                    <a:pt x="11340" y="12544"/>
                    <a:pt x="11340" y="12272"/>
                  </a:cubicBezTo>
                  <a:lnTo>
                    <a:pt x="11340" y="491"/>
                  </a:lnTo>
                  <a:cubicBezTo>
                    <a:pt x="11340" y="220"/>
                    <a:pt x="11098" y="0"/>
                    <a:pt x="10800" y="0"/>
                  </a:cubicBezTo>
                  <a:cubicBezTo>
                    <a:pt x="10502" y="0"/>
                    <a:pt x="10260" y="220"/>
                    <a:pt x="10260" y="491"/>
                  </a:cubicBezTo>
                  <a:lnTo>
                    <a:pt x="10260" y="12272"/>
                  </a:lnTo>
                  <a:cubicBezTo>
                    <a:pt x="10260" y="12544"/>
                    <a:pt x="10502" y="12763"/>
                    <a:pt x="10800" y="1276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Shape 2670">
              <a:extLst>
                <a:ext uri="{FF2B5EF4-FFF2-40B4-BE49-F238E27FC236}">
                  <a16:creationId xmlns:a16="http://schemas.microsoft.com/office/drawing/2014/main" id="{EC17473A-39F7-4054-8424-0863EB178271}"/>
                </a:ext>
              </a:extLst>
            </p:cNvPr>
            <p:cNvSpPr/>
            <p:nvPr/>
          </p:nvSpPr>
          <p:spPr bwMode="gray">
            <a:xfrm>
              <a:off x="2272679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1600"/>
                  </a:moveTo>
                  <a:lnTo>
                    <a:pt x="13255" y="21600"/>
                  </a:lnTo>
                  <a:lnTo>
                    <a:pt x="13255" y="0"/>
                  </a:lnTo>
                  <a:lnTo>
                    <a:pt x="12273" y="0"/>
                  </a:lnTo>
                  <a:cubicBezTo>
                    <a:pt x="12273" y="0"/>
                    <a:pt x="12273" y="21600"/>
                    <a:pt x="12273" y="21600"/>
                  </a:cubicBezTo>
                  <a:close/>
                  <a:moveTo>
                    <a:pt x="14236" y="21600"/>
                  </a:moveTo>
                  <a:lnTo>
                    <a:pt x="16691" y="21600"/>
                  </a:lnTo>
                  <a:lnTo>
                    <a:pt x="16691" y="0"/>
                  </a:lnTo>
                  <a:lnTo>
                    <a:pt x="14236" y="0"/>
                  </a:lnTo>
                  <a:cubicBezTo>
                    <a:pt x="14236" y="0"/>
                    <a:pt x="14236" y="21600"/>
                    <a:pt x="14236" y="21600"/>
                  </a:cubicBezTo>
                  <a:close/>
                  <a:moveTo>
                    <a:pt x="17673" y="21600"/>
                  </a:moveTo>
                  <a:lnTo>
                    <a:pt x="18655" y="21600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21600"/>
                    <a:pt x="17673" y="21600"/>
                  </a:cubicBezTo>
                  <a:close/>
                  <a:moveTo>
                    <a:pt x="20618" y="0"/>
                  </a:moveTo>
                  <a:lnTo>
                    <a:pt x="19636" y="0"/>
                  </a:lnTo>
                  <a:lnTo>
                    <a:pt x="19636" y="21600"/>
                  </a:lnTo>
                  <a:lnTo>
                    <a:pt x="20618" y="21600"/>
                  </a:lnTo>
                  <a:cubicBezTo>
                    <a:pt x="21160" y="21600"/>
                    <a:pt x="21600" y="20996"/>
                    <a:pt x="21600" y="20250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moveTo>
                    <a:pt x="4909" y="21600"/>
                  </a:moveTo>
                  <a:lnTo>
                    <a:pt x="5891" y="21600"/>
                  </a:lnTo>
                  <a:lnTo>
                    <a:pt x="5891" y="0"/>
                  </a:lnTo>
                  <a:lnTo>
                    <a:pt x="4909" y="0"/>
                  </a:lnTo>
                  <a:cubicBezTo>
                    <a:pt x="4909" y="0"/>
                    <a:pt x="4909" y="21600"/>
                    <a:pt x="4909" y="21600"/>
                  </a:cubicBezTo>
                  <a:close/>
                  <a:moveTo>
                    <a:pt x="0" y="1350"/>
                  </a:moveTo>
                  <a:lnTo>
                    <a:pt x="0" y="20250"/>
                  </a:lnTo>
                  <a:cubicBezTo>
                    <a:pt x="0" y="20996"/>
                    <a:pt x="440" y="21600"/>
                    <a:pt x="982" y="21600"/>
                  </a:cubicBezTo>
                  <a:lnTo>
                    <a:pt x="982" y="0"/>
                  </a:lnTo>
                  <a:cubicBezTo>
                    <a:pt x="440" y="0"/>
                    <a:pt x="0" y="605"/>
                    <a:pt x="0" y="1350"/>
                  </a:cubicBezTo>
                  <a:moveTo>
                    <a:pt x="1964" y="21600"/>
                  </a:moveTo>
                  <a:lnTo>
                    <a:pt x="3927" y="21600"/>
                  </a:lnTo>
                  <a:lnTo>
                    <a:pt x="3927" y="0"/>
                  </a:lnTo>
                  <a:lnTo>
                    <a:pt x="1964" y="0"/>
                  </a:lnTo>
                  <a:cubicBezTo>
                    <a:pt x="1964" y="0"/>
                    <a:pt x="1964" y="21600"/>
                    <a:pt x="1964" y="21600"/>
                  </a:cubicBezTo>
                  <a:close/>
                  <a:moveTo>
                    <a:pt x="6873" y="21600"/>
                  </a:moveTo>
                  <a:lnTo>
                    <a:pt x="9327" y="21600"/>
                  </a:lnTo>
                  <a:lnTo>
                    <a:pt x="9327" y="0"/>
                  </a:lnTo>
                  <a:lnTo>
                    <a:pt x="6873" y="0"/>
                  </a:lnTo>
                  <a:cubicBezTo>
                    <a:pt x="6873" y="0"/>
                    <a:pt x="6873" y="21600"/>
                    <a:pt x="6873" y="21600"/>
                  </a:cubicBezTo>
                  <a:close/>
                  <a:moveTo>
                    <a:pt x="10309" y="21600"/>
                  </a:moveTo>
                  <a:lnTo>
                    <a:pt x="11291" y="21600"/>
                  </a:lnTo>
                  <a:lnTo>
                    <a:pt x="11291" y="0"/>
                  </a:lnTo>
                  <a:lnTo>
                    <a:pt x="10309" y="0"/>
                  </a:lnTo>
                  <a:cubicBezTo>
                    <a:pt x="10309" y="0"/>
                    <a:pt x="10309" y="21600"/>
                    <a:pt x="10309" y="216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Shape 2671">
              <a:extLst>
                <a:ext uri="{FF2B5EF4-FFF2-40B4-BE49-F238E27FC236}">
                  <a16:creationId xmlns:a16="http://schemas.microsoft.com/office/drawing/2014/main" id="{8C64A06F-047F-4C8D-8344-721D815522EE}"/>
                </a:ext>
              </a:extLst>
            </p:cNvPr>
            <p:cNvSpPr/>
            <p:nvPr/>
          </p:nvSpPr>
          <p:spPr bwMode="gray">
            <a:xfrm>
              <a:off x="2824392" y="3414186"/>
              <a:ext cx="288993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15421"/>
                  </a:moveTo>
                  <a:cubicBezTo>
                    <a:pt x="10666" y="15276"/>
                    <a:pt x="10995" y="15082"/>
                    <a:pt x="11291" y="14845"/>
                  </a:cubicBezTo>
                  <a:lnTo>
                    <a:pt x="11291" y="8719"/>
                  </a:lnTo>
                  <a:cubicBezTo>
                    <a:pt x="10995" y="8482"/>
                    <a:pt x="10666" y="8287"/>
                    <a:pt x="10309" y="8143"/>
                  </a:cubicBezTo>
                  <a:cubicBezTo>
                    <a:pt x="10309" y="8143"/>
                    <a:pt x="10309" y="15421"/>
                    <a:pt x="10309" y="15421"/>
                  </a:cubicBezTo>
                  <a:close/>
                  <a:moveTo>
                    <a:pt x="12273" y="13681"/>
                  </a:moveTo>
                  <a:cubicBezTo>
                    <a:pt x="12585" y="13118"/>
                    <a:pt x="12764" y="12471"/>
                    <a:pt x="12764" y="11782"/>
                  </a:cubicBezTo>
                  <a:cubicBezTo>
                    <a:pt x="12764" y="11092"/>
                    <a:pt x="12585" y="10445"/>
                    <a:pt x="12273" y="9882"/>
                  </a:cubicBezTo>
                  <a:cubicBezTo>
                    <a:pt x="12273" y="9882"/>
                    <a:pt x="12273" y="13681"/>
                    <a:pt x="12273" y="13681"/>
                  </a:cubicBezTo>
                  <a:close/>
                  <a:moveTo>
                    <a:pt x="5891" y="14373"/>
                  </a:moveTo>
                  <a:lnTo>
                    <a:pt x="5891" y="9190"/>
                  </a:lnTo>
                  <a:cubicBezTo>
                    <a:pt x="5282" y="9882"/>
                    <a:pt x="4909" y="10788"/>
                    <a:pt x="4909" y="11782"/>
                  </a:cubicBezTo>
                  <a:cubicBezTo>
                    <a:pt x="4909" y="12776"/>
                    <a:pt x="5282" y="13681"/>
                    <a:pt x="5891" y="14373"/>
                  </a:cubicBezTo>
                  <a:moveTo>
                    <a:pt x="6873" y="8384"/>
                  </a:moveTo>
                  <a:lnTo>
                    <a:pt x="6873" y="15179"/>
                  </a:lnTo>
                  <a:cubicBezTo>
                    <a:pt x="7451" y="15514"/>
                    <a:pt x="8120" y="15709"/>
                    <a:pt x="8836" y="15709"/>
                  </a:cubicBezTo>
                  <a:cubicBezTo>
                    <a:pt x="9003" y="15709"/>
                    <a:pt x="9166" y="15696"/>
                    <a:pt x="9327" y="15675"/>
                  </a:cubicBezTo>
                  <a:lnTo>
                    <a:pt x="9327" y="7888"/>
                  </a:lnTo>
                  <a:cubicBezTo>
                    <a:pt x="9166" y="7868"/>
                    <a:pt x="9003" y="7854"/>
                    <a:pt x="8836" y="7854"/>
                  </a:cubicBezTo>
                  <a:cubicBezTo>
                    <a:pt x="8120" y="7854"/>
                    <a:pt x="7451" y="8049"/>
                    <a:pt x="6873" y="8384"/>
                  </a:cubicBezTo>
                  <a:moveTo>
                    <a:pt x="20618" y="0"/>
                  </a:moveTo>
                  <a:lnTo>
                    <a:pt x="19636" y="0"/>
                  </a:lnTo>
                  <a:lnTo>
                    <a:pt x="19636" y="15709"/>
                  </a:ln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8836" y="17672"/>
                  </a:moveTo>
                  <a:cubicBezTo>
                    <a:pt x="5583" y="17672"/>
                    <a:pt x="2945" y="15035"/>
                    <a:pt x="2945" y="11782"/>
                  </a:cubicBezTo>
                  <a:cubicBezTo>
                    <a:pt x="2945" y="8528"/>
                    <a:pt x="5583" y="5891"/>
                    <a:pt x="8836" y="5891"/>
                  </a:cubicBezTo>
                  <a:cubicBezTo>
                    <a:pt x="12090" y="5891"/>
                    <a:pt x="14727" y="8528"/>
                    <a:pt x="14727" y="11782"/>
                  </a:cubicBezTo>
                  <a:cubicBezTo>
                    <a:pt x="14727" y="15035"/>
                    <a:pt x="12090" y="17672"/>
                    <a:pt x="8836" y="17672"/>
                  </a:cubicBezTo>
                  <a:moveTo>
                    <a:pt x="14027" y="16277"/>
                  </a:moveTo>
                  <a:cubicBezTo>
                    <a:pt x="15072" y="15072"/>
                    <a:pt x="15709" y="13503"/>
                    <a:pt x="15709" y="11782"/>
                  </a:cubicBezTo>
                  <a:cubicBezTo>
                    <a:pt x="15709" y="7986"/>
                    <a:pt x="12632" y="4909"/>
                    <a:pt x="8836" y="4909"/>
                  </a:cubicBezTo>
                  <a:cubicBezTo>
                    <a:pt x="5041" y="4909"/>
                    <a:pt x="1964" y="7986"/>
                    <a:pt x="1964" y="11782"/>
                  </a:cubicBezTo>
                  <a:cubicBezTo>
                    <a:pt x="1964" y="15577"/>
                    <a:pt x="5041" y="18654"/>
                    <a:pt x="8836" y="18654"/>
                  </a:cubicBezTo>
                  <a:cubicBezTo>
                    <a:pt x="10557" y="18654"/>
                    <a:pt x="12127" y="18017"/>
                    <a:pt x="13333" y="16972"/>
                  </a:cubicBezTo>
                  <a:lnTo>
                    <a:pt x="17817" y="21456"/>
                  </a:lnTo>
                  <a:cubicBezTo>
                    <a:pt x="17905" y="21545"/>
                    <a:pt x="18028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cubicBezTo>
                    <a:pt x="18655" y="20974"/>
                    <a:pt x="18600" y="20851"/>
                    <a:pt x="18511" y="20762"/>
                  </a:cubicBezTo>
                  <a:cubicBezTo>
                    <a:pt x="18511" y="20762"/>
                    <a:pt x="14027" y="16277"/>
                    <a:pt x="14027" y="16277"/>
                  </a:cubicBezTo>
                  <a:close/>
                  <a:moveTo>
                    <a:pt x="17673" y="15709"/>
                  </a:moveTo>
                  <a:lnTo>
                    <a:pt x="18655" y="15709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15709"/>
                    <a:pt x="17673" y="15709"/>
                  </a:cubicBezTo>
                  <a:close/>
                  <a:moveTo>
                    <a:pt x="16691" y="15709"/>
                  </a:moveTo>
                  <a:lnTo>
                    <a:pt x="16691" y="11783"/>
                  </a:lnTo>
                  <a:cubicBezTo>
                    <a:pt x="16691" y="13214"/>
                    <a:pt x="16301" y="14553"/>
                    <a:pt x="15631" y="15709"/>
                  </a:cubicBezTo>
                  <a:cubicBezTo>
                    <a:pt x="15631" y="15709"/>
                    <a:pt x="16691" y="15709"/>
                    <a:pt x="16691" y="15709"/>
                  </a:cubicBezTo>
                  <a:close/>
                  <a:moveTo>
                    <a:pt x="16691" y="0"/>
                  </a:moveTo>
                  <a:lnTo>
                    <a:pt x="14236" y="0"/>
                  </a:lnTo>
                  <a:lnTo>
                    <a:pt x="14236" y="6088"/>
                  </a:lnTo>
                  <a:cubicBezTo>
                    <a:pt x="15745" y="7519"/>
                    <a:pt x="16691" y="9538"/>
                    <a:pt x="16691" y="11781"/>
                  </a:cubicBezTo>
                  <a:cubicBezTo>
                    <a:pt x="16691" y="11781"/>
                    <a:pt x="16691" y="0"/>
                    <a:pt x="16691" y="0"/>
                  </a:cubicBezTo>
                  <a:close/>
                  <a:moveTo>
                    <a:pt x="11291" y="0"/>
                  </a:moveTo>
                  <a:lnTo>
                    <a:pt x="10309" y="0"/>
                  </a:lnTo>
                  <a:lnTo>
                    <a:pt x="10309" y="4070"/>
                  </a:lnTo>
                  <a:cubicBezTo>
                    <a:pt x="10645" y="4134"/>
                    <a:pt x="10972" y="4219"/>
                    <a:pt x="11291" y="4324"/>
                  </a:cubicBezTo>
                  <a:cubicBezTo>
                    <a:pt x="11291" y="4324"/>
                    <a:pt x="11291" y="0"/>
                    <a:pt x="11291" y="0"/>
                  </a:cubicBezTo>
                  <a:close/>
                  <a:moveTo>
                    <a:pt x="1964" y="15709"/>
                  </a:moveTo>
                  <a:lnTo>
                    <a:pt x="2041" y="15709"/>
                  </a:lnTo>
                  <a:cubicBezTo>
                    <a:pt x="2016" y="15666"/>
                    <a:pt x="1988" y="15625"/>
                    <a:pt x="1964" y="15581"/>
                  </a:cubicBezTo>
                  <a:cubicBezTo>
                    <a:pt x="1964" y="15581"/>
                    <a:pt x="1964" y="15709"/>
                    <a:pt x="1964" y="15709"/>
                  </a:cubicBezTo>
                  <a:close/>
                  <a:moveTo>
                    <a:pt x="13255" y="0"/>
                  </a:moveTo>
                  <a:lnTo>
                    <a:pt x="12273" y="0"/>
                  </a:lnTo>
                  <a:lnTo>
                    <a:pt x="12273" y="4727"/>
                  </a:lnTo>
                  <a:cubicBezTo>
                    <a:pt x="12613" y="4894"/>
                    <a:pt x="12944" y="5077"/>
                    <a:pt x="13255" y="5289"/>
                  </a:cubicBezTo>
                  <a:cubicBezTo>
                    <a:pt x="13255" y="5289"/>
                    <a:pt x="13255" y="0"/>
                    <a:pt x="13255" y="0"/>
                  </a:cubicBezTo>
                  <a:close/>
                  <a:moveTo>
                    <a:pt x="9327" y="3952"/>
                  </a:moveTo>
                  <a:lnTo>
                    <a:pt x="9327" y="0"/>
                  </a:lnTo>
                  <a:lnTo>
                    <a:pt x="6873" y="0"/>
                  </a:lnTo>
                  <a:lnTo>
                    <a:pt x="6873" y="4185"/>
                  </a:lnTo>
                  <a:cubicBezTo>
                    <a:pt x="7501" y="4023"/>
                    <a:pt x="8157" y="3927"/>
                    <a:pt x="8836" y="3927"/>
                  </a:cubicBezTo>
                  <a:cubicBezTo>
                    <a:pt x="9002" y="3927"/>
                    <a:pt x="9164" y="3942"/>
                    <a:pt x="9327" y="3952"/>
                  </a:cubicBezTo>
                  <a:moveTo>
                    <a:pt x="5891" y="0"/>
                  </a:moveTo>
                  <a:lnTo>
                    <a:pt x="4909" y="0"/>
                  </a:lnTo>
                  <a:lnTo>
                    <a:pt x="4909" y="4987"/>
                  </a:lnTo>
                  <a:cubicBezTo>
                    <a:pt x="5224" y="4804"/>
                    <a:pt x="5551" y="4641"/>
                    <a:pt x="5891" y="4504"/>
                  </a:cubicBezTo>
                  <a:cubicBezTo>
                    <a:pt x="5891" y="4504"/>
                    <a:pt x="5891" y="0"/>
                    <a:pt x="5891" y="0"/>
                  </a:cubicBezTo>
                  <a:close/>
                  <a:moveTo>
                    <a:pt x="0" y="982"/>
                  </a:move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moveTo>
                    <a:pt x="3927" y="5656"/>
                  </a:moveTo>
                  <a:lnTo>
                    <a:pt x="3927" y="0"/>
                  </a:lnTo>
                  <a:lnTo>
                    <a:pt x="1964" y="0"/>
                  </a:lnTo>
                  <a:lnTo>
                    <a:pt x="1964" y="7982"/>
                  </a:lnTo>
                  <a:cubicBezTo>
                    <a:pt x="2462" y="7084"/>
                    <a:pt x="3131" y="6294"/>
                    <a:pt x="3927" y="56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Shape 2672">
              <a:extLst>
                <a:ext uri="{FF2B5EF4-FFF2-40B4-BE49-F238E27FC236}">
                  <a16:creationId xmlns:a16="http://schemas.microsoft.com/office/drawing/2014/main" id="{88FFEE56-6342-433A-974E-C2D95747AD58}"/>
                </a:ext>
              </a:extLst>
            </p:cNvPr>
            <p:cNvSpPr/>
            <p:nvPr/>
          </p:nvSpPr>
          <p:spPr bwMode="gray">
            <a:xfrm>
              <a:off x="3376106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21600"/>
                  </a:moveTo>
                  <a:lnTo>
                    <a:pt x="11782" y="21600"/>
                  </a:lnTo>
                  <a:lnTo>
                    <a:pt x="11782" y="17550"/>
                  </a:lnTo>
                  <a:lnTo>
                    <a:pt x="9818" y="17550"/>
                  </a:lnTo>
                  <a:cubicBezTo>
                    <a:pt x="9818" y="17550"/>
                    <a:pt x="9818" y="21600"/>
                    <a:pt x="9818" y="21600"/>
                  </a:cubicBezTo>
                  <a:close/>
                  <a:moveTo>
                    <a:pt x="7855" y="21600"/>
                  </a:moveTo>
                  <a:lnTo>
                    <a:pt x="8836" y="21600"/>
                  </a:lnTo>
                  <a:lnTo>
                    <a:pt x="8836" y="17550"/>
                  </a:lnTo>
                  <a:lnTo>
                    <a:pt x="7855" y="17550"/>
                  </a:lnTo>
                  <a:cubicBezTo>
                    <a:pt x="7855" y="17550"/>
                    <a:pt x="7855" y="21600"/>
                    <a:pt x="7855" y="21600"/>
                  </a:cubicBezTo>
                  <a:close/>
                  <a:moveTo>
                    <a:pt x="2945" y="21600"/>
                  </a:moveTo>
                  <a:lnTo>
                    <a:pt x="3927" y="21600"/>
                  </a:lnTo>
                  <a:lnTo>
                    <a:pt x="3927" y="17550"/>
                  </a:lnTo>
                  <a:lnTo>
                    <a:pt x="2945" y="17550"/>
                  </a:lnTo>
                  <a:cubicBezTo>
                    <a:pt x="2945" y="17550"/>
                    <a:pt x="2945" y="21600"/>
                    <a:pt x="2945" y="21600"/>
                  </a:cubicBezTo>
                  <a:close/>
                  <a:moveTo>
                    <a:pt x="4909" y="21600"/>
                  </a:moveTo>
                  <a:lnTo>
                    <a:pt x="6873" y="21600"/>
                  </a:lnTo>
                  <a:lnTo>
                    <a:pt x="6873" y="17550"/>
                  </a:lnTo>
                  <a:lnTo>
                    <a:pt x="4909" y="17550"/>
                  </a:lnTo>
                  <a:cubicBezTo>
                    <a:pt x="4909" y="17550"/>
                    <a:pt x="4909" y="21600"/>
                    <a:pt x="4909" y="21600"/>
                  </a:cubicBezTo>
                  <a:close/>
                  <a:moveTo>
                    <a:pt x="12764" y="21600"/>
                  </a:moveTo>
                  <a:lnTo>
                    <a:pt x="13745" y="21600"/>
                  </a:lnTo>
                  <a:lnTo>
                    <a:pt x="13745" y="17550"/>
                  </a:lnTo>
                  <a:lnTo>
                    <a:pt x="12764" y="17550"/>
                  </a:lnTo>
                  <a:cubicBezTo>
                    <a:pt x="12764" y="17550"/>
                    <a:pt x="12764" y="21600"/>
                    <a:pt x="12764" y="21600"/>
                  </a:cubicBezTo>
                  <a:close/>
                  <a:moveTo>
                    <a:pt x="20618" y="14850"/>
                  </a:moveTo>
                  <a:lnTo>
                    <a:pt x="982" y="14850"/>
                  </a:lnTo>
                  <a:lnTo>
                    <a:pt x="982" y="13500"/>
                  </a:lnTo>
                  <a:lnTo>
                    <a:pt x="20618" y="13500"/>
                  </a:lnTo>
                  <a:cubicBezTo>
                    <a:pt x="20618" y="13500"/>
                    <a:pt x="20618" y="14850"/>
                    <a:pt x="20618" y="14850"/>
                  </a:cubicBezTo>
                  <a:close/>
                  <a:moveTo>
                    <a:pt x="20618" y="12150"/>
                  </a:moveTo>
                  <a:lnTo>
                    <a:pt x="982" y="12150"/>
                  </a:lnTo>
                  <a:cubicBezTo>
                    <a:pt x="440" y="12150"/>
                    <a:pt x="0" y="12755"/>
                    <a:pt x="0" y="13500"/>
                  </a:cubicBezTo>
                  <a:lnTo>
                    <a:pt x="0" y="14850"/>
                  </a:lnTo>
                  <a:cubicBezTo>
                    <a:pt x="0" y="15595"/>
                    <a:pt x="440" y="16200"/>
                    <a:pt x="982" y="16200"/>
                  </a:cubicBezTo>
                  <a:lnTo>
                    <a:pt x="20618" y="16200"/>
                  </a:lnTo>
                  <a:cubicBezTo>
                    <a:pt x="21160" y="16200"/>
                    <a:pt x="21600" y="15595"/>
                    <a:pt x="21600" y="14850"/>
                  </a:cubicBezTo>
                  <a:lnTo>
                    <a:pt x="21600" y="13500"/>
                  </a:lnTo>
                  <a:cubicBezTo>
                    <a:pt x="21600" y="12755"/>
                    <a:pt x="21160" y="12150"/>
                    <a:pt x="20618" y="12150"/>
                  </a:cubicBezTo>
                  <a:moveTo>
                    <a:pt x="982" y="20250"/>
                  </a:moveTo>
                  <a:cubicBezTo>
                    <a:pt x="982" y="20996"/>
                    <a:pt x="1422" y="21600"/>
                    <a:pt x="1964" y="21600"/>
                  </a:cubicBezTo>
                  <a:lnTo>
                    <a:pt x="1964" y="17550"/>
                  </a:lnTo>
                  <a:lnTo>
                    <a:pt x="982" y="17550"/>
                  </a:lnTo>
                  <a:cubicBezTo>
                    <a:pt x="982" y="17550"/>
                    <a:pt x="982" y="20250"/>
                    <a:pt x="982" y="20250"/>
                  </a:cubicBezTo>
                  <a:close/>
                  <a:moveTo>
                    <a:pt x="16691" y="21600"/>
                  </a:moveTo>
                  <a:lnTo>
                    <a:pt x="17673" y="21600"/>
                  </a:lnTo>
                  <a:lnTo>
                    <a:pt x="17673" y="17550"/>
                  </a:lnTo>
                  <a:lnTo>
                    <a:pt x="16691" y="17550"/>
                  </a:lnTo>
                  <a:cubicBezTo>
                    <a:pt x="16691" y="17550"/>
                    <a:pt x="16691" y="21600"/>
                    <a:pt x="16691" y="21600"/>
                  </a:cubicBezTo>
                  <a:close/>
                  <a:moveTo>
                    <a:pt x="14727" y="21600"/>
                  </a:moveTo>
                  <a:lnTo>
                    <a:pt x="15709" y="21600"/>
                  </a:lnTo>
                  <a:lnTo>
                    <a:pt x="15709" y="17550"/>
                  </a:lnTo>
                  <a:lnTo>
                    <a:pt x="14727" y="17550"/>
                  </a:lnTo>
                  <a:cubicBezTo>
                    <a:pt x="14727" y="17550"/>
                    <a:pt x="14727" y="21600"/>
                    <a:pt x="14727" y="21600"/>
                  </a:cubicBezTo>
                  <a:close/>
                  <a:moveTo>
                    <a:pt x="18655" y="21600"/>
                  </a:moveTo>
                  <a:lnTo>
                    <a:pt x="19636" y="21600"/>
                  </a:lnTo>
                  <a:cubicBezTo>
                    <a:pt x="20178" y="21600"/>
                    <a:pt x="20618" y="20996"/>
                    <a:pt x="20618" y="20250"/>
                  </a:cubicBezTo>
                  <a:lnTo>
                    <a:pt x="20618" y="17550"/>
                  </a:lnTo>
                  <a:lnTo>
                    <a:pt x="18655" y="17550"/>
                  </a:lnTo>
                  <a:cubicBezTo>
                    <a:pt x="18655" y="17550"/>
                    <a:pt x="18655" y="21600"/>
                    <a:pt x="18655" y="21600"/>
                  </a:cubicBezTo>
                  <a:close/>
                  <a:moveTo>
                    <a:pt x="15709" y="0"/>
                  </a:moveTo>
                  <a:lnTo>
                    <a:pt x="14727" y="0"/>
                  </a:lnTo>
                  <a:lnTo>
                    <a:pt x="14727" y="10800"/>
                  </a:lnTo>
                  <a:lnTo>
                    <a:pt x="15709" y="10800"/>
                  </a:lnTo>
                  <a:cubicBezTo>
                    <a:pt x="15709" y="10800"/>
                    <a:pt x="15709" y="0"/>
                    <a:pt x="15709" y="0"/>
                  </a:cubicBezTo>
                  <a:close/>
                  <a:moveTo>
                    <a:pt x="20618" y="1350"/>
                  </a:moveTo>
                  <a:cubicBezTo>
                    <a:pt x="20618" y="605"/>
                    <a:pt x="20178" y="0"/>
                    <a:pt x="19636" y="0"/>
                  </a:cubicBezTo>
                  <a:lnTo>
                    <a:pt x="18655" y="0"/>
                  </a:lnTo>
                  <a:lnTo>
                    <a:pt x="18655" y="10800"/>
                  </a:lnTo>
                  <a:lnTo>
                    <a:pt x="20618" y="10800"/>
                  </a:lnTo>
                  <a:cubicBezTo>
                    <a:pt x="20618" y="10800"/>
                    <a:pt x="20618" y="1350"/>
                    <a:pt x="20618" y="1350"/>
                  </a:cubicBezTo>
                  <a:close/>
                  <a:moveTo>
                    <a:pt x="13745" y="0"/>
                  </a:moveTo>
                  <a:lnTo>
                    <a:pt x="12764" y="0"/>
                  </a:lnTo>
                  <a:lnTo>
                    <a:pt x="12764" y="10800"/>
                  </a:lnTo>
                  <a:lnTo>
                    <a:pt x="13745" y="10800"/>
                  </a:lnTo>
                  <a:cubicBezTo>
                    <a:pt x="13745" y="10800"/>
                    <a:pt x="13745" y="0"/>
                    <a:pt x="13745" y="0"/>
                  </a:cubicBezTo>
                  <a:close/>
                  <a:moveTo>
                    <a:pt x="17673" y="0"/>
                  </a:moveTo>
                  <a:lnTo>
                    <a:pt x="16691" y="0"/>
                  </a:lnTo>
                  <a:lnTo>
                    <a:pt x="16691" y="10800"/>
                  </a:lnTo>
                  <a:lnTo>
                    <a:pt x="17673" y="10800"/>
                  </a:lnTo>
                  <a:cubicBezTo>
                    <a:pt x="17673" y="10800"/>
                    <a:pt x="17673" y="0"/>
                    <a:pt x="17673" y="0"/>
                  </a:cubicBezTo>
                  <a:close/>
                  <a:moveTo>
                    <a:pt x="1964" y="0"/>
                  </a:moveTo>
                  <a:cubicBezTo>
                    <a:pt x="1422" y="0"/>
                    <a:pt x="982" y="605"/>
                    <a:pt x="982" y="1350"/>
                  </a:cubicBezTo>
                  <a:lnTo>
                    <a:pt x="982" y="10800"/>
                  </a:lnTo>
                  <a:lnTo>
                    <a:pt x="1964" y="10800"/>
                  </a:lnTo>
                  <a:cubicBezTo>
                    <a:pt x="1964" y="10800"/>
                    <a:pt x="1964" y="0"/>
                    <a:pt x="1964" y="0"/>
                  </a:cubicBezTo>
                  <a:close/>
                  <a:moveTo>
                    <a:pt x="3927" y="0"/>
                  </a:moveTo>
                  <a:lnTo>
                    <a:pt x="2945" y="0"/>
                  </a:lnTo>
                  <a:lnTo>
                    <a:pt x="2945" y="10800"/>
                  </a:lnTo>
                  <a:lnTo>
                    <a:pt x="3927" y="10800"/>
                  </a:lnTo>
                  <a:cubicBezTo>
                    <a:pt x="3927" y="10800"/>
                    <a:pt x="3927" y="0"/>
                    <a:pt x="3927" y="0"/>
                  </a:cubicBezTo>
                  <a:close/>
                  <a:moveTo>
                    <a:pt x="6873" y="0"/>
                  </a:moveTo>
                  <a:lnTo>
                    <a:pt x="4909" y="0"/>
                  </a:lnTo>
                  <a:lnTo>
                    <a:pt x="4909" y="10800"/>
                  </a:lnTo>
                  <a:lnTo>
                    <a:pt x="6873" y="10800"/>
                  </a:lnTo>
                  <a:cubicBezTo>
                    <a:pt x="6873" y="10800"/>
                    <a:pt x="6873" y="0"/>
                    <a:pt x="6873" y="0"/>
                  </a:cubicBezTo>
                  <a:close/>
                  <a:moveTo>
                    <a:pt x="8836" y="0"/>
                  </a:moveTo>
                  <a:lnTo>
                    <a:pt x="7855" y="0"/>
                  </a:lnTo>
                  <a:lnTo>
                    <a:pt x="7855" y="10800"/>
                  </a:lnTo>
                  <a:lnTo>
                    <a:pt x="8836" y="10800"/>
                  </a:lnTo>
                  <a:cubicBezTo>
                    <a:pt x="8836" y="10800"/>
                    <a:pt x="8836" y="0"/>
                    <a:pt x="8836" y="0"/>
                  </a:cubicBezTo>
                  <a:close/>
                  <a:moveTo>
                    <a:pt x="11782" y="0"/>
                  </a:moveTo>
                  <a:lnTo>
                    <a:pt x="9818" y="0"/>
                  </a:lnTo>
                  <a:lnTo>
                    <a:pt x="9818" y="10800"/>
                  </a:lnTo>
                  <a:lnTo>
                    <a:pt x="11782" y="10800"/>
                  </a:lnTo>
                  <a:cubicBezTo>
                    <a:pt x="11782" y="10800"/>
                    <a:pt x="11782" y="0"/>
                    <a:pt x="11782" y="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Shape 2673">
              <a:extLst>
                <a:ext uri="{FF2B5EF4-FFF2-40B4-BE49-F238E27FC236}">
                  <a16:creationId xmlns:a16="http://schemas.microsoft.com/office/drawing/2014/main" id="{C380D221-491E-4BBE-8FEB-F00E1A6F649D}"/>
                </a:ext>
              </a:extLst>
            </p:cNvPr>
            <p:cNvSpPr/>
            <p:nvPr/>
          </p:nvSpPr>
          <p:spPr bwMode="gray">
            <a:xfrm>
              <a:off x="3927820" y="3414186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455" y="10309"/>
                  </a:moveTo>
                  <a:cubicBezTo>
                    <a:pt x="2726" y="10309"/>
                    <a:pt x="2945" y="10090"/>
                    <a:pt x="2945" y="9818"/>
                  </a:cubicBezTo>
                  <a:cubicBezTo>
                    <a:pt x="2945" y="9547"/>
                    <a:pt x="2726" y="9327"/>
                    <a:pt x="2455" y="9327"/>
                  </a:cubicBezTo>
                  <a:cubicBezTo>
                    <a:pt x="2183" y="9327"/>
                    <a:pt x="1964" y="9547"/>
                    <a:pt x="1964" y="9818"/>
                  </a:cubicBezTo>
                  <a:cubicBezTo>
                    <a:pt x="1964" y="10090"/>
                    <a:pt x="2183" y="10309"/>
                    <a:pt x="2455" y="10309"/>
                  </a:cubicBezTo>
                  <a:moveTo>
                    <a:pt x="20618" y="11782"/>
                  </a:moveTo>
                  <a:lnTo>
                    <a:pt x="982" y="11782"/>
                  </a:lnTo>
                  <a:lnTo>
                    <a:pt x="982" y="7855"/>
                  </a:lnTo>
                  <a:lnTo>
                    <a:pt x="20618" y="7855"/>
                  </a:lnTo>
                  <a:cubicBezTo>
                    <a:pt x="20618" y="7855"/>
                    <a:pt x="20618" y="11782"/>
                    <a:pt x="20618" y="11782"/>
                  </a:cubicBezTo>
                  <a:close/>
                  <a:moveTo>
                    <a:pt x="2945" y="982"/>
                  </a:moveTo>
                  <a:lnTo>
                    <a:pt x="14727" y="982"/>
                  </a:lnTo>
                  <a:lnTo>
                    <a:pt x="14727" y="4418"/>
                  </a:lnTo>
                  <a:cubicBezTo>
                    <a:pt x="14727" y="4690"/>
                    <a:pt x="14947" y="4909"/>
                    <a:pt x="15218" y="4909"/>
                  </a:cubicBezTo>
                  <a:lnTo>
                    <a:pt x="18655" y="4909"/>
                  </a:lnTo>
                  <a:lnTo>
                    <a:pt x="18655" y="6873"/>
                  </a:lnTo>
                  <a:lnTo>
                    <a:pt x="2945" y="6873"/>
                  </a:lnTo>
                  <a:cubicBezTo>
                    <a:pt x="2945" y="6873"/>
                    <a:pt x="2945" y="982"/>
                    <a:pt x="2945" y="982"/>
                  </a:cubicBezTo>
                  <a:close/>
                  <a:moveTo>
                    <a:pt x="15709" y="1473"/>
                  </a:moveTo>
                  <a:lnTo>
                    <a:pt x="18164" y="3927"/>
                  </a:lnTo>
                  <a:lnTo>
                    <a:pt x="15709" y="3927"/>
                  </a:lnTo>
                  <a:cubicBezTo>
                    <a:pt x="15709" y="3927"/>
                    <a:pt x="15709" y="1473"/>
                    <a:pt x="15709" y="1473"/>
                  </a:cubicBezTo>
                  <a:close/>
                  <a:moveTo>
                    <a:pt x="20618" y="6873"/>
                  </a:moveTo>
                  <a:lnTo>
                    <a:pt x="19636" y="6873"/>
                  </a:lnTo>
                  <a:lnTo>
                    <a:pt x="19636" y="3927"/>
                  </a:lnTo>
                  <a:lnTo>
                    <a:pt x="15709" y="0"/>
                  </a:lnTo>
                  <a:lnTo>
                    <a:pt x="2945" y="0"/>
                  </a:lnTo>
                  <a:cubicBezTo>
                    <a:pt x="2403" y="0"/>
                    <a:pt x="1964" y="440"/>
                    <a:pt x="1964" y="982"/>
                  </a:cubicBezTo>
                  <a:lnTo>
                    <a:pt x="1964" y="6873"/>
                  </a:lnTo>
                  <a:lnTo>
                    <a:pt x="982" y="6873"/>
                  </a:lnTo>
                  <a:cubicBezTo>
                    <a:pt x="439" y="6873"/>
                    <a:pt x="0" y="7313"/>
                    <a:pt x="0" y="7855"/>
                  </a:cubicBezTo>
                  <a:lnTo>
                    <a:pt x="0" y="11782"/>
                  </a:lnTo>
                  <a:cubicBezTo>
                    <a:pt x="0" y="12324"/>
                    <a:pt x="439" y="12764"/>
                    <a:pt x="982" y="12764"/>
                  </a:cubicBezTo>
                  <a:lnTo>
                    <a:pt x="1964" y="12764"/>
                  </a:lnTo>
                  <a:lnTo>
                    <a:pt x="1964" y="21109"/>
                  </a:lnTo>
                  <a:cubicBezTo>
                    <a:pt x="1964" y="21381"/>
                    <a:pt x="2183" y="21600"/>
                    <a:pt x="2455" y="21600"/>
                  </a:cubicBezTo>
                  <a:cubicBezTo>
                    <a:pt x="2726" y="21600"/>
                    <a:pt x="2945" y="21381"/>
                    <a:pt x="2945" y="21109"/>
                  </a:cubicBezTo>
                  <a:lnTo>
                    <a:pt x="2945" y="12764"/>
                  </a:lnTo>
                  <a:lnTo>
                    <a:pt x="3927" y="12764"/>
                  </a:lnTo>
                  <a:lnTo>
                    <a:pt x="3927" y="18164"/>
                  </a:lnTo>
                  <a:cubicBezTo>
                    <a:pt x="3927" y="18435"/>
                    <a:pt x="4147" y="18655"/>
                    <a:pt x="4418" y="18655"/>
                  </a:cubicBezTo>
                  <a:cubicBezTo>
                    <a:pt x="4690" y="18655"/>
                    <a:pt x="4909" y="18435"/>
                    <a:pt x="4909" y="18164"/>
                  </a:cubicBezTo>
                  <a:lnTo>
                    <a:pt x="4909" y="12764"/>
                  </a:lnTo>
                  <a:lnTo>
                    <a:pt x="5891" y="12764"/>
                  </a:lnTo>
                  <a:lnTo>
                    <a:pt x="5891" y="15218"/>
                  </a:lnTo>
                  <a:cubicBezTo>
                    <a:pt x="5891" y="15490"/>
                    <a:pt x="6110" y="15709"/>
                    <a:pt x="6382" y="15709"/>
                  </a:cubicBezTo>
                  <a:cubicBezTo>
                    <a:pt x="6653" y="15709"/>
                    <a:pt x="6873" y="15490"/>
                    <a:pt x="6873" y="15218"/>
                  </a:cubicBezTo>
                  <a:lnTo>
                    <a:pt x="6873" y="12764"/>
                  </a:lnTo>
                  <a:lnTo>
                    <a:pt x="7855" y="12764"/>
                  </a:lnTo>
                  <a:lnTo>
                    <a:pt x="7855" y="20127"/>
                  </a:lnTo>
                  <a:cubicBezTo>
                    <a:pt x="7855" y="20399"/>
                    <a:pt x="8074" y="20618"/>
                    <a:pt x="8345" y="20618"/>
                  </a:cubicBezTo>
                  <a:cubicBezTo>
                    <a:pt x="8617" y="20618"/>
                    <a:pt x="8836" y="20399"/>
                    <a:pt x="8836" y="20127"/>
                  </a:cubicBezTo>
                  <a:lnTo>
                    <a:pt x="8836" y="12764"/>
                  </a:lnTo>
                  <a:lnTo>
                    <a:pt x="10309" y="12764"/>
                  </a:lnTo>
                  <a:lnTo>
                    <a:pt x="10309" y="19145"/>
                  </a:lnTo>
                  <a:cubicBezTo>
                    <a:pt x="10309" y="19417"/>
                    <a:pt x="10529" y="19636"/>
                    <a:pt x="10800" y="19636"/>
                  </a:cubicBezTo>
                  <a:cubicBezTo>
                    <a:pt x="11071" y="19636"/>
                    <a:pt x="11291" y="19417"/>
                    <a:pt x="11291" y="19145"/>
                  </a:cubicBezTo>
                  <a:lnTo>
                    <a:pt x="11291" y="12764"/>
                  </a:lnTo>
                  <a:lnTo>
                    <a:pt x="12764" y="12764"/>
                  </a:lnTo>
                  <a:lnTo>
                    <a:pt x="12764" y="16200"/>
                  </a:lnTo>
                  <a:cubicBezTo>
                    <a:pt x="12764" y="16472"/>
                    <a:pt x="12983" y="16691"/>
                    <a:pt x="13255" y="16691"/>
                  </a:cubicBezTo>
                  <a:cubicBezTo>
                    <a:pt x="13526" y="16691"/>
                    <a:pt x="13745" y="16472"/>
                    <a:pt x="13745" y="16200"/>
                  </a:cubicBezTo>
                  <a:lnTo>
                    <a:pt x="13745" y="12764"/>
                  </a:lnTo>
                  <a:lnTo>
                    <a:pt x="14727" y="12764"/>
                  </a:lnTo>
                  <a:lnTo>
                    <a:pt x="14727" y="17182"/>
                  </a:lnTo>
                  <a:cubicBezTo>
                    <a:pt x="14727" y="17453"/>
                    <a:pt x="14947" y="17673"/>
                    <a:pt x="15218" y="17673"/>
                  </a:cubicBezTo>
                  <a:cubicBezTo>
                    <a:pt x="15490" y="17673"/>
                    <a:pt x="15709" y="17453"/>
                    <a:pt x="15709" y="17182"/>
                  </a:cubicBezTo>
                  <a:lnTo>
                    <a:pt x="15709" y="12764"/>
                  </a:lnTo>
                  <a:lnTo>
                    <a:pt x="16691" y="12764"/>
                  </a:lnTo>
                  <a:lnTo>
                    <a:pt x="16691" y="20127"/>
                  </a:lnTo>
                  <a:cubicBezTo>
                    <a:pt x="16691" y="20399"/>
                    <a:pt x="16910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2764"/>
                  </a:lnTo>
                  <a:lnTo>
                    <a:pt x="18655" y="12764"/>
                  </a:lnTo>
                  <a:lnTo>
                    <a:pt x="18655" y="19145"/>
                  </a:lnTo>
                  <a:cubicBezTo>
                    <a:pt x="18655" y="19417"/>
                    <a:pt x="18874" y="19636"/>
                    <a:pt x="19145" y="19636"/>
                  </a:cubicBezTo>
                  <a:cubicBezTo>
                    <a:pt x="19417" y="19636"/>
                    <a:pt x="19636" y="19417"/>
                    <a:pt x="19636" y="19145"/>
                  </a:cubicBezTo>
                  <a:lnTo>
                    <a:pt x="19636" y="12764"/>
                  </a:lnTo>
                  <a:lnTo>
                    <a:pt x="20618" y="12764"/>
                  </a:lnTo>
                  <a:cubicBezTo>
                    <a:pt x="21160" y="12764"/>
                    <a:pt x="21600" y="12324"/>
                    <a:pt x="21600" y="11782"/>
                  </a:cubicBezTo>
                  <a:lnTo>
                    <a:pt x="21600" y="7855"/>
                  </a:lnTo>
                  <a:cubicBezTo>
                    <a:pt x="21600" y="7313"/>
                    <a:pt x="21160" y="6873"/>
                    <a:pt x="20618" y="6873"/>
                  </a:cubicBezTo>
                  <a:moveTo>
                    <a:pt x="4418" y="10309"/>
                  </a:moveTo>
                  <a:cubicBezTo>
                    <a:pt x="4690" y="10309"/>
                    <a:pt x="4909" y="10090"/>
                    <a:pt x="4909" y="9818"/>
                  </a:cubicBezTo>
                  <a:cubicBezTo>
                    <a:pt x="4909" y="9547"/>
                    <a:pt x="4690" y="9327"/>
                    <a:pt x="4418" y="9327"/>
                  </a:cubicBezTo>
                  <a:cubicBezTo>
                    <a:pt x="4147" y="9327"/>
                    <a:pt x="3927" y="9547"/>
                    <a:pt x="3927" y="9818"/>
                  </a:cubicBezTo>
                  <a:cubicBezTo>
                    <a:pt x="3927" y="10090"/>
                    <a:pt x="4147" y="10309"/>
                    <a:pt x="4418" y="10309"/>
                  </a:cubicBezTo>
                  <a:moveTo>
                    <a:pt x="12273" y="3927"/>
                  </a:moveTo>
                  <a:lnTo>
                    <a:pt x="5400" y="3927"/>
                  </a:lnTo>
                  <a:cubicBezTo>
                    <a:pt x="5129" y="3927"/>
                    <a:pt x="4909" y="4147"/>
                    <a:pt x="4909" y="4418"/>
                  </a:cubicBezTo>
                  <a:cubicBezTo>
                    <a:pt x="4909" y="4690"/>
                    <a:pt x="5129" y="4909"/>
                    <a:pt x="5400" y="4909"/>
                  </a:cubicBezTo>
                  <a:lnTo>
                    <a:pt x="12273" y="4909"/>
                  </a:lnTo>
                  <a:cubicBezTo>
                    <a:pt x="12544" y="4909"/>
                    <a:pt x="12764" y="4690"/>
                    <a:pt x="12764" y="4418"/>
                  </a:cubicBezTo>
                  <a:cubicBezTo>
                    <a:pt x="12764" y="4147"/>
                    <a:pt x="12544" y="3927"/>
                    <a:pt x="12273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Shape 2674">
              <a:extLst>
                <a:ext uri="{FF2B5EF4-FFF2-40B4-BE49-F238E27FC236}">
                  <a16:creationId xmlns:a16="http://schemas.microsoft.com/office/drawing/2014/main" id="{9FDFF0C9-8088-4342-9BE3-DC76DBE6B627}"/>
                </a:ext>
              </a:extLst>
            </p:cNvPr>
            <p:cNvSpPr/>
            <p:nvPr/>
          </p:nvSpPr>
          <p:spPr bwMode="gray">
            <a:xfrm>
              <a:off x="4492669" y="3414186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1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7" y="1042"/>
                    <a:pt x="11190" y="987"/>
                    <a:pt x="11337" y="987"/>
                  </a:cubicBezTo>
                  <a:cubicBezTo>
                    <a:pt x="11637" y="987"/>
                    <a:pt x="11880" y="1208"/>
                    <a:pt x="11880" y="1479"/>
                  </a:cubicBezTo>
                  <a:cubicBezTo>
                    <a:pt x="11880" y="1479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6"/>
                  </a:lnTo>
                  <a:lnTo>
                    <a:pt x="4562" y="6407"/>
                  </a:lnTo>
                  <a:lnTo>
                    <a:pt x="4559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5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8"/>
                    <a:pt x="12238" y="0"/>
                    <a:pt x="11339" y="0"/>
                  </a:cubicBezTo>
                  <a:cubicBezTo>
                    <a:pt x="10880" y="0"/>
                    <a:pt x="10467" y="174"/>
                    <a:pt x="10170" y="451"/>
                  </a:cubicBezTo>
                  <a:lnTo>
                    <a:pt x="3565" y="5905"/>
                  </a:lnTo>
                  <a:cubicBezTo>
                    <a:pt x="1578" y="6050"/>
                    <a:pt x="0" y="8183"/>
                    <a:pt x="0" y="10800"/>
                  </a:cubicBezTo>
                  <a:cubicBezTo>
                    <a:pt x="0" y="13425"/>
                    <a:pt x="1588" y="15563"/>
                    <a:pt x="3585" y="15696"/>
                  </a:cubicBezTo>
                  <a:lnTo>
                    <a:pt x="10170" y="21149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2"/>
                    <a:pt x="12960" y="20073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  <a:moveTo>
                    <a:pt x="19124" y="10800"/>
                  </a:moveTo>
                  <a:lnTo>
                    <a:pt x="21442" y="8693"/>
                  </a:lnTo>
                  <a:cubicBezTo>
                    <a:pt x="21540" y="8604"/>
                    <a:pt x="21600" y="8481"/>
                    <a:pt x="21600" y="8345"/>
                  </a:cubicBezTo>
                  <a:cubicBezTo>
                    <a:pt x="21600" y="8074"/>
                    <a:pt x="21358" y="7855"/>
                    <a:pt x="21060" y="7855"/>
                  </a:cubicBezTo>
                  <a:cubicBezTo>
                    <a:pt x="20911" y="7855"/>
                    <a:pt x="20776" y="7909"/>
                    <a:pt x="20678" y="7998"/>
                  </a:cubicBezTo>
                  <a:lnTo>
                    <a:pt x="18360" y="10106"/>
                  </a:lnTo>
                  <a:lnTo>
                    <a:pt x="16042" y="7998"/>
                  </a:lnTo>
                  <a:cubicBezTo>
                    <a:pt x="15944" y="7909"/>
                    <a:pt x="15809" y="7855"/>
                    <a:pt x="15660" y="7855"/>
                  </a:cubicBezTo>
                  <a:cubicBezTo>
                    <a:pt x="15362" y="7855"/>
                    <a:pt x="15120" y="8074"/>
                    <a:pt x="15120" y="8345"/>
                  </a:cubicBezTo>
                  <a:cubicBezTo>
                    <a:pt x="15120" y="8481"/>
                    <a:pt x="15180" y="8604"/>
                    <a:pt x="15278" y="8693"/>
                  </a:cubicBezTo>
                  <a:lnTo>
                    <a:pt x="17596" y="10800"/>
                  </a:lnTo>
                  <a:lnTo>
                    <a:pt x="15278" y="12907"/>
                  </a:lnTo>
                  <a:cubicBezTo>
                    <a:pt x="15180" y="12996"/>
                    <a:pt x="15120" y="13119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5809" y="13745"/>
                    <a:pt x="15944" y="13691"/>
                    <a:pt x="16042" y="13602"/>
                  </a:cubicBezTo>
                  <a:lnTo>
                    <a:pt x="18360" y="11494"/>
                  </a:lnTo>
                  <a:lnTo>
                    <a:pt x="20678" y="13602"/>
                  </a:lnTo>
                  <a:cubicBezTo>
                    <a:pt x="20776" y="13691"/>
                    <a:pt x="20911" y="13745"/>
                    <a:pt x="21060" y="13745"/>
                  </a:cubicBezTo>
                  <a:cubicBezTo>
                    <a:pt x="21358" y="13745"/>
                    <a:pt x="21600" y="13526"/>
                    <a:pt x="21600" y="13255"/>
                  </a:cubicBezTo>
                  <a:cubicBezTo>
                    <a:pt x="21600" y="13119"/>
                    <a:pt x="21540" y="12996"/>
                    <a:pt x="21442" y="12907"/>
                  </a:cubicBezTo>
                  <a:cubicBezTo>
                    <a:pt x="21442" y="12907"/>
                    <a:pt x="19124" y="10800"/>
                    <a:pt x="19124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Shape 2675">
              <a:extLst>
                <a:ext uri="{FF2B5EF4-FFF2-40B4-BE49-F238E27FC236}">
                  <a16:creationId xmlns:a16="http://schemas.microsoft.com/office/drawing/2014/main" id="{8D3504C8-02D2-454F-B0C3-E80523982908}"/>
                </a:ext>
              </a:extLst>
            </p:cNvPr>
            <p:cNvSpPr/>
            <p:nvPr/>
          </p:nvSpPr>
          <p:spPr bwMode="gray">
            <a:xfrm>
              <a:off x="5096927" y="3414186"/>
              <a:ext cx="157710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790" y="20121"/>
                  </a:moveTo>
                  <a:cubicBezTo>
                    <a:pt x="19790" y="20393"/>
                    <a:pt x="19385" y="20612"/>
                    <a:pt x="18886" y="20612"/>
                  </a:cubicBezTo>
                  <a:cubicBezTo>
                    <a:pt x="18626" y="20612"/>
                    <a:pt x="18396" y="20552"/>
                    <a:pt x="18231" y="20457"/>
                  </a:cubicBezTo>
                  <a:lnTo>
                    <a:pt x="18227" y="20459"/>
                  </a:lnTo>
                  <a:lnTo>
                    <a:pt x="17991" y="20342"/>
                  </a:lnTo>
                  <a:lnTo>
                    <a:pt x="17991" y="1256"/>
                  </a:lnTo>
                  <a:lnTo>
                    <a:pt x="18255" y="1126"/>
                  </a:lnTo>
                  <a:lnTo>
                    <a:pt x="18258" y="1127"/>
                  </a:lnTo>
                  <a:cubicBezTo>
                    <a:pt x="18421" y="1042"/>
                    <a:pt x="18641" y="987"/>
                    <a:pt x="18886" y="987"/>
                  </a:cubicBezTo>
                  <a:cubicBezTo>
                    <a:pt x="19385" y="987"/>
                    <a:pt x="19790" y="1208"/>
                    <a:pt x="19790" y="1479"/>
                  </a:cubicBezTo>
                  <a:cubicBezTo>
                    <a:pt x="19790" y="1479"/>
                    <a:pt x="19790" y="20121"/>
                    <a:pt x="19790" y="20121"/>
                  </a:cubicBezTo>
                  <a:close/>
                  <a:moveTo>
                    <a:pt x="16192" y="19448"/>
                  </a:moveTo>
                  <a:lnTo>
                    <a:pt x="7196" y="14978"/>
                  </a:lnTo>
                  <a:lnTo>
                    <a:pt x="7196" y="6607"/>
                  </a:lnTo>
                  <a:lnTo>
                    <a:pt x="7599" y="6407"/>
                  </a:lnTo>
                  <a:lnTo>
                    <a:pt x="7595" y="6406"/>
                  </a:lnTo>
                  <a:lnTo>
                    <a:pt x="16192" y="2147"/>
                  </a:lnTo>
                  <a:cubicBezTo>
                    <a:pt x="16192" y="2147"/>
                    <a:pt x="16192" y="19448"/>
                    <a:pt x="16192" y="19448"/>
                  </a:cubicBezTo>
                  <a:close/>
                  <a:moveTo>
                    <a:pt x="5397" y="14648"/>
                  </a:moveTo>
                  <a:cubicBezTo>
                    <a:pt x="3344" y="14284"/>
                    <a:pt x="1799" y="12700"/>
                    <a:pt x="1799" y="10800"/>
                  </a:cubicBezTo>
                  <a:cubicBezTo>
                    <a:pt x="1799" y="8900"/>
                    <a:pt x="3344" y="7315"/>
                    <a:pt x="5397" y="6952"/>
                  </a:cubicBezTo>
                  <a:cubicBezTo>
                    <a:pt x="5397" y="6952"/>
                    <a:pt x="5397" y="14648"/>
                    <a:pt x="5397" y="14648"/>
                  </a:cubicBezTo>
                  <a:close/>
                  <a:moveTo>
                    <a:pt x="21589" y="1527"/>
                  </a:moveTo>
                  <a:cubicBezTo>
                    <a:pt x="21591" y="1508"/>
                    <a:pt x="21600" y="1490"/>
                    <a:pt x="21600" y="1472"/>
                  </a:cubicBezTo>
                  <a:cubicBezTo>
                    <a:pt x="21600" y="658"/>
                    <a:pt x="20386" y="0"/>
                    <a:pt x="18889" y="0"/>
                  </a:cubicBezTo>
                  <a:cubicBezTo>
                    <a:pt x="18123" y="0"/>
                    <a:pt x="17435" y="174"/>
                    <a:pt x="16942" y="451"/>
                  </a:cubicBezTo>
                  <a:lnTo>
                    <a:pt x="5939" y="5905"/>
                  </a:lnTo>
                  <a:cubicBezTo>
                    <a:pt x="2628" y="6050"/>
                    <a:pt x="0" y="8183"/>
                    <a:pt x="0" y="10800"/>
                  </a:cubicBezTo>
                  <a:cubicBezTo>
                    <a:pt x="0" y="13425"/>
                    <a:pt x="2646" y="15563"/>
                    <a:pt x="5972" y="15696"/>
                  </a:cubicBezTo>
                  <a:lnTo>
                    <a:pt x="16942" y="21148"/>
                  </a:lnTo>
                  <a:cubicBezTo>
                    <a:pt x="17434" y="21426"/>
                    <a:pt x="18123" y="21600"/>
                    <a:pt x="18889" y="21600"/>
                  </a:cubicBezTo>
                  <a:cubicBezTo>
                    <a:pt x="20386" y="21600"/>
                    <a:pt x="21600" y="20941"/>
                    <a:pt x="21600" y="20129"/>
                  </a:cubicBezTo>
                  <a:cubicBezTo>
                    <a:pt x="21600" y="20110"/>
                    <a:pt x="21591" y="20092"/>
                    <a:pt x="21589" y="20073"/>
                  </a:cubicBezTo>
                  <a:cubicBezTo>
                    <a:pt x="21589" y="20073"/>
                    <a:pt x="21589" y="1527"/>
                    <a:pt x="21589" y="15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Shape 2676">
              <a:extLst>
                <a:ext uri="{FF2B5EF4-FFF2-40B4-BE49-F238E27FC236}">
                  <a16:creationId xmlns:a16="http://schemas.microsoft.com/office/drawing/2014/main" id="{C06962B4-2499-4968-83DC-E0F0D012656E}"/>
                </a:ext>
              </a:extLst>
            </p:cNvPr>
            <p:cNvSpPr/>
            <p:nvPr/>
          </p:nvSpPr>
          <p:spPr bwMode="gray">
            <a:xfrm>
              <a:off x="5622368" y="3414186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50" y="20121"/>
                  </a:moveTo>
                  <a:cubicBezTo>
                    <a:pt x="14850" y="20393"/>
                    <a:pt x="14546" y="20612"/>
                    <a:pt x="14171" y="20612"/>
                  </a:cubicBezTo>
                  <a:cubicBezTo>
                    <a:pt x="13977" y="20612"/>
                    <a:pt x="13804" y="20552"/>
                    <a:pt x="13680" y="20457"/>
                  </a:cubicBezTo>
                  <a:lnTo>
                    <a:pt x="13677" y="20459"/>
                  </a:lnTo>
                  <a:lnTo>
                    <a:pt x="13500" y="20342"/>
                  </a:lnTo>
                  <a:lnTo>
                    <a:pt x="13500" y="1256"/>
                  </a:lnTo>
                  <a:lnTo>
                    <a:pt x="13698" y="1126"/>
                  </a:lnTo>
                  <a:lnTo>
                    <a:pt x="13700" y="1127"/>
                  </a:lnTo>
                  <a:cubicBezTo>
                    <a:pt x="13822" y="1042"/>
                    <a:pt x="13988" y="987"/>
                    <a:pt x="14171" y="987"/>
                  </a:cubicBezTo>
                  <a:cubicBezTo>
                    <a:pt x="14546" y="987"/>
                    <a:pt x="14850" y="1208"/>
                    <a:pt x="14850" y="1479"/>
                  </a:cubicBezTo>
                  <a:cubicBezTo>
                    <a:pt x="14850" y="1479"/>
                    <a:pt x="14850" y="20121"/>
                    <a:pt x="14850" y="20121"/>
                  </a:cubicBezTo>
                  <a:close/>
                  <a:moveTo>
                    <a:pt x="12150" y="19448"/>
                  </a:moveTo>
                  <a:lnTo>
                    <a:pt x="5400" y="14978"/>
                  </a:lnTo>
                  <a:lnTo>
                    <a:pt x="5400" y="6607"/>
                  </a:lnTo>
                  <a:lnTo>
                    <a:pt x="5702" y="6407"/>
                  </a:lnTo>
                  <a:lnTo>
                    <a:pt x="5699" y="6406"/>
                  </a:lnTo>
                  <a:lnTo>
                    <a:pt x="12150" y="2147"/>
                  </a:lnTo>
                  <a:cubicBezTo>
                    <a:pt x="12150" y="2147"/>
                    <a:pt x="12150" y="19448"/>
                    <a:pt x="12150" y="19448"/>
                  </a:cubicBezTo>
                  <a:close/>
                  <a:moveTo>
                    <a:pt x="4050" y="14648"/>
                  </a:moveTo>
                  <a:cubicBezTo>
                    <a:pt x="2509" y="14284"/>
                    <a:pt x="1350" y="12700"/>
                    <a:pt x="1350" y="10800"/>
                  </a:cubicBezTo>
                  <a:cubicBezTo>
                    <a:pt x="1350" y="8900"/>
                    <a:pt x="2509" y="7315"/>
                    <a:pt x="4050" y="6952"/>
                  </a:cubicBezTo>
                  <a:cubicBezTo>
                    <a:pt x="4050" y="6952"/>
                    <a:pt x="4050" y="14648"/>
                    <a:pt x="4050" y="14648"/>
                  </a:cubicBezTo>
                  <a:close/>
                  <a:moveTo>
                    <a:pt x="16208" y="1472"/>
                  </a:moveTo>
                  <a:cubicBezTo>
                    <a:pt x="16208" y="658"/>
                    <a:pt x="15297" y="0"/>
                    <a:pt x="14174" y="0"/>
                  </a:cubicBezTo>
                  <a:cubicBezTo>
                    <a:pt x="13599" y="0"/>
                    <a:pt x="13083" y="174"/>
                    <a:pt x="12713" y="451"/>
                  </a:cubicBezTo>
                  <a:lnTo>
                    <a:pt x="4456" y="5905"/>
                  </a:lnTo>
                  <a:cubicBezTo>
                    <a:pt x="1972" y="6050"/>
                    <a:pt x="0" y="8183"/>
                    <a:pt x="0" y="10800"/>
                  </a:cubicBezTo>
                  <a:cubicBezTo>
                    <a:pt x="0" y="13425"/>
                    <a:pt x="1985" y="15563"/>
                    <a:pt x="4481" y="15696"/>
                  </a:cubicBezTo>
                  <a:lnTo>
                    <a:pt x="12713" y="21148"/>
                  </a:lnTo>
                  <a:cubicBezTo>
                    <a:pt x="13083" y="21426"/>
                    <a:pt x="13599" y="21600"/>
                    <a:pt x="14174" y="21600"/>
                  </a:cubicBezTo>
                  <a:cubicBezTo>
                    <a:pt x="15297" y="21600"/>
                    <a:pt x="16208" y="20941"/>
                    <a:pt x="16208" y="20129"/>
                  </a:cubicBezTo>
                  <a:cubicBezTo>
                    <a:pt x="16208" y="20110"/>
                    <a:pt x="16201" y="20092"/>
                    <a:pt x="16200" y="20073"/>
                  </a:cubicBezTo>
                  <a:lnTo>
                    <a:pt x="16200" y="1527"/>
                  </a:lnTo>
                  <a:cubicBezTo>
                    <a:pt x="16201" y="1508"/>
                    <a:pt x="16208" y="1490"/>
                    <a:pt x="16208" y="1472"/>
                  </a:cubicBezTo>
                  <a:moveTo>
                    <a:pt x="18225" y="7855"/>
                  </a:moveTo>
                  <a:cubicBezTo>
                    <a:pt x="17852" y="7855"/>
                    <a:pt x="17550" y="8074"/>
                    <a:pt x="17550" y="8345"/>
                  </a:cubicBezTo>
                  <a:cubicBezTo>
                    <a:pt x="17550" y="8617"/>
                    <a:pt x="17852" y="8836"/>
                    <a:pt x="18225" y="8836"/>
                  </a:cubicBezTo>
                  <a:cubicBezTo>
                    <a:pt x="19344" y="8836"/>
                    <a:pt x="20250" y="9716"/>
                    <a:pt x="20250" y="10800"/>
                  </a:cubicBezTo>
                  <a:cubicBezTo>
                    <a:pt x="20250" y="11884"/>
                    <a:pt x="19344" y="12764"/>
                    <a:pt x="18225" y="12764"/>
                  </a:cubicBezTo>
                  <a:cubicBezTo>
                    <a:pt x="17852" y="12764"/>
                    <a:pt x="17550" y="12983"/>
                    <a:pt x="17550" y="13255"/>
                  </a:cubicBezTo>
                  <a:cubicBezTo>
                    <a:pt x="17550" y="13526"/>
                    <a:pt x="17852" y="13745"/>
                    <a:pt x="18225" y="13745"/>
                  </a:cubicBezTo>
                  <a:cubicBezTo>
                    <a:pt x="20089" y="13745"/>
                    <a:pt x="21600" y="12426"/>
                    <a:pt x="21600" y="10800"/>
                  </a:cubicBezTo>
                  <a:cubicBezTo>
                    <a:pt x="21600" y="9173"/>
                    <a:pt x="20089" y="7855"/>
                    <a:pt x="18225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Shape 2677">
              <a:extLst>
                <a:ext uri="{FF2B5EF4-FFF2-40B4-BE49-F238E27FC236}">
                  <a16:creationId xmlns:a16="http://schemas.microsoft.com/office/drawing/2014/main" id="{67B8A3B2-5D0F-4173-BB8C-AD152EEC63B4}"/>
                </a:ext>
              </a:extLst>
            </p:cNvPr>
            <p:cNvSpPr/>
            <p:nvPr/>
          </p:nvSpPr>
          <p:spPr bwMode="gray">
            <a:xfrm>
              <a:off x="6213590" y="17590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7855"/>
                  </a:moveTo>
                  <a:cubicBezTo>
                    <a:pt x="15362" y="7855"/>
                    <a:pt x="15120" y="8075"/>
                    <a:pt x="15120" y="8345"/>
                  </a:cubicBezTo>
                  <a:cubicBezTo>
                    <a:pt x="15120" y="8617"/>
                    <a:pt x="15362" y="8836"/>
                    <a:pt x="15660" y="8836"/>
                  </a:cubicBezTo>
                  <a:cubicBezTo>
                    <a:pt x="16555" y="8836"/>
                    <a:pt x="17280" y="9716"/>
                    <a:pt x="17280" y="10800"/>
                  </a:cubicBezTo>
                  <a:cubicBezTo>
                    <a:pt x="17280" y="11884"/>
                    <a:pt x="16555" y="12764"/>
                    <a:pt x="15660" y="12764"/>
                  </a:cubicBezTo>
                  <a:cubicBezTo>
                    <a:pt x="15362" y="12764"/>
                    <a:pt x="15120" y="12984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7151" y="13745"/>
                    <a:pt x="18360" y="12427"/>
                    <a:pt x="18360" y="10800"/>
                  </a:cubicBezTo>
                  <a:cubicBezTo>
                    <a:pt x="18360" y="9174"/>
                    <a:pt x="17151" y="7855"/>
                    <a:pt x="15660" y="7855"/>
                  </a:cubicBezTo>
                  <a:moveTo>
                    <a:pt x="18472" y="5611"/>
                  </a:moveTo>
                  <a:lnTo>
                    <a:pt x="18463" y="5625"/>
                  </a:lnTo>
                  <a:cubicBezTo>
                    <a:pt x="18383" y="5584"/>
                    <a:pt x="18296" y="5554"/>
                    <a:pt x="18198" y="5554"/>
                  </a:cubicBezTo>
                  <a:cubicBezTo>
                    <a:pt x="17900" y="5554"/>
                    <a:pt x="17660" y="5774"/>
                    <a:pt x="17660" y="6044"/>
                  </a:cubicBezTo>
                  <a:cubicBezTo>
                    <a:pt x="17660" y="6216"/>
                    <a:pt x="17763" y="6361"/>
                    <a:pt x="17910" y="6449"/>
                  </a:cubicBezTo>
                  <a:lnTo>
                    <a:pt x="17909" y="6451"/>
                  </a:lnTo>
                  <a:cubicBezTo>
                    <a:pt x="19460" y="7271"/>
                    <a:pt x="20520" y="8909"/>
                    <a:pt x="20520" y="10800"/>
                  </a:cubicBezTo>
                  <a:cubicBezTo>
                    <a:pt x="20520" y="12689"/>
                    <a:pt x="19463" y="14325"/>
                    <a:pt x="17915" y="15147"/>
                  </a:cubicBezTo>
                  <a:lnTo>
                    <a:pt x="17919" y="15152"/>
                  </a:lnTo>
                  <a:cubicBezTo>
                    <a:pt x="17771" y="15239"/>
                    <a:pt x="17668" y="15384"/>
                    <a:pt x="17668" y="15556"/>
                  </a:cubicBezTo>
                  <a:cubicBezTo>
                    <a:pt x="17668" y="15827"/>
                    <a:pt x="17910" y="16046"/>
                    <a:pt x="18208" y="16046"/>
                  </a:cubicBezTo>
                  <a:cubicBezTo>
                    <a:pt x="18306" y="16046"/>
                    <a:pt x="18393" y="16016"/>
                    <a:pt x="18473" y="15975"/>
                  </a:cubicBezTo>
                  <a:lnTo>
                    <a:pt x="18480" y="15985"/>
                  </a:lnTo>
                  <a:cubicBezTo>
                    <a:pt x="20338" y="14990"/>
                    <a:pt x="21600" y="13041"/>
                    <a:pt x="21600" y="10800"/>
                  </a:cubicBezTo>
                  <a:cubicBezTo>
                    <a:pt x="21600" y="8556"/>
                    <a:pt x="20334" y="6606"/>
                    <a:pt x="18472" y="5611"/>
                  </a:cubicBezTo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2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8" y="1042"/>
                    <a:pt x="11190" y="988"/>
                    <a:pt x="11337" y="988"/>
                  </a:cubicBezTo>
                  <a:cubicBezTo>
                    <a:pt x="11637" y="988"/>
                    <a:pt x="11880" y="1208"/>
                    <a:pt x="11880" y="1480"/>
                  </a:cubicBezTo>
                  <a:cubicBezTo>
                    <a:pt x="11880" y="1480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7"/>
                  </a:lnTo>
                  <a:lnTo>
                    <a:pt x="4561" y="6407"/>
                  </a:lnTo>
                  <a:lnTo>
                    <a:pt x="4560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6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9"/>
                    <a:pt x="12238" y="0"/>
                    <a:pt x="11339" y="0"/>
                  </a:cubicBezTo>
                  <a:cubicBezTo>
                    <a:pt x="10879" y="0"/>
                    <a:pt x="10466" y="175"/>
                    <a:pt x="10170" y="451"/>
                  </a:cubicBezTo>
                  <a:lnTo>
                    <a:pt x="3565" y="5905"/>
                  </a:lnTo>
                  <a:cubicBezTo>
                    <a:pt x="1578" y="6051"/>
                    <a:pt x="0" y="8183"/>
                    <a:pt x="0" y="10800"/>
                  </a:cubicBezTo>
                  <a:cubicBezTo>
                    <a:pt x="0" y="13426"/>
                    <a:pt x="1588" y="15564"/>
                    <a:pt x="3585" y="15697"/>
                  </a:cubicBezTo>
                  <a:lnTo>
                    <a:pt x="10170" y="21148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3"/>
                    <a:pt x="12960" y="20074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Shape 2678">
              <a:extLst>
                <a:ext uri="{FF2B5EF4-FFF2-40B4-BE49-F238E27FC236}">
                  <a16:creationId xmlns:a16="http://schemas.microsoft.com/office/drawing/2014/main" id="{4F891DEF-E9F4-4C5D-88BA-CFE99F7EEB85}"/>
                </a:ext>
              </a:extLst>
            </p:cNvPr>
            <p:cNvSpPr/>
            <p:nvPr/>
          </p:nvSpPr>
          <p:spPr bwMode="gray">
            <a:xfrm>
              <a:off x="6752168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121"/>
                  </a:moveTo>
                  <a:cubicBezTo>
                    <a:pt x="10800" y="20393"/>
                    <a:pt x="10579" y="20612"/>
                    <a:pt x="10306" y="20612"/>
                  </a:cubicBezTo>
                  <a:cubicBezTo>
                    <a:pt x="10165" y="20612"/>
                    <a:pt x="10039" y="20552"/>
                    <a:pt x="9949" y="20457"/>
                  </a:cubicBezTo>
                  <a:lnTo>
                    <a:pt x="9947" y="20459"/>
                  </a:lnTo>
                  <a:lnTo>
                    <a:pt x="9818" y="20342"/>
                  </a:lnTo>
                  <a:lnTo>
                    <a:pt x="9818" y="1256"/>
                  </a:lnTo>
                  <a:lnTo>
                    <a:pt x="9962" y="1126"/>
                  </a:lnTo>
                  <a:lnTo>
                    <a:pt x="9963" y="1127"/>
                  </a:lnTo>
                  <a:cubicBezTo>
                    <a:pt x="10052" y="1042"/>
                    <a:pt x="10173" y="987"/>
                    <a:pt x="10306" y="987"/>
                  </a:cubicBezTo>
                  <a:cubicBezTo>
                    <a:pt x="10579" y="987"/>
                    <a:pt x="10800" y="1208"/>
                    <a:pt x="10800" y="1479"/>
                  </a:cubicBezTo>
                  <a:cubicBezTo>
                    <a:pt x="10800" y="1479"/>
                    <a:pt x="10800" y="20121"/>
                    <a:pt x="10800" y="20121"/>
                  </a:cubicBezTo>
                  <a:close/>
                  <a:moveTo>
                    <a:pt x="8836" y="19448"/>
                  </a:moveTo>
                  <a:lnTo>
                    <a:pt x="3927" y="14979"/>
                  </a:lnTo>
                  <a:lnTo>
                    <a:pt x="3927" y="6607"/>
                  </a:lnTo>
                  <a:lnTo>
                    <a:pt x="4147" y="6407"/>
                  </a:lnTo>
                  <a:lnTo>
                    <a:pt x="4145" y="6406"/>
                  </a:lnTo>
                  <a:lnTo>
                    <a:pt x="8836" y="2147"/>
                  </a:lnTo>
                  <a:cubicBezTo>
                    <a:pt x="8836" y="2147"/>
                    <a:pt x="8836" y="19448"/>
                    <a:pt x="8836" y="19448"/>
                  </a:cubicBezTo>
                  <a:close/>
                  <a:moveTo>
                    <a:pt x="2945" y="14649"/>
                  </a:moveTo>
                  <a:cubicBezTo>
                    <a:pt x="1825" y="14285"/>
                    <a:pt x="982" y="12700"/>
                    <a:pt x="982" y="10800"/>
                  </a:cubicBezTo>
                  <a:cubicBezTo>
                    <a:pt x="982" y="8900"/>
                    <a:pt x="1825" y="7315"/>
                    <a:pt x="2945" y="6952"/>
                  </a:cubicBezTo>
                  <a:cubicBezTo>
                    <a:pt x="2945" y="6952"/>
                    <a:pt x="2945" y="14649"/>
                    <a:pt x="2945" y="14649"/>
                  </a:cubicBezTo>
                  <a:close/>
                  <a:moveTo>
                    <a:pt x="11787" y="1472"/>
                  </a:moveTo>
                  <a:cubicBezTo>
                    <a:pt x="11787" y="658"/>
                    <a:pt x="11126" y="0"/>
                    <a:pt x="10308" y="0"/>
                  </a:cubicBezTo>
                  <a:cubicBezTo>
                    <a:pt x="9890" y="0"/>
                    <a:pt x="9515" y="174"/>
                    <a:pt x="9246" y="451"/>
                  </a:cubicBezTo>
                  <a:lnTo>
                    <a:pt x="3241" y="5905"/>
                  </a:lnTo>
                  <a:cubicBezTo>
                    <a:pt x="1434" y="6051"/>
                    <a:pt x="0" y="8183"/>
                    <a:pt x="0" y="10800"/>
                  </a:cubicBezTo>
                  <a:cubicBezTo>
                    <a:pt x="0" y="13425"/>
                    <a:pt x="1444" y="15563"/>
                    <a:pt x="3259" y="15696"/>
                  </a:cubicBezTo>
                  <a:lnTo>
                    <a:pt x="9245" y="21148"/>
                  </a:lnTo>
                  <a:cubicBezTo>
                    <a:pt x="9514" y="21426"/>
                    <a:pt x="9890" y="21600"/>
                    <a:pt x="10308" y="21600"/>
                  </a:cubicBezTo>
                  <a:cubicBezTo>
                    <a:pt x="11126" y="21600"/>
                    <a:pt x="11787" y="20941"/>
                    <a:pt x="11787" y="20129"/>
                  </a:cubicBezTo>
                  <a:cubicBezTo>
                    <a:pt x="11787" y="20110"/>
                    <a:pt x="11782" y="20092"/>
                    <a:pt x="11782" y="20073"/>
                  </a:cubicBezTo>
                  <a:lnTo>
                    <a:pt x="11782" y="1527"/>
                  </a:lnTo>
                  <a:cubicBezTo>
                    <a:pt x="11782" y="1508"/>
                    <a:pt x="11787" y="1490"/>
                    <a:pt x="11787" y="1472"/>
                  </a:cubicBezTo>
                  <a:moveTo>
                    <a:pt x="13255" y="7855"/>
                  </a:moveTo>
                  <a:cubicBezTo>
                    <a:pt x="12984" y="7855"/>
                    <a:pt x="12764" y="8074"/>
                    <a:pt x="12764" y="8345"/>
                  </a:cubicBezTo>
                  <a:cubicBezTo>
                    <a:pt x="12764" y="8617"/>
                    <a:pt x="12984" y="8836"/>
                    <a:pt x="13255" y="8836"/>
                  </a:cubicBezTo>
                  <a:cubicBezTo>
                    <a:pt x="14068" y="8836"/>
                    <a:pt x="14727" y="9716"/>
                    <a:pt x="14727" y="10800"/>
                  </a:cubicBezTo>
                  <a:cubicBezTo>
                    <a:pt x="14727" y="11884"/>
                    <a:pt x="14068" y="12764"/>
                    <a:pt x="13255" y="12764"/>
                  </a:cubicBezTo>
                  <a:cubicBezTo>
                    <a:pt x="12984" y="12764"/>
                    <a:pt x="12764" y="12983"/>
                    <a:pt x="12764" y="13255"/>
                  </a:cubicBezTo>
                  <a:cubicBezTo>
                    <a:pt x="12764" y="13526"/>
                    <a:pt x="12984" y="13745"/>
                    <a:pt x="13255" y="13745"/>
                  </a:cubicBezTo>
                  <a:cubicBezTo>
                    <a:pt x="14610" y="13745"/>
                    <a:pt x="15709" y="12427"/>
                    <a:pt x="15709" y="10800"/>
                  </a:cubicBezTo>
                  <a:cubicBezTo>
                    <a:pt x="15709" y="9173"/>
                    <a:pt x="14610" y="7855"/>
                    <a:pt x="13255" y="7855"/>
                  </a:cubicBezTo>
                  <a:moveTo>
                    <a:pt x="17948" y="3495"/>
                  </a:moveTo>
                  <a:lnTo>
                    <a:pt x="17938" y="3509"/>
                  </a:lnTo>
                  <a:cubicBezTo>
                    <a:pt x="17860" y="3458"/>
                    <a:pt x="17773" y="3421"/>
                    <a:pt x="17674" y="3421"/>
                  </a:cubicBezTo>
                  <a:cubicBezTo>
                    <a:pt x="17403" y="3421"/>
                    <a:pt x="17184" y="3641"/>
                    <a:pt x="17184" y="3912"/>
                  </a:cubicBezTo>
                  <a:cubicBezTo>
                    <a:pt x="17184" y="4073"/>
                    <a:pt x="17266" y="4209"/>
                    <a:pt x="17386" y="4298"/>
                  </a:cubicBezTo>
                  <a:cubicBezTo>
                    <a:pt x="19336" y="5711"/>
                    <a:pt x="20618" y="8095"/>
                    <a:pt x="20618" y="10800"/>
                  </a:cubicBezTo>
                  <a:cubicBezTo>
                    <a:pt x="20618" y="13505"/>
                    <a:pt x="19336" y="15889"/>
                    <a:pt x="17385" y="17302"/>
                  </a:cubicBezTo>
                  <a:lnTo>
                    <a:pt x="17389" y="17309"/>
                  </a:lnTo>
                  <a:cubicBezTo>
                    <a:pt x="17275" y="17398"/>
                    <a:pt x="17197" y="17531"/>
                    <a:pt x="17197" y="17688"/>
                  </a:cubicBezTo>
                  <a:cubicBezTo>
                    <a:pt x="17197" y="17959"/>
                    <a:pt x="17417" y="18179"/>
                    <a:pt x="17688" y="18179"/>
                  </a:cubicBezTo>
                  <a:cubicBezTo>
                    <a:pt x="17788" y="18179"/>
                    <a:pt x="17875" y="18142"/>
                    <a:pt x="17952" y="18091"/>
                  </a:cubicBezTo>
                  <a:lnTo>
                    <a:pt x="17957" y="18098"/>
                  </a:lnTo>
                  <a:cubicBezTo>
                    <a:pt x="17982" y="18080"/>
                    <a:pt x="18004" y="18057"/>
                    <a:pt x="18029" y="18039"/>
                  </a:cubicBezTo>
                  <a:cubicBezTo>
                    <a:pt x="18031" y="18037"/>
                    <a:pt x="18034" y="18035"/>
                    <a:pt x="18037" y="18033"/>
                  </a:cubicBezTo>
                  <a:cubicBezTo>
                    <a:pt x="20189" y="16435"/>
                    <a:pt x="21600" y="13794"/>
                    <a:pt x="21600" y="10800"/>
                  </a:cubicBezTo>
                  <a:cubicBezTo>
                    <a:pt x="21600" y="7763"/>
                    <a:pt x="20152" y="5085"/>
                    <a:pt x="17948" y="3495"/>
                  </a:cubicBezTo>
                  <a:moveTo>
                    <a:pt x="15811" y="5611"/>
                  </a:moveTo>
                  <a:lnTo>
                    <a:pt x="15802" y="5625"/>
                  </a:lnTo>
                  <a:cubicBezTo>
                    <a:pt x="15730" y="5584"/>
                    <a:pt x="15651" y="5553"/>
                    <a:pt x="15562" y="5553"/>
                  </a:cubicBezTo>
                  <a:cubicBezTo>
                    <a:pt x="15291" y="5553"/>
                    <a:pt x="15072" y="5773"/>
                    <a:pt x="15072" y="6044"/>
                  </a:cubicBezTo>
                  <a:cubicBezTo>
                    <a:pt x="15072" y="6216"/>
                    <a:pt x="15166" y="6361"/>
                    <a:pt x="15300" y="6448"/>
                  </a:cubicBezTo>
                  <a:lnTo>
                    <a:pt x="15299" y="6450"/>
                  </a:lnTo>
                  <a:cubicBezTo>
                    <a:pt x="16709" y="7270"/>
                    <a:pt x="17673" y="8909"/>
                    <a:pt x="17673" y="10800"/>
                  </a:cubicBezTo>
                  <a:cubicBezTo>
                    <a:pt x="17673" y="12688"/>
                    <a:pt x="16712" y="14325"/>
                    <a:pt x="15305" y="15146"/>
                  </a:cubicBezTo>
                  <a:lnTo>
                    <a:pt x="15309" y="15151"/>
                  </a:lnTo>
                  <a:cubicBezTo>
                    <a:pt x="15174" y="15239"/>
                    <a:pt x="15080" y="15384"/>
                    <a:pt x="15080" y="15555"/>
                  </a:cubicBezTo>
                  <a:cubicBezTo>
                    <a:pt x="15080" y="15827"/>
                    <a:pt x="15300" y="16046"/>
                    <a:pt x="15571" y="16046"/>
                  </a:cubicBezTo>
                  <a:cubicBezTo>
                    <a:pt x="15660" y="16046"/>
                    <a:pt x="15740" y="16016"/>
                    <a:pt x="15812" y="15975"/>
                  </a:cubicBezTo>
                  <a:lnTo>
                    <a:pt x="15819" y="15985"/>
                  </a:lnTo>
                  <a:cubicBezTo>
                    <a:pt x="17507" y="14989"/>
                    <a:pt x="18655" y="13041"/>
                    <a:pt x="18655" y="10800"/>
                  </a:cubicBezTo>
                  <a:cubicBezTo>
                    <a:pt x="18655" y="8556"/>
                    <a:pt x="17504" y="6606"/>
                    <a:pt x="15811" y="561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Shape 2679">
              <a:extLst>
                <a:ext uri="{FF2B5EF4-FFF2-40B4-BE49-F238E27FC236}">
                  <a16:creationId xmlns:a16="http://schemas.microsoft.com/office/drawing/2014/main" id="{AB7EE7B7-CC46-4725-84BA-743FB67DB8CB}"/>
                </a:ext>
              </a:extLst>
            </p:cNvPr>
            <p:cNvSpPr/>
            <p:nvPr/>
          </p:nvSpPr>
          <p:spPr bwMode="gray">
            <a:xfrm>
              <a:off x="7303882" y="1772181"/>
              <a:ext cx="288993" cy="2627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24" extrusionOk="0">
                  <a:moveTo>
                    <a:pt x="17182" y="13452"/>
                  </a:moveTo>
                  <a:cubicBezTo>
                    <a:pt x="16640" y="13452"/>
                    <a:pt x="16200" y="13935"/>
                    <a:pt x="16200" y="14529"/>
                  </a:cubicBezTo>
                  <a:cubicBezTo>
                    <a:pt x="16200" y="15123"/>
                    <a:pt x="16640" y="15605"/>
                    <a:pt x="17182" y="15605"/>
                  </a:cubicBezTo>
                  <a:cubicBezTo>
                    <a:pt x="17724" y="15605"/>
                    <a:pt x="18164" y="15123"/>
                    <a:pt x="18164" y="14529"/>
                  </a:cubicBezTo>
                  <a:cubicBezTo>
                    <a:pt x="18164" y="13935"/>
                    <a:pt x="17724" y="13452"/>
                    <a:pt x="17182" y="13452"/>
                  </a:cubicBezTo>
                  <a:moveTo>
                    <a:pt x="15218" y="15605"/>
                  </a:moveTo>
                  <a:cubicBezTo>
                    <a:pt x="14676" y="15605"/>
                    <a:pt x="14236" y="16087"/>
                    <a:pt x="14236" y="16681"/>
                  </a:cubicBezTo>
                  <a:cubicBezTo>
                    <a:pt x="14236" y="17276"/>
                    <a:pt x="14676" y="17757"/>
                    <a:pt x="15218" y="17757"/>
                  </a:cubicBezTo>
                  <a:cubicBezTo>
                    <a:pt x="15760" y="17757"/>
                    <a:pt x="16200" y="17276"/>
                    <a:pt x="16200" y="16681"/>
                  </a:cubicBezTo>
                  <a:cubicBezTo>
                    <a:pt x="16200" y="16087"/>
                    <a:pt x="15760" y="15605"/>
                    <a:pt x="15218" y="15605"/>
                  </a:cubicBezTo>
                  <a:moveTo>
                    <a:pt x="16200" y="20448"/>
                  </a:moveTo>
                  <a:cubicBezTo>
                    <a:pt x="14668" y="20448"/>
                    <a:pt x="13319" y="19593"/>
                    <a:pt x="12527" y="18295"/>
                  </a:cubicBezTo>
                  <a:lnTo>
                    <a:pt x="9073" y="18295"/>
                  </a:lnTo>
                  <a:cubicBezTo>
                    <a:pt x="8281" y="19593"/>
                    <a:pt x="6932" y="20448"/>
                    <a:pt x="5400" y="20448"/>
                  </a:cubicBezTo>
                  <a:cubicBezTo>
                    <a:pt x="2960" y="20448"/>
                    <a:pt x="982" y="18280"/>
                    <a:pt x="982" y="15605"/>
                  </a:cubicBezTo>
                  <a:cubicBezTo>
                    <a:pt x="982" y="12930"/>
                    <a:pt x="2960" y="10762"/>
                    <a:pt x="5400" y="10762"/>
                  </a:cubicBezTo>
                  <a:lnTo>
                    <a:pt x="16200" y="10762"/>
                  </a:lnTo>
                  <a:cubicBezTo>
                    <a:pt x="18640" y="10762"/>
                    <a:pt x="20618" y="12930"/>
                    <a:pt x="20618" y="15605"/>
                  </a:cubicBezTo>
                  <a:cubicBezTo>
                    <a:pt x="20618" y="18280"/>
                    <a:pt x="18640" y="20448"/>
                    <a:pt x="16200" y="20448"/>
                  </a:cubicBezTo>
                  <a:moveTo>
                    <a:pt x="16200" y="9686"/>
                  </a:moveTo>
                  <a:lnTo>
                    <a:pt x="11319" y="9686"/>
                  </a:lnTo>
                  <a:cubicBezTo>
                    <a:pt x="10837" y="8713"/>
                    <a:pt x="11227" y="8217"/>
                    <a:pt x="11943" y="7448"/>
                  </a:cubicBezTo>
                  <a:cubicBezTo>
                    <a:pt x="12528" y="6820"/>
                    <a:pt x="13255" y="6038"/>
                    <a:pt x="13255" y="4843"/>
                  </a:cubicBezTo>
                  <a:cubicBezTo>
                    <a:pt x="13255" y="1854"/>
                    <a:pt x="10169" y="128"/>
                    <a:pt x="10038" y="56"/>
                  </a:cubicBezTo>
                  <a:cubicBezTo>
                    <a:pt x="9796" y="-76"/>
                    <a:pt x="9501" y="32"/>
                    <a:pt x="9379" y="297"/>
                  </a:cubicBezTo>
                  <a:cubicBezTo>
                    <a:pt x="9258" y="562"/>
                    <a:pt x="9356" y="886"/>
                    <a:pt x="9598" y="1019"/>
                  </a:cubicBezTo>
                  <a:cubicBezTo>
                    <a:pt x="9625" y="1034"/>
                    <a:pt x="12273" y="2523"/>
                    <a:pt x="12273" y="4843"/>
                  </a:cubicBezTo>
                  <a:cubicBezTo>
                    <a:pt x="12273" y="5586"/>
                    <a:pt x="11779" y="6117"/>
                    <a:pt x="11255" y="6679"/>
                  </a:cubicBezTo>
                  <a:cubicBezTo>
                    <a:pt x="10584" y="7401"/>
                    <a:pt x="9775" y="8296"/>
                    <a:pt x="10277" y="9686"/>
                  </a:cubicBezTo>
                  <a:lnTo>
                    <a:pt x="5400" y="9686"/>
                  </a:lnTo>
                  <a:cubicBezTo>
                    <a:pt x="2418" y="9686"/>
                    <a:pt x="0" y="12336"/>
                    <a:pt x="0" y="15605"/>
                  </a:cubicBezTo>
                  <a:cubicBezTo>
                    <a:pt x="0" y="18874"/>
                    <a:pt x="2418" y="21524"/>
                    <a:pt x="5400" y="21524"/>
                  </a:cubicBezTo>
                  <a:cubicBezTo>
                    <a:pt x="7077" y="21524"/>
                    <a:pt x="8575" y="20686"/>
                    <a:pt x="9565" y="19372"/>
                  </a:cubicBezTo>
                  <a:lnTo>
                    <a:pt x="12035" y="19372"/>
                  </a:lnTo>
                  <a:cubicBezTo>
                    <a:pt x="13025" y="20686"/>
                    <a:pt x="14523" y="21524"/>
                    <a:pt x="16200" y="21524"/>
                  </a:cubicBezTo>
                  <a:cubicBezTo>
                    <a:pt x="19182" y="21524"/>
                    <a:pt x="21600" y="18874"/>
                    <a:pt x="21600" y="15605"/>
                  </a:cubicBezTo>
                  <a:cubicBezTo>
                    <a:pt x="21600" y="12336"/>
                    <a:pt x="19182" y="9686"/>
                    <a:pt x="16200" y="9686"/>
                  </a:cubicBezTo>
                  <a:moveTo>
                    <a:pt x="6873" y="15067"/>
                  </a:moveTo>
                  <a:lnTo>
                    <a:pt x="5891" y="15067"/>
                  </a:lnTo>
                  <a:lnTo>
                    <a:pt x="5891" y="13990"/>
                  </a:lnTo>
                  <a:cubicBezTo>
                    <a:pt x="5891" y="13694"/>
                    <a:pt x="5671" y="13452"/>
                    <a:pt x="5400" y="13452"/>
                  </a:cubicBezTo>
                  <a:cubicBezTo>
                    <a:pt x="5129" y="13452"/>
                    <a:pt x="4909" y="13694"/>
                    <a:pt x="4909" y="13990"/>
                  </a:cubicBezTo>
                  <a:lnTo>
                    <a:pt x="4909" y="15067"/>
                  </a:lnTo>
                  <a:lnTo>
                    <a:pt x="3927" y="15067"/>
                  </a:lnTo>
                  <a:cubicBezTo>
                    <a:pt x="3656" y="15067"/>
                    <a:pt x="3436" y="15307"/>
                    <a:pt x="3436" y="15605"/>
                  </a:cubicBezTo>
                  <a:cubicBezTo>
                    <a:pt x="3436" y="15903"/>
                    <a:pt x="3656" y="16143"/>
                    <a:pt x="3927" y="16143"/>
                  </a:cubicBezTo>
                  <a:lnTo>
                    <a:pt x="4909" y="16143"/>
                  </a:lnTo>
                  <a:lnTo>
                    <a:pt x="4909" y="17219"/>
                  </a:lnTo>
                  <a:cubicBezTo>
                    <a:pt x="4909" y="17517"/>
                    <a:pt x="5129" y="17757"/>
                    <a:pt x="5400" y="17757"/>
                  </a:cubicBezTo>
                  <a:cubicBezTo>
                    <a:pt x="5671" y="17757"/>
                    <a:pt x="5891" y="17517"/>
                    <a:pt x="5891" y="17219"/>
                  </a:cubicBezTo>
                  <a:lnTo>
                    <a:pt x="5891" y="16143"/>
                  </a:lnTo>
                  <a:lnTo>
                    <a:pt x="6873" y="16143"/>
                  </a:lnTo>
                  <a:cubicBezTo>
                    <a:pt x="7144" y="16143"/>
                    <a:pt x="7364" y="15903"/>
                    <a:pt x="7364" y="15605"/>
                  </a:cubicBezTo>
                  <a:cubicBezTo>
                    <a:pt x="7364" y="15307"/>
                    <a:pt x="7144" y="15067"/>
                    <a:pt x="6873" y="15067"/>
                  </a:cubicBezTo>
                  <a:moveTo>
                    <a:pt x="12273" y="12376"/>
                  </a:moveTo>
                  <a:cubicBezTo>
                    <a:pt x="12002" y="12376"/>
                    <a:pt x="11782" y="12617"/>
                    <a:pt x="11782" y="12914"/>
                  </a:cubicBezTo>
                  <a:cubicBezTo>
                    <a:pt x="11782" y="13212"/>
                    <a:pt x="12002" y="13452"/>
                    <a:pt x="12273" y="13452"/>
                  </a:cubicBezTo>
                  <a:cubicBezTo>
                    <a:pt x="12544" y="13452"/>
                    <a:pt x="12764" y="13212"/>
                    <a:pt x="12764" y="12914"/>
                  </a:cubicBezTo>
                  <a:cubicBezTo>
                    <a:pt x="12764" y="12617"/>
                    <a:pt x="12544" y="12376"/>
                    <a:pt x="12273" y="12376"/>
                  </a:cubicBezTo>
                  <a:moveTo>
                    <a:pt x="9327" y="12376"/>
                  </a:moveTo>
                  <a:cubicBezTo>
                    <a:pt x="9056" y="12376"/>
                    <a:pt x="8836" y="12617"/>
                    <a:pt x="8836" y="12914"/>
                  </a:cubicBezTo>
                  <a:cubicBezTo>
                    <a:pt x="8836" y="13212"/>
                    <a:pt x="9056" y="13452"/>
                    <a:pt x="9327" y="13452"/>
                  </a:cubicBezTo>
                  <a:cubicBezTo>
                    <a:pt x="9598" y="13452"/>
                    <a:pt x="9818" y="13212"/>
                    <a:pt x="9818" y="12914"/>
                  </a:cubicBezTo>
                  <a:cubicBezTo>
                    <a:pt x="9818" y="12617"/>
                    <a:pt x="9598" y="12376"/>
                    <a:pt x="9327" y="12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Shape 2680">
              <a:extLst>
                <a:ext uri="{FF2B5EF4-FFF2-40B4-BE49-F238E27FC236}">
                  <a16:creationId xmlns:a16="http://schemas.microsoft.com/office/drawing/2014/main" id="{D0B71B89-64C6-4457-99ED-86451A899137}"/>
                </a:ext>
              </a:extLst>
            </p:cNvPr>
            <p:cNvSpPr/>
            <p:nvPr/>
          </p:nvSpPr>
          <p:spPr bwMode="gray">
            <a:xfrm>
              <a:off x="7855595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15709"/>
                  </a:moveTo>
                  <a:lnTo>
                    <a:pt x="10309" y="15709"/>
                  </a:lnTo>
                  <a:cubicBezTo>
                    <a:pt x="10038" y="15709"/>
                    <a:pt x="9818" y="15929"/>
                    <a:pt x="9818" y="16200"/>
                  </a:cubicBezTo>
                  <a:cubicBezTo>
                    <a:pt x="9818" y="16472"/>
                    <a:pt x="10038" y="16691"/>
                    <a:pt x="10309" y="16691"/>
                  </a:cubicBezTo>
                  <a:lnTo>
                    <a:pt x="13255" y="16691"/>
                  </a:lnTo>
                  <a:cubicBezTo>
                    <a:pt x="13525" y="16691"/>
                    <a:pt x="13745" y="16472"/>
                    <a:pt x="13745" y="16200"/>
                  </a:cubicBezTo>
                  <a:cubicBezTo>
                    <a:pt x="13745" y="15929"/>
                    <a:pt x="13525" y="15709"/>
                    <a:pt x="13255" y="15709"/>
                  </a:cubicBezTo>
                  <a:moveTo>
                    <a:pt x="9818" y="12273"/>
                  </a:moveTo>
                  <a:cubicBezTo>
                    <a:pt x="9818" y="12112"/>
                    <a:pt x="9736" y="11976"/>
                    <a:pt x="9617" y="11887"/>
                  </a:cubicBezTo>
                  <a:lnTo>
                    <a:pt x="9622" y="11880"/>
                  </a:lnTo>
                  <a:lnTo>
                    <a:pt x="5695" y="8935"/>
                  </a:lnTo>
                  <a:lnTo>
                    <a:pt x="5690" y="8941"/>
                  </a:lnTo>
                  <a:cubicBezTo>
                    <a:pt x="5608" y="8880"/>
                    <a:pt x="5511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88"/>
                    <a:pt x="4991" y="9624"/>
                    <a:pt x="5110" y="9713"/>
                  </a:cubicBezTo>
                  <a:lnTo>
                    <a:pt x="5105" y="9720"/>
                  </a:lnTo>
                  <a:lnTo>
                    <a:pt x="8509" y="12273"/>
                  </a:lnTo>
                  <a:lnTo>
                    <a:pt x="5105" y="14826"/>
                  </a:lnTo>
                  <a:lnTo>
                    <a:pt x="5110" y="14832"/>
                  </a:lnTo>
                  <a:cubicBezTo>
                    <a:pt x="4991" y="14922"/>
                    <a:pt x="4909" y="15058"/>
                    <a:pt x="4909" y="15218"/>
                  </a:cubicBezTo>
                  <a:cubicBezTo>
                    <a:pt x="4909" y="15490"/>
                    <a:pt x="5129" y="15709"/>
                    <a:pt x="5400" y="15709"/>
                  </a:cubicBezTo>
                  <a:cubicBezTo>
                    <a:pt x="5511" y="15709"/>
                    <a:pt x="5607" y="15666"/>
                    <a:pt x="5690" y="15604"/>
                  </a:cubicBezTo>
                  <a:lnTo>
                    <a:pt x="5695" y="15611"/>
                  </a:lnTo>
                  <a:lnTo>
                    <a:pt x="9622" y="12666"/>
                  </a:lnTo>
                  <a:lnTo>
                    <a:pt x="9617" y="12659"/>
                  </a:lnTo>
                  <a:cubicBezTo>
                    <a:pt x="9736" y="12569"/>
                    <a:pt x="9818" y="12433"/>
                    <a:pt x="9818" y="12273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Shape 2681">
              <a:extLst>
                <a:ext uri="{FF2B5EF4-FFF2-40B4-BE49-F238E27FC236}">
                  <a16:creationId xmlns:a16="http://schemas.microsoft.com/office/drawing/2014/main" id="{065E3362-1E7C-466D-89D0-20D0C95A6CDB}"/>
                </a:ext>
              </a:extLst>
            </p:cNvPr>
            <p:cNvSpPr/>
            <p:nvPr/>
          </p:nvSpPr>
          <p:spPr bwMode="gray">
            <a:xfrm>
              <a:off x="8407309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9636"/>
                  </a:moveTo>
                  <a:lnTo>
                    <a:pt x="11291" y="19636"/>
                  </a:lnTo>
                  <a:cubicBezTo>
                    <a:pt x="11562" y="19636"/>
                    <a:pt x="11782" y="19416"/>
                    <a:pt x="11782" y="19146"/>
                  </a:cubicBezTo>
                  <a:cubicBezTo>
                    <a:pt x="11782" y="18874"/>
                    <a:pt x="11562" y="18655"/>
                    <a:pt x="11291" y="18655"/>
                  </a:cubicBezTo>
                  <a:lnTo>
                    <a:pt x="6382" y="18655"/>
                  </a:lnTo>
                  <a:cubicBezTo>
                    <a:pt x="6111" y="18655"/>
                    <a:pt x="5891" y="18874"/>
                    <a:pt x="5891" y="19146"/>
                  </a:cubicBezTo>
                  <a:cubicBezTo>
                    <a:pt x="5891" y="19416"/>
                    <a:pt x="6111" y="19636"/>
                    <a:pt x="6382" y="196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lnTo>
                    <a:pt x="20618" y="17673"/>
                  </a:ln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2822" y="10800"/>
                  </a:moveTo>
                  <a:lnTo>
                    <a:pt x="18778" y="10800"/>
                  </a:lnTo>
                  <a:lnTo>
                    <a:pt x="20461" y="16691"/>
                  </a:lnTo>
                  <a:lnTo>
                    <a:pt x="1139" y="16691"/>
                  </a:lnTo>
                  <a:cubicBezTo>
                    <a:pt x="1139" y="16691"/>
                    <a:pt x="2822" y="10800"/>
                    <a:pt x="2822" y="10800"/>
                  </a:cubicBezTo>
                  <a:close/>
                  <a:moveTo>
                    <a:pt x="21600" y="17182"/>
                  </a:moveTo>
                  <a:cubicBezTo>
                    <a:pt x="21600" y="17118"/>
                    <a:pt x="21586" y="17057"/>
                    <a:pt x="21563" y="17000"/>
                  </a:cubicBezTo>
                  <a:lnTo>
                    <a:pt x="21565" y="17000"/>
                  </a:lnTo>
                  <a:lnTo>
                    <a:pt x="19602" y="10127"/>
                  </a:lnTo>
                  <a:lnTo>
                    <a:pt x="19599" y="10128"/>
                  </a:lnTo>
                  <a:cubicBezTo>
                    <a:pt x="19527" y="9947"/>
                    <a:pt x="19352" y="9818"/>
                    <a:pt x="19145" y="9818"/>
                  </a:cubicBezTo>
                  <a:lnTo>
                    <a:pt x="18164" y="9818"/>
                  </a:lnTo>
                  <a:lnTo>
                    <a:pt x="18164" y="3927"/>
                  </a:lnTo>
                  <a:cubicBezTo>
                    <a:pt x="18164" y="3656"/>
                    <a:pt x="17944" y="3436"/>
                    <a:pt x="17673" y="3436"/>
                  </a:cubicBezTo>
                  <a:cubicBezTo>
                    <a:pt x="17402" y="3436"/>
                    <a:pt x="17182" y="3656"/>
                    <a:pt x="17182" y="3927"/>
                  </a:cubicBezTo>
                  <a:lnTo>
                    <a:pt x="17182" y="9818"/>
                  </a:lnTo>
                  <a:lnTo>
                    <a:pt x="4418" y="9818"/>
                  </a:lnTo>
                  <a:lnTo>
                    <a:pt x="4418" y="3927"/>
                  </a:lnTo>
                  <a:cubicBezTo>
                    <a:pt x="4418" y="3656"/>
                    <a:pt x="4198" y="3436"/>
                    <a:pt x="3927" y="3436"/>
                  </a:cubicBezTo>
                  <a:cubicBezTo>
                    <a:pt x="3656" y="3436"/>
                    <a:pt x="3436" y="3656"/>
                    <a:pt x="3436" y="3927"/>
                  </a:cubicBezTo>
                  <a:lnTo>
                    <a:pt x="3436" y="9818"/>
                  </a:lnTo>
                  <a:lnTo>
                    <a:pt x="2455" y="9818"/>
                  </a:lnTo>
                  <a:cubicBezTo>
                    <a:pt x="2248" y="9818"/>
                    <a:pt x="2073" y="9947"/>
                    <a:pt x="2001" y="10128"/>
                  </a:cubicBezTo>
                  <a:lnTo>
                    <a:pt x="1998" y="10127"/>
                  </a:lnTo>
                  <a:lnTo>
                    <a:pt x="35" y="17000"/>
                  </a:lnTo>
                  <a:lnTo>
                    <a:pt x="37" y="17001"/>
                  </a:lnTo>
                  <a:cubicBezTo>
                    <a:pt x="14" y="17057"/>
                    <a:pt x="0" y="17118"/>
                    <a:pt x="0" y="17182"/>
                  </a:cubicBezTo>
                  <a:lnTo>
                    <a:pt x="0" y="18164"/>
                  </a:lnTo>
                  <a:lnTo>
                    <a:pt x="68" y="18164"/>
                  </a:lnTo>
                  <a:cubicBezTo>
                    <a:pt x="25" y="18320"/>
                    <a:pt x="0" y="18484"/>
                    <a:pt x="0" y="186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8655"/>
                  </a:lnTo>
                  <a:cubicBezTo>
                    <a:pt x="21600" y="18484"/>
                    <a:pt x="21575" y="18320"/>
                    <a:pt x="21532" y="18164"/>
                  </a:cubicBezTo>
                  <a:lnTo>
                    <a:pt x="21600" y="18164"/>
                  </a:lnTo>
                  <a:cubicBezTo>
                    <a:pt x="21600" y="18164"/>
                    <a:pt x="21600" y="17182"/>
                    <a:pt x="21600" y="17182"/>
                  </a:cubicBezTo>
                  <a:close/>
                  <a:moveTo>
                    <a:pt x="4418" y="19636"/>
                  </a:moveTo>
                  <a:cubicBezTo>
                    <a:pt x="4689" y="19636"/>
                    <a:pt x="4909" y="19416"/>
                    <a:pt x="4909" y="19146"/>
                  </a:cubicBezTo>
                  <a:cubicBezTo>
                    <a:pt x="4909" y="18874"/>
                    <a:pt x="4689" y="18655"/>
                    <a:pt x="4418" y="18655"/>
                  </a:cubicBezTo>
                  <a:cubicBezTo>
                    <a:pt x="4147" y="18655"/>
                    <a:pt x="3927" y="18874"/>
                    <a:pt x="3927" y="19146"/>
                  </a:cubicBezTo>
                  <a:cubicBezTo>
                    <a:pt x="3927" y="19416"/>
                    <a:pt x="4147" y="19636"/>
                    <a:pt x="4418" y="19636"/>
                  </a:cubicBezTo>
                  <a:moveTo>
                    <a:pt x="2455" y="19636"/>
                  </a:moveTo>
                  <a:cubicBezTo>
                    <a:pt x="2725" y="19636"/>
                    <a:pt x="2945" y="19416"/>
                    <a:pt x="2945" y="19146"/>
                  </a:cubicBezTo>
                  <a:cubicBezTo>
                    <a:pt x="2945" y="18874"/>
                    <a:pt x="2725" y="18655"/>
                    <a:pt x="2455" y="18655"/>
                  </a:cubicBezTo>
                  <a:cubicBezTo>
                    <a:pt x="2184" y="18655"/>
                    <a:pt x="1964" y="18874"/>
                    <a:pt x="1964" y="19146"/>
                  </a:cubicBezTo>
                  <a:cubicBezTo>
                    <a:pt x="1964" y="19416"/>
                    <a:pt x="2184" y="19636"/>
                    <a:pt x="2455" y="19636"/>
                  </a:cubicBezTo>
                  <a:moveTo>
                    <a:pt x="12003" y="3573"/>
                  </a:moveTo>
                  <a:lnTo>
                    <a:pt x="12664" y="2838"/>
                  </a:lnTo>
                  <a:cubicBezTo>
                    <a:pt x="12214" y="2308"/>
                    <a:pt x="11550" y="1964"/>
                    <a:pt x="10800" y="1964"/>
                  </a:cubicBezTo>
                  <a:cubicBezTo>
                    <a:pt x="9997" y="1964"/>
                    <a:pt x="9290" y="2355"/>
                    <a:pt x="8842" y="2952"/>
                  </a:cubicBezTo>
                  <a:lnTo>
                    <a:pt x="9546" y="3655"/>
                  </a:lnTo>
                  <a:cubicBezTo>
                    <a:pt x="9805" y="3231"/>
                    <a:pt x="10267" y="2945"/>
                    <a:pt x="10800" y="2945"/>
                  </a:cubicBezTo>
                  <a:cubicBezTo>
                    <a:pt x="11298" y="2945"/>
                    <a:pt x="11736" y="3194"/>
                    <a:pt x="12003" y="3573"/>
                  </a:cubicBezTo>
                  <a:moveTo>
                    <a:pt x="10309" y="4418"/>
                  </a:move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moveTo>
                    <a:pt x="10800" y="982"/>
                  </a:moveTo>
                  <a:cubicBezTo>
                    <a:pt x="11802" y="982"/>
                    <a:pt x="12701" y="1414"/>
                    <a:pt x="13330" y="2098"/>
                  </a:cubicBezTo>
                  <a:lnTo>
                    <a:pt x="13989" y="1366"/>
                  </a:lnTo>
                  <a:cubicBezTo>
                    <a:pt x="13185" y="525"/>
                    <a:pt x="12055" y="0"/>
                    <a:pt x="10800" y="0"/>
                  </a:cubicBezTo>
                  <a:cubicBezTo>
                    <a:pt x="9455" y="0"/>
                    <a:pt x="8252" y="603"/>
                    <a:pt x="7442" y="1551"/>
                  </a:cubicBezTo>
                  <a:lnTo>
                    <a:pt x="8138" y="2246"/>
                  </a:lnTo>
                  <a:cubicBezTo>
                    <a:pt x="8768" y="1475"/>
                    <a:pt x="9726" y="982"/>
                    <a:pt x="10800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Shape 2682">
              <a:extLst>
                <a:ext uri="{FF2B5EF4-FFF2-40B4-BE49-F238E27FC236}">
                  <a16:creationId xmlns:a16="http://schemas.microsoft.com/office/drawing/2014/main" id="{6A2A021A-2DFF-4FB9-9A35-67956E3FFD44}"/>
                </a:ext>
              </a:extLst>
            </p:cNvPr>
            <p:cNvSpPr/>
            <p:nvPr/>
          </p:nvSpPr>
          <p:spPr bwMode="gray">
            <a:xfrm>
              <a:off x="8959022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91"/>
                  </a:moveTo>
                  <a:cubicBezTo>
                    <a:pt x="20618" y="17775"/>
                    <a:pt x="19739" y="18655"/>
                    <a:pt x="18655" y="18655"/>
                  </a:cubicBezTo>
                  <a:lnTo>
                    <a:pt x="17673" y="18655"/>
                  </a:lnTo>
                  <a:lnTo>
                    <a:pt x="17673" y="14727"/>
                  </a:lnTo>
                  <a:cubicBezTo>
                    <a:pt x="17673" y="14186"/>
                    <a:pt x="17233" y="13745"/>
                    <a:pt x="16691" y="13745"/>
                  </a:cubicBezTo>
                  <a:lnTo>
                    <a:pt x="4909" y="13745"/>
                  </a:lnTo>
                  <a:cubicBezTo>
                    <a:pt x="4367" y="13745"/>
                    <a:pt x="3927" y="14186"/>
                    <a:pt x="3927" y="14727"/>
                  </a:cubicBezTo>
                  <a:lnTo>
                    <a:pt x="3927" y="18655"/>
                  </a:lnTo>
                  <a:lnTo>
                    <a:pt x="2945" y="18655"/>
                  </a:lnTo>
                  <a:cubicBezTo>
                    <a:pt x="1861" y="18655"/>
                    <a:pt x="982" y="17775"/>
                    <a:pt x="982" y="16691"/>
                  </a:cubicBezTo>
                  <a:lnTo>
                    <a:pt x="982" y="8836"/>
                  </a:lnTo>
                  <a:cubicBezTo>
                    <a:pt x="982" y="7752"/>
                    <a:pt x="1861" y="6873"/>
                    <a:pt x="2945" y="6873"/>
                  </a:cubicBezTo>
                  <a:lnTo>
                    <a:pt x="18655" y="6873"/>
                  </a:lnTo>
                  <a:cubicBezTo>
                    <a:pt x="19739" y="6873"/>
                    <a:pt x="20618" y="7752"/>
                    <a:pt x="20618" y="8836"/>
                  </a:cubicBezTo>
                  <a:cubicBezTo>
                    <a:pt x="20618" y="8836"/>
                    <a:pt x="20618" y="16691"/>
                    <a:pt x="20618" y="16691"/>
                  </a:cubicBezTo>
                  <a:close/>
                  <a:moveTo>
                    <a:pt x="16691" y="20618"/>
                  </a:moveTo>
                  <a:lnTo>
                    <a:pt x="4909" y="20618"/>
                  </a:lnTo>
                  <a:lnTo>
                    <a:pt x="4909" y="14727"/>
                  </a:lnTo>
                  <a:lnTo>
                    <a:pt x="16691" y="14727"/>
                  </a:lnTo>
                  <a:cubicBezTo>
                    <a:pt x="16691" y="14727"/>
                    <a:pt x="16691" y="20618"/>
                    <a:pt x="16691" y="20618"/>
                  </a:cubicBezTo>
                  <a:close/>
                  <a:moveTo>
                    <a:pt x="4909" y="982"/>
                  </a:moveTo>
                  <a:lnTo>
                    <a:pt x="16691" y="982"/>
                  </a:lnTo>
                  <a:lnTo>
                    <a:pt x="16691" y="5891"/>
                  </a:lnTo>
                  <a:lnTo>
                    <a:pt x="4909" y="5891"/>
                  </a:lnTo>
                  <a:cubicBezTo>
                    <a:pt x="4909" y="5891"/>
                    <a:pt x="4909" y="982"/>
                    <a:pt x="4909" y="982"/>
                  </a:cubicBezTo>
                  <a:close/>
                  <a:moveTo>
                    <a:pt x="18655" y="5891"/>
                  </a:moveTo>
                  <a:lnTo>
                    <a:pt x="17673" y="5891"/>
                  </a:lnTo>
                  <a:lnTo>
                    <a:pt x="17673" y="982"/>
                  </a:lnTo>
                  <a:cubicBezTo>
                    <a:pt x="17673" y="440"/>
                    <a:pt x="17233" y="0"/>
                    <a:pt x="16691" y="0"/>
                  </a:cubicBez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lnTo>
                    <a:pt x="2945" y="5891"/>
                  </a:lnTo>
                  <a:cubicBezTo>
                    <a:pt x="1318" y="5891"/>
                    <a:pt x="0" y="7210"/>
                    <a:pt x="0" y="8836"/>
                  </a:cubicBezTo>
                  <a:lnTo>
                    <a:pt x="0" y="16691"/>
                  </a:lnTo>
                  <a:cubicBezTo>
                    <a:pt x="0" y="18318"/>
                    <a:pt x="1318" y="19636"/>
                    <a:pt x="2945" y="19636"/>
                  </a:cubicBezTo>
                  <a:lnTo>
                    <a:pt x="3927" y="19636"/>
                  </a:lnTo>
                  <a:lnTo>
                    <a:pt x="3927" y="20618"/>
                  </a:lnTo>
                  <a:cubicBezTo>
                    <a:pt x="3927" y="21161"/>
                    <a:pt x="4367" y="21600"/>
                    <a:pt x="4909" y="21600"/>
                  </a:cubicBezTo>
                  <a:lnTo>
                    <a:pt x="16691" y="21600"/>
                  </a:lnTo>
                  <a:cubicBezTo>
                    <a:pt x="17233" y="21600"/>
                    <a:pt x="17673" y="21161"/>
                    <a:pt x="17673" y="20618"/>
                  </a:cubicBezTo>
                  <a:lnTo>
                    <a:pt x="17673" y="19636"/>
                  </a:lnTo>
                  <a:lnTo>
                    <a:pt x="18655" y="19636"/>
                  </a:lnTo>
                  <a:cubicBezTo>
                    <a:pt x="20282" y="19636"/>
                    <a:pt x="21600" y="18318"/>
                    <a:pt x="21600" y="16691"/>
                  </a:cubicBezTo>
                  <a:lnTo>
                    <a:pt x="21600" y="8836"/>
                  </a:lnTo>
                  <a:cubicBezTo>
                    <a:pt x="21600" y="7210"/>
                    <a:pt x="20282" y="5891"/>
                    <a:pt x="18655" y="5891"/>
                  </a:cubicBezTo>
                  <a:moveTo>
                    <a:pt x="17673" y="8836"/>
                  </a:moveTo>
                  <a:cubicBezTo>
                    <a:pt x="17131" y="8836"/>
                    <a:pt x="16691" y="9276"/>
                    <a:pt x="16691" y="9818"/>
                  </a:cubicBezTo>
                  <a:cubicBezTo>
                    <a:pt x="16691" y="10360"/>
                    <a:pt x="17131" y="10800"/>
                    <a:pt x="17673" y="10800"/>
                  </a:cubicBezTo>
                  <a:cubicBezTo>
                    <a:pt x="18214" y="10800"/>
                    <a:pt x="18655" y="10360"/>
                    <a:pt x="18655" y="9818"/>
                  </a:cubicBezTo>
                  <a:cubicBezTo>
                    <a:pt x="18655" y="9276"/>
                    <a:pt x="18214" y="8836"/>
                    <a:pt x="17673" y="8836"/>
                  </a:cubicBezTo>
                  <a:moveTo>
                    <a:pt x="14727" y="8836"/>
                  </a:moveTo>
                  <a:cubicBezTo>
                    <a:pt x="14186" y="8836"/>
                    <a:pt x="13745" y="9276"/>
                    <a:pt x="13745" y="9818"/>
                  </a:cubicBezTo>
                  <a:cubicBezTo>
                    <a:pt x="13745" y="10360"/>
                    <a:pt x="14186" y="10800"/>
                    <a:pt x="14727" y="10800"/>
                  </a:cubicBezTo>
                  <a:cubicBezTo>
                    <a:pt x="15269" y="10800"/>
                    <a:pt x="15709" y="10360"/>
                    <a:pt x="15709" y="9818"/>
                  </a:cubicBezTo>
                  <a:cubicBezTo>
                    <a:pt x="15709" y="9276"/>
                    <a:pt x="15269" y="8836"/>
                    <a:pt x="14727" y="8836"/>
                  </a:cubicBezTo>
                  <a:moveTo>
                    <a:pt x="7364" y="16691"/>
                  </a:moveTo>
                  <a:lnTo>
                    <a:pt x="12273" y="16691"/>
                  </a:lnTo>
                  <a:cubicBezTo>
                    <a:pt x="12544" y="16691"/>
                    <a:pt x="12764" y="16472"/>
                    <a:pt x="12764" y="16200"/>
                  </a:cubicBezTo>
                  <a:cubicBezTo>
                    <a:pt x="12764" y="15929"/>
                    <a:pt x="12544" y="15709"/>
                    <a:pt x="12273" y="15709"/>
                  </a:cubicBezTo>
                  <a:lnTo>
                    <a:pt x="7364" y="15709"/>
                  </a:lnTo>
                  <a:cubicBezTo>
                    <a:pt x="7092" y="15709"/>
                    <a:pt x="6873" y="15929"/>
                    <a:pt x="6873" y="16200"/>
                  </a:cubicBezTo>
                  <a:cubicBezTo>
                    <a:pt x="6873" y="16472"/>
                    <a:pt x="7092" y="16691"/>
                    <a:pt x="7364" y="16691"/>
                  </a:cubicBezTo>
                  <a:moveTo>
                    <a:pt x="7364" y="18655"/>
                  </a:moveTo>
                  <a:lnTo>
                    <a:pt x="14236" y="18655"/>
                  </a:lnTo>
                  <a:cubicBezTo>
                    <a:pt x="14508" y="18655"/>
                    <a:pt x="14727" y="18435"/>
                    <a:pt x="14727" y="18164"/>
                  </a:cubicBezTo>
                  <a:cubicBezTo>
                    <a:pt x="14727" y="17893"/>
                    <a:pt x="14508" y="17673"/>
                    <a:pt x="14236" y="17673"/>
                  </a:cubicBezTo>
                  <a:lnTo>
                    <a:pt x="7364" y="17673"/>
                  </a:lnTo>
                  <a:cubicBezTo>
                    <a:pt x="7092" y="17673"/>
                    <a:pt x="6873" y="17893"/>
                    <a:pt x="6873" y="18164"/>
                  </a:cubicBezTo>
                  <a:cubicBezTo>
                    <a:pt x="6873" y="18435"/>
                    <a:pt x="7092" y="18655"/>
                    <a:pt x="7364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Shape 2683">
              <a:extLst>
                <a:ext uri="{FF2B5EF4-FFF2-40B4-BE49-F238E27FC236}">
                  <a16:creationId xmlns:a16="http://schemas.microsoft.com/office/drawing/2014/main" id="{002581EE-420C-4E4E-9DC2-15C5781DC0EC}"/>
                </a:ext>
              </a:extLst>
            </p:cNvPr>
            <p:cNvSpPr/>
            <p:nvPr/>
          </p:nvSpPr>
          <p:spPr bwMode="gray">
            <a:xfrm>
              <a:off x="9550144" y="1759045"/>
              <a:ext cx="210175" cy="288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5" h="21528" extrusionOk="0">
                  <a:moveTo>
                    <a:pt x="13441" y="9294"/>
                  </a:moveTo>
                  <a:lnTo>
                    <a:pt x="13441" y="9784"/>
                  </a:lnTo>
                  <a:lnTo>
                    <a:pt x="1344" y="9784"/>
                  </a:lnTo>
                  <a:lnTo>
                    <a:pt x="1344" y="9294"/>
                  </a:lnTo>
                  <a:cubicBezTo>
                    <a:pt x="1344" y="7028"/>
                    <a:pt x="3696" y="5163"/>
                    <a:pt x="6720" y="4919"/>
                  </a:cubicBezTo>
                  <a:lnTo>
                    <a:pt x="6720" y="9784"/>
                  </a:lnTo>
                  <a:lnTo>
                    <a:pt x="8065" y="9784"/>
                  </a:lnTo>
                  <a:lnTo>
                    <a:pt x="8065" y="4919"/>
                  </a:lnTo>
                  <a:cubicBezTo>
                    <a:pt x="11089" y="5163"/>
                    <a:pt x="13441" y="7028"/>
                    <a:pt x="13441" y="9294"/>
                  </a:cubicBezTo>
                  <a:moveTo>
                    <a:pt x="13441" y="16145"/>
                  </a:moveTo>
                  <a:cubicBezTo>
                    <a:pt x="13441" y="18578"/>
                    <a:pt x="10733" y="20549"/>
                    <a:pt x="7393" y="20549"/>
                  </a:cubicBezTo>
                  <a:cubicBezTo>
                    <a:pt x="4052" y="20549"/>
                    <a:pt x="1344" y="18578"/>
                    <a:pt x="1344" y="16145"/>
                  </a:cubicBezTo>
                  <a:lnTo>
                    <a:pt x="1344" y="10762"/>
                  </a:lnTo>
                  <a:lnTo>
                    <a:pt x="13441" y="10762"/>
                  </a:lnTo>
                  <a:cubicBezTo>
                    <a:pt x="13441" y="10762"/>
                    <a:pt x="13441" y="16145"/>
                    <a:pt x="13441" y="16145"/>
                  </a:cubicBezTo>
                  <a:close/>
                  <a:moveTo>
                    <a:pt x="21134" y="48"/>
                  </a:moveTo>
                  <a:cubicBezTo>
                    <a:pt x="20801" y="-72"/>
                    <a:pt x="20436" y="41"/>
                    <a:pt x="20232" y="268"/>
                  </a:cubicBezTo>
                  <a:cubicBezTo>
                    <a:pt x="18723" y="1944"/>
                    <a:pt x="16716" y="3504"/>
                    <a:pt x="13069" y="2006"/>
                  </a:cubicBezTo>
                  <a:cubicBezTo>
                    <a:pt x="10993" y="1153"/>
                    <a:pt x="9603" y="1431"/>
                    <a:pt x="8642" y="1862"/>
                  </a:cubicBezTo>
                  <a:cubicBezTo>
                    <a:pt x="7655" y="2307"/>
                    <a:pt x="6969" y="3089"/>
                    <a:pt x="6778" y="3935"/>
                  </a:cubicBezTo>
                  <a:cubicBezTo>
                    <a:pt x="2984" y="4162"/>
                    <a:pt x="0" y="6473"/>
                    <a:pt x="0" y="9294"/>
                  </a:cubicBezTo>
                  <a:lnTo>
                    <a:pt x="0" y="16145"/>
                  </a:lnTo>
                  <a:cubicBezTo>
                    <a:pt x="0" y="19118"/>
                    <a:pt x="3310" y="21528"/>
                    <a:pt x="7393" y="21528"/>
                  </a:cubicBezTo>
                  <a:cubicBezTo>
                    <a:pt x="11475" y="21528"/>
                    <a:pt x="14785" y="19118"/>
                    <a:pt x="14785" y="16145"/>
                  </a:cubicBezTo>
                  <a:lnTo>
                    <a:pt x="14785" y="9294"/>
                  </a:lnTo>
                  <a:cubicBezTo>
                    <a:pt x="14785" y="6507"/>
                    <a:pt x="11875" y="4215"/>
                    <a:pt x="8146" y="3940"/>
                  </a:cubicBezTo>
                  <a:cubicBezTo>
                    <a:pt x="8301" y="3479"/>
                    <a:pt x="8690" y="2991"/>
                    <a:pt x="9348" y="2695"/>
                  </a:cubicBezTo>
                  <a:cubicBezTo>
                    <a:pt x="10308" y="2263"/>
                    <a:pt x="10946" y="2328"/>
                    <a:pt x="12468" y="2882"/>
                  </a:cubicBezTo>
                  <a:cubicBezTo>
                    <a:pt x="15022" y="3811"/>
                    <a:pt x="16657" y="3572"/>
                    <a:pt x="17947" y="3206"/>
                  </a:cubicBezTo>
                  <a:cubicBezTo>
                    <a:pt x="19526" y="2759"/>
                    <a:pt x="20650" y="1847"/>
                    <a:pt x="21434" y="705"/>
                  </a:cubicBezTo>
                  <a:cubicBezTo>
                    <a:pt x="21600" y="463"/>
                    <a:pt x="21466" y="170"/>
                    <a:pt x="21134" y="48"/>
                  </a:cubicBezTo>
                  <a:moveTo>
                    <a:pt x="7393" y="18592"/>
                  </a:moveTo>
                  <a:cubicBezTo>
                    <a:pt x="8134" y="18592"/>
                    <a:pt x="8737" y="18153"/>
                    <a:pt x="8737" y="17613"/>
                  </a:cubicBezTo>
                  <a:cubicBezTo>
                    <a:pt x="8737" y="17073"/>
                    <a:pt x="8134" y="16635"/>
                    <a:pt x="7393" y="16635"/>
                  </a:cubicBezTo>
                  <a:cubicBezTo>
                    <a:pt x="6650" y="16635"/>
                    <a:pt x="6048" y="17073"/>
                    <a:pt x="6048" y="17613"/>
                  </a:cubicBezTo>
                  <a:cubicBezTo>
                    <a:pt x="6048" y="18153"/>
                    <a:pt x="6650" y="18592"/>
                    <a:pt x="7393" y="1859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Shape 2684">
              <a:extLst>
                <a:ext uri="{FF2B5EF4-FFF2-40B4-BE49-F238E27FC236}">
                  <a16:creationId xmlns:a16="http://schemas.microsoft.com/office/drawing/2014/main" id="{FB2B7680-4126-4F7C-9D9E-A45328B151C7}"/>
                </a:ext>
              </a:extLst>
            </p:cNvPr>
            <p:cNvSpPr/>
            <p:nvPr/>
          </p:nvSpPr>
          <p:spPr bwMode="gray">
            <a:xfrm>
              <a:off x="10062449" y="1759045"/>
              <a:ext cx="288993" cy="2892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0" extrusionOk="0">
                  <a:moveTo>
                    <a:pt x="4418" y="19095"/>
                  </a:moveTo>
                  <a:lnTo>
                    <a:pt x="5400" y="19095"/>
                  </a:lnTo>
                  <a:lnTo>
                    <a:pt x="5400" y="18117"/>
                  </a:lnTo>
                  <a:lnTo>
                    <a:pt x="4418" y="18117"/>
                  </a:lnTo>
                  <a:cubicBezTo>
                    <a:pt x="4418" y="18117"/>
                    <a:pt x="4418" y="19095"/>
                    <a:pt x="4418" y="19095"/>
                  </a:cubicBezTo>
                  <a:close/>
                  <a:moveTo>
                    <a:pt x="6382" y="16160"/>
                  </a:moveTo>
                  <a:lnTo>
                    <a:pt x="5400" y="16160"/>
                  </a:lnTo>
                  <a:lnTo>
                    <a:pt x="5400" y="17139"/>
                  </a:lnTo>
                  <a:lnTo>
                    <a:pt x="6382" y="17139"/>
                  </a:lnTo>
                  <a:cubicBezTo>
                    <a:pt x="6382" y="17139"/>
                    <a:pt x="6382" y="16160"/>
                    <a:pt x="6382" y="16160"/>
                  </a:cubicBezTo>
                  <a:close/>
                  <a:moveTo>
                    <a:pt x="2455" y="19095"/>
                  </a:moveTo>
                  <a:lnTo>
                    <a:pt x="3436" y="19095"/>
                  </a:lnTo>
                  <a:lnTo>
                    <a:pt x="3436" y="18117"/>
                  </a:lnTo>
                  <a:lnTo>
                    <a:pt x="2455" y="18117"/>
                  </a:lnTo>
                  <a:cubicBezTo>
                    <a:pt x="2455" y="18117"/>
                    <a:pt x="2455" y="19095"/>
                    <a:pt x="2455" y="19095"/>
                  </a:cubicBezTo>
                  <a:close/>
                  <a:moveTo>
                    <a:pt x="4418" y="16160"/>
                  </a:moveTo>
                  <a:lnTo>
                    <a:pt x="2455" y="16160"/>
                  </a:lnTo>
                  <a:lnTo>
                    <a:pt x="2455" y="17139"/>
                  </a:lnTo>
                  <a:lnTo>
                    <a:pt x="4418" y="17139"/>
                  </a:lnTo>
                  <a:cubicBezTo>
                    <a:pt x="4418" y="17139"/>
                    <a:pt x="4418" y="16160"/>
                    <a:pt x="4418" y="16160"/>
                  </a:cubicBezTo>
                  <a:close/>
                  <a:moveTo>
                    <a:pt x="3436" y="12248"/>
                  </a:moveTo>
                  <a:lnTo>
                    <a:pt x="2455" y="12248"/>
                  </a:lnTo>
                  <a:lnTo>
                    <a:pt x="2455" y="13226"/>
                  </a:lnTo>
                  <a:lnTo>
                    <a:pt x="3436" y="13226"/>
                  </a:lnTo>
                  <a:cubicBezTo>
                    <a:pt x="3436" y="13226"/>
                    <a:pt x="3436" y="12248"/>
                    <a:pt x="3436" y="12248"/>
                  </a:cubicBezTo>
                  <a:close/>
                  <a:moveTo>
                    <a:pt x="3436" y="14204"/>
                  </a:moveTo>
                  <a:lnTo>
                    <a:pt x="2455" y="14204"/>
                  </a:lnTo>
                  <a:lnTo>
                    <a:pt x="2455" y="15182"/>
                  </a:lnTo>
                  <a:lnTo>
                    <a:pt x="3436" y="15182"/>
                  </a:lnTo>
                  <a:cubicBezTo>
                    <a:pt x="3436" y="15182"/>
                    <a:pt x="3436" y="14204"/>
                    <a:pt x="3436" y="14204"/>
                  </a:cubicBezTo>
                  <a:close/>
                  <a:moveTo>
                    <a:pt x="6382" y="19095"/>
                  </a:moveTo>
                  <a:lnTo>
                    <a:pt x="13255" y="19095"/>
                  </a:lnTo>
                  <a:lnTo>
                    <a:pt x="13255" y="18117"/>
                  </a:lnTo>
                  <a:lnTo>
                    <a:pt x="6382" y="18117"/>
                  </a:lnTo>
                  <a:cubicBezTo>
                    <a:pt x="6382" y="18117"/>
                    <a:pt x="6382" y="19095"/>
                    <a:pt x="6382" y="19095"/>
                  </a:cubicBezTo>
                  <a:close/>
                  <a:moveTo>
                    <a:pt x="18164" y="15182"/>
                  </a:moveTo>
                  <a:lnTo>
                    <a:pt x="19145" y="15182"/>
                  </a:lnTo>
                  <a:lnTo>
                    <a:pt x="19145" y="14204"/>
                  </a:lnTo>
                  <a:lnTo>
                    <a:pt x="18164" y="14204"/>
                  </a:lnTo>
                  <a:cubicBezTo>
                    <a:pt x="18164" y="14204"/>
                    <a:pt x="18164" y="15182"/>
                    <a:pt x="18164" y="15182"/>
                  </a:cubicBezTo>
                  <a:close/>
                  <a:moveTo>
                    <a:pt x="5400" y="14204"/>
                  </a:moveTo>
                  <a:lnTo>
                    <a:pt x="4418" y="14204"/>
                  </a:lnTo>
                  <a:lnTo>
                    <a:pt x="4418" y="15182"/>
                  </a:lnTo>
                  <a:lnTo>
                    <a:pt x="5400" y="15182"/>
                  </a:lnTo>
                  <a:cubicBezTo>
                    <a:pt x="5400" y="15182"/>
                    <a:pt x="5400" y="14204"/>
                    <a:pt x="5400" y="14204"/>
                  </a:cubicBezTo>
                  <a:close/>
                  <a:moveTo>
                    <a:pt x="14236" y="16160"/>
                  </a:moveTo>
                  <a:lnTo>
                    <a:pt x="13255" y="16160"/>
                  </a:lnTo>
                  <a:lnTo>
                    <a:pt x="13255" y="17139"/>
                  </a:lnTo>
                  <a:lnTo>
                    <a:pt x="14236" y="17139"/>
                  </a:lnTo>
                  <a:cubicBezTo>
                    <a:pt x="14236" y="17139"/>
                    <a:pt x="14236" y="16160"/>
                    <a:pt x="14236" y="16160"/>
                  </a:cubicBezTo>
                  <a:close/>
                  <a:moveTo>
                    <a:pt x="20618" y="19584"/>
                  </a:moveTo>
                  <a:cubicBezTo>
                    <a:pt x="20618" y="20124"/>
                    <a:pt x="20178" y="20562"/>
                    <a:pt x="19636" y="20562"/>
                  </a:cubicBezTo>
                  <a:lnTo>
                    <a:pt x="1964" y="20562"/>
                  </a:lnTo>
                  <a:cubicBezTo>
                    <a:pt x="1421" y="20562"/>
                    <a:pt x="982" y="20124"/>
                    <a:pt x="982" y="19584"/>
                  </a:cubicBezTo>
                  <a:lnTo>
                    <a:pt x="982" y="11759"/>
                  </a:lnTo>
                  <a:cubicBezTo>
                    <a:pt x="982" y="11219"/>
                    <a:pt x="1421" y="10781"/>
                    <a:pt x="1964" y="10781"/>
                  </a:cubicBezTo>
                  <a:lnTo>
                    <a:pt x="19636" y="10781"/>
                  </a:lnTo>
                  <a:cubicBezTo>
                    <a:pt x="20178" y="10781"/>
                    <a:pt x="20618" y="11219"/>
                    <a:pt x="20618" y="11759"/>
                  </a:cubicBezTo>
                  <a:cubicBezTo>
                    <a:pt x="20618" y="11759"/>
                    <a:pt x="20618" y="19584"/>
                    <a:pt x="20618" y="19584"/>
                  </a:cubicBezTo>
                  <a:close/>
                  <a:moveTo>
                    <a:pt x="19636" y="9803"/>
                  </a:moveTo>
                  <a:lnTo>
                    <a:pt x="10965" y="9803"/>
                  </a:lnTo>
                  <a:cubicBezTo>
                    <a:pt x="10831" y="9456"/>
                    <a:pt x="10774" y="9056"/>
                    <a:pt x="10870" y="8651"/>
                  </a:cubicBezTo>
                  <a:cubicBezTo>
                    <a:pt x="11059" y="7853"/>
                    <a:pt x="11782" y="7224"/>
                    <a:pt x="12961" y="6833"/>
                  </a:cubicBezTo>
                  <a:cubicBezTo>
                    <a:pt x="14940" y="6175"/>
                    <a:pt x="15841" y="4938"/>
                    <a:pt x="16249" y="4015"/>
                  </a:cubicBezTo>
                  <a:cubicBezTo>
                    <a:pt x="16747" y="2886"/>
                    <a:pt x="16801" y="1546"/>
                    <a:pt x="16396" y="335"/>
                  </a:cubicBezTo>
                  <a:cubicBezTo>
                    <a:pt x="16310" y="79"/>
                    <a:pt x="16032" y="-60"/>
                    <a:pt x="15774" y="25"/>
                  </a:cubicBezTo>
                  <a:cubicBezTo>
                    <a:pt x="15517" y="112"/>
                    <a:pt x="15378" y="388"/>
                    <a:pt x="15464" y="644"/>
                  </a:cubicBezTo>
                  <a:cubicBezTo>
                    <a:pt x="16091" y="2519"/>
                    <a:pt x="15480" y="4964"/>
                    <a:pt x="12650" y="5904"/>
                  </a:cubicBezTo>
                  <a:cubicBezTo>
                    <a:pt x="10733" y="6542"/>
                    <a:pt x="10105" y="7627"/>
                    <a:pt x="9915" y="8427"/>
                  </a:cubicBezTo>
                  <a:cubicBezTo>
                    <a:pt x="9809" y="8876"/>
                    <a:pt x="9824" y="9351"/>
                    <a:pt x="9937" y="9803"/>
                  </a:cubicBezTo>
                  <a:lnTo>
                    <a:pt x="1964" y="9803"/>
                  </a:lnTo>
                  <a:cubicBezTo>
                    <a:pt x="879" y="9803"/>
                    <a:pt x="0" y="10679"/>
                    <a:pt x="0" y="11759"/>
                  </a:cubicBezTo>
                  <a:lnTo>
                    <a:pt x="0" y="19584"/>
                  </a:lnTo>
                  <a:cubicBezTo>
                    <a:pt x="0" y="20664"/>
                    <a:pt x="879" y="21540"/>
                    <a:pt x="1964" y="21540"/>
                  </a:cubicBezTo>
                  <a:lnTo>
                    <a:pt x="19636" y="21540"/>
                  </a:lnTo>
                  <a:cubicBezTo>
                    <a:pt x="20721" y="21540"/>
                    <a:pt x="21600" y="20664"/>
                    <a:pt x="21600" y="19584"/>
                  </a:cubicBezTo>
                  <a:lnTo>
                    <a:pt x="21600" y="11759"/>
                  </a:lnTo>
                  <a:cubicBezTo>
                    <a:pt x="21600" y="10679"/>
                    <a:pt x="20721" y="9803"/>
                    <a:pt x="19636" y="9803"/>
                  </a:cubicBezTo>
                  <a:moveTo>
                    <a:pt x="17182" y="17139"/>
                  </a:moveTo>
                  <a:lnTo>
                    <a:pt x="19145" y="17139"/>
                  </a:lnTo>
                  <a:lnTo>
                    <a:pt x="19145" y="16160"/>
                  </a:lnTo>
                  <a:lnTo>
                    <a:pt x="17182" y="16160"/>
                  </a:lnTo>
                  <a:cubicBezTo>
                    <a:pt x="17182" y="16160"/>
                    <a:pt x="17182" y="17139"/>
                    <a:pt x="17182" y="17139"/>
                  </a:cubicBezTo>
                  <a:close/>
                  <a:moveTo>
                    <a:pt x="14236" y="19095"/>
                  </a:moveTo>
                  <a:lnTo>
                    <a:pt x="15218" y="19095"/>
                  </a:lnTo>
                  <a:lnTo>
                    <a:pt x="15218" y="18117"/>
                  </a:lnTo>
                  <a:lnTo>
                    <a:pt x="14236" y="18117"/>
                  </a:lnTo>
                  <a:cubicBezTo>
                    <a:pt x="14236" y="18117"/>
                    <a:pt x="14236" y="19095"/>
                    <a:pt x="14236" y="19095"/>
                  </a:cubicBezTo>
                  <a:close/>
                  <a:moveTo>
                    <a:pt x="16200" y="19095"/>
                  </a:moveTo>
                  <a:lnTo>
                    <a:pt x="17182" y="19095"/>
                  </a:lnTo>
                  <a:lnTo>
                    <a:pt x="17182" y="18117"/>
                  </a:lnTo>
                  <a:lnTo>
                    <a:pt x="16200" y="18117"/>
                  </a:lnTo>
                  <a:cubicBezTo>
                    <a:pt x="16200" y="18117"/>
                    <a:pt x="16200" y="19095"/>
                    <a:pt x="16200" y="19095"/>
                  </a:cubicBezTo>
                  <a:close/>
                  <a:moveTo>
                    <a:pt x="18164" y="19095"/>
                  </a:moveTo>
                  <a:lnTo>
                    <a:pt x="19145" y="19095"/>
                  </a:lnTo>
                  <a:lnTo>
                    <a:pt x="19145" y="18117"/>
                  </a:lnTo>
                  <a:lnTo>
                    <a:pt x="18164" y="18117"/>
                  </a:lnTo>
                  <a:cubicBezTo>
                    <a:pt x="18164" y="18117"/>
                    <a:pt x="18164" y="19095"/>
                    <a:pt x="18164" y="19095"/>
                  </a:cubicBezTo>
                  <a:close/>
                  <a:moveTo>
                    <a:pt x="16200" y="16160"/>
                  </a:moveTo>
                  <a:lnTo>
                    <a:pt x="15218" y="16160"/>
                  </a:lnTo>
                  <a:lnTo>
                    <a:pt x="15218" y="17139"/>
                  </a:lnTo>
                  <a:lnTo>
                    <a:pt x="16200" y="17139"/>
                  </a:lnTo>
                  <a:cubicBezTo>
                    <a:pt x="16200" y="17139"/>
                    <a:pt x="16200" y="16160"/>
                    <a:pt x="16200" y="16160"/>
                  </a:cubicBezTo>
                  <a:close/>
                  <a:moveTo>
                    <a:pt x="18164" y="13226"/>
                  </a:moveTo>
                  <a:lnTo>
                    <a:pt x="19145" y="13226"/>
                  </a:lnTo>
                  <a:lnTo>
                    <a:pt x="19145" y="12248"/>
                  </a:lnTo>
                  <a:lnTo>
                    <a:pt x="18164" y="12248"/>
                  </a:lnTo>
                  <a:cubicBezTo>
                    <a:pt x="18164" y="12248"/>
                    <a:pt x="18164" y="13226"/>
                    <a:pt x="18164" y="13226"/>
                  </a:cubicBezTo>
                  <a:close/>
                  <a:moveTo>
                    <a:pt x="13255" y="12248"/>
                  </a:moveTo>
                  <a:lnTo>
                    <a:pt x="12273" y="12248"/>
                  </a:lnTo>
                  <a:lnTo>
                    <a:pt x="12273" y="13226"/>
                  </a:lnTo>
                  <a:lnTo>
                    <a:pt x="13255" y="13226"/>
                  </a:lnTo>
                  <a:cubicBezTo>
                    <a:pt x="13255" y="13226"/>
                    <a:pt x="13255" y="12248"/>
                    <a:pt x="13255" y="12248"/>
                  </a:cubicBezTo>
                  <a:close/>
                  <a:moveTo>
                    <a:pt x="13255" y="14204"/>
                  </a:moveTo>
                  <a:lnTo>
                    <a:pt x="12273" y="14204"/>
                  </a:lnTo>
                  <a:lnTo>
                    <a:pt x="12273" y="15182"/>
                  </a:lnTo>
                  <a:lnTo>
                    <a:pt x="13255" y="15182"/>
                  </a:lnTo>
                  <a:cubicBezTo>
                    <a:pt x="13255" y="15182"/>
                    <a:pt x="13255" y="14204"/>
                    <a:pt x="13255" y="14204"/>
                  </a:cubicBezTo>
                  <a:close/>
                  <a:moveTo>
                    <a:pt x="15218" y="14204"/>
                  </a:moveTo>
                  <a:lnTo>
                    <a:pt x="14236" y="14204"/>
                  </a:lnTo>
                  <a:lnTo>
                    <a:pt x="14236" y="15182"/>
                  </a:lnTo>
                  <a:lnTo>
                    <a:pt x="15218" y="15182"/>
                  </a:lnTo>
                  <a:cubicBezTo>
                    <a:pt x="15218" y="15182"/>
                    <a:pt x="15218" y="14204"/>
                    <a:pt x="15218" y="14204"/>
                  </a:cubicBezTo>
                  <a:close/>
                  <a:moveTo>
                    <a:pt x="17182" y="14204"/>
                  </a:moveTo>
                  <a:lnTo>
                    <a:pt x="16200" y="14204"/>
                  </a:lnTo>
                  <a:lnTo>
                    <a:pt x="16200" y="15182"/>
                  </a:lnTo>
                  <a:lnTo>
                    <a:pt x="17182" y="15182"/>
                  </a:lnTo>
                  <a:cubicBezTo>
                    <a:pt x="17182" y="15182"/>
                    <a:pt x="17182" y="14204"/>
                    <a:pt x="17182" y="14204"/>
                  </a:cubicBezTo>
                  <a:close/>
                  <a:moveTo>
                    <a:pt x="15218" y="12248"/>
                  </a:moveTo>
                  <a:lnTo>
                    <a:pt x="14236" y="12248"/>
                  </a:lnTo>
                  <a:lnTo>
                    <a:pt x="14236" y="13226"/>
                  </a:lnTo>
                  <a:lnTo>
                    <a:pt x="15218" y="13226"/>
                  </a:lnTo>
                  <a:cubicBezTo>
                    <a:pt x="15218" y="13226"/>
                    <a:pt x="15218" y="12248"/>
                    <a:pt x="15218" y="12248"/>
                  </a:cubicBezTo>
                  <a:close/>
                  <a:moveTo>
                    <a:pt x="17182" y="12248"/>
                  </a:moveTo>
                  <a:lnTo>
                    <a:pt x="16200" y="12248"/>
                  </a:lnTo>
                  <a:lnTo>
                    <a:pt x="16200" y="13226"/>
                  </a:lnTo>
                  <a:lnTo>
                    <a:pt x="17182" y="13226"/>
                  </a:lnTo>
                  <a:cubicBezTo>
                    <a:pt x="17182" y="13226"/>
                    <a:pt x="17182" y="12248"/>
                    <a:pt x="17182" y="12248"/>
                  </a:cubicBezTo>
                  <a:close/>
                  <a:moveTo>
                    <a:pt x="11291" y="12248"/>
                  </a:moveTo>
                  <a:lnTo>
                    <a:pt x="10309" y="12248"/>
                  </a:lnTo>
                  <a:lnTo>
                    <a:pt x="10309" y="13226"/>
                  </a:lnTo>
                  <a:lnTo>
                    <a:pt x="11291" y="13226"/>
                  </a:lnTo>
                  <a:cubicBezTo>
                    <a:pt x="11291" y="13226"/>
                    <a:pt x="11291" y="12248"/>
                    <a:pt x="11291" y="12248"/>
                  </a:cubicBezTo>
                  <a:close/>
                  <a:moveTo>
                    <a:pt x="5400" y="12248"/>
                  </a:moveTo>
                  <a:lnTo>
                    <a:pt x="4418" y="12248"/>
                  </a:lnTo>
                  <a:lnTo>
                    <a:pt x="4418" y="13226"/>
                  </a:lnTo>
                  <a:lnTo>
                    <a:pt x="5400" y="13226"/>
                  </a:lnTo>
                  <a:cubicBezTo>
                    <a:pt x="5400" y="13226"/>
                    <a:pt x="5400" y="12248"/>
                    <a:pt x="5400" y="12248"/>
                  </a:cubicBezTo>
                  <a:close/>
                  <a:moveTo>
                    <a:pt x="7364" y="17139"/>
                  </a:moveTo>
                  <a:lnTo>
                    <a:pt x="8345" y="17139"/>
                  </a:lnTo>
                  <a:lnTo>
                    <a:pt x="8345" y="16160"/>
                  </a:lnTo>
                  <a:lnTo>
                    <a:pt x="7364" y="16160"/>
                  </a:lnTo>
                  <a:cubicBezTo>
                    <a:pt x="7364" y="16160"/>
                    <a:pt x="7364" y="17139"/>
                    <a:pt x="7364" y="17139"/>
                  </a:cubicBezTo>
                  <a:close/>
                  <a:moveTo>
                    <a:pt x="7364" y="14204"/>
                  </a:moveTo>
                  <a:lnTo>
                    <a:pt x="6382" y="14204"/>
                  </a:lnTo>
                  <a:lnTo>
                    <a:pt x="6382" y="15182"/>
                  </a:lnTo>
                  <a:lnTo>
                    <a:pt x="7364" y="15182"/>
                  </a:lnTo>
                  <a:cubicBezTo>
                    <a:pt x="7364" y="15182"/>
                    <a:pt x="7364" y="14204"/>
                    <a:pt x="7364" y="14204"/>
                  </a:cubicBezTo>
                  <a:close/>
                  <a:moveTo>
                    <a:pt x="7364" y="12248"/>
                  </a:moveTo>
                  <a:lnTo>
                    <a:pt x="6382" y="12248"/>
                  </a:lnTo>
                  <a:lnTo>
                    <a:pt x="6382" y="13226"/>
                  </a:lnTo>
                  <a:lnTo>
                    <a:pt x="7364" y="13226"/>
                  </a:lnTo>
                  <a:cubicBezTo>
                    <a:pt x="7364" y="13226"/>
                    <a:pt x="7364" y="12248"/>
                    <a:pt x="7364" y="12248"/>
                  </a:cubicBezTo>
                  <a:close/>
                  <a:moveTo>
                    <a:pt x="9327" y="14204"/>
                  </a:moveTo>
                  <a:lnTo>
                    <a:pt x="8345" y="14204"/>
                  </a:lnTo>
                  <a:lnTo>
                    <a:pt x="8345" y="15182"/>
                  </a:lnTo>
                  <a:lnTo>
                    <a:pt x="9327" y="15182"/>
                  </a:lnTo>
                  <a:cubicBezTo>
                    <a:pt x="9327" y="15182"/>
                    <a:pt x="9327" y="14204"/>
                    <a:pt x="9327" y="14204"/>
                  </a:cubicBezTo>
                  <a:close/>
                  <a:moveTo>
                    <a:pt x="11291" y="14204"/>
                  </a:moveTo>
                  <a:lnTo>
                    <a:pt x="10309" y="14204"/>
                  </a:lnTo>
                  <a:lnTo>
                    <a:pt x="10309" y="15182"/>
                  </a:lnTo>
                  <a:lnTo>
                    <a:pt x="11291" y="15182"/>
                  </a:lnTo>
                  <a:cubicBezTo>
                    <a:pt x="11291" y="15182"/>
                    <a:pt x="11291" y="14204"/>
                    <a:pt x="11291" y="14204"/>
                  </a:cubicBezTo>
                  <a:close/>
                  <a:moveTo>
                    <a:pt x="9327" y="12248"/>
                  </a:moveTo>
                  <a:lnTo>
                    <a:pt x="8345" y="12248"/>
                  </a:lnTo>
                  <a:lnTo>
                    <a:pt x="8345" y="13226"/>
                  </a:lnTo>
                  <a:lnTo>
                    <a:pt x="9327" y="13226"/>
                  </a:lnTo>
                  <a:cubicBezTo>
                    <a:pt x="9327" y="13226"/>
                    <a:pt x="9327" y="12248"/>
                    <a:pt x="9327" y="12248"/>
                  </a:cubicBezTo>
                  <a:close/>
                  <a:moveTo>
                    <a:pt x="11291" y="17139"/>
                  </a:moveTo>
                  <a:lnTo>
                    <a:pt x="12273" y="17139"/>
                  </a:lnTo>
                  <a:lnTo>
                    <a:pt x="12273" y="16160"/>
                  </a:lnTo>
                  <a:lnTo>
                    <a:pt x="11291" y="16160"/>
                  </a:lnTo>
                  <a:cubicBezTo>
                    <a:pt x="11291" y="16160"/>
                    <a:pt x="11291" y="17139"/>
                    <a:pt x="11291" y="17139"/>
                  </a:cubicBezTo>
                  <a:close/>
                  <a:moveTo>
                    <a:pt x="9327" y="17139"/>
                  </a:moveTo>
                  <a:lnTo>
                    <a:pt x="10309" y="17139"/>
                  </a:lnTo>
                  <a:lnTo>
                    <a:pt x="10309" y="16160"/>
                  </a:lnTo>
                  <a:lnTo>
                    <a:pt x="9327" y="16160"/>
                  </a:lnTo>
                  <a:cubicBezTo>
                    <a:pt x="9327" y="16160"/>
                    <a:pt x="9327" y="17139"/>
                    <a:pt x="9327" y="1713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Shape 2685">
              <a:extLst>
                <a:ext uri="{FF2B5EF4-FFF2-40B4-BE49-F238E27FC236}">
                  <a16:creationId xmlns:a16="http://schemas.microsoft.com/office/drawing/2014/main" id="{16E368D0-7FC9-4150-B113-78BFD6033072}"/>
                </a:ext>
              </a:extLst>
            </p:cNvPr>
            <p:cNvSpPr/>
            <p:nvPr/>
          </p:nvSpPr>
          <p:spPr bwMode="gray">
            <a:xfrm>
              <a:off x="10614163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145"/>
                  </a:moveTo>
                  <a:cubicBezTo>
                    <a:pt x="20618" y="19959"/>
                    <a:pt x="19959" y="20618"/>
                    <a:pt x="19145" y="20618"/>
                  </a:cubicBezTo>
                  <a:cubicBezTo>
                    <a:pt x="18332" y="20618"/>
                    <a:pt x="17673" y="19959"/>
                    <a:pt x="17673" y="19145"/>
                  </a:cubicBezTo>
                  <a:lnTo>
                    <a:pt x="17673" y="14236"/>
                  </a:lnTo>
                  <a:cubicBezTo>
                    <a:pt x="17673" y="13424"/>
                    <a:pt x="18332" y="12764"/>
                    <a:pt x="19145" y="12764"/>
                  </a:cubicBezTo>
                  <a:cubicBezTo>
                    <a:pt x="19959" y="12764"/>
                    <a:pt x="20618" y="13424"/>
                    <a:pt x="20618" y="14236"/>
                  </a:cubicBezTo>
                  <a:cubicBezTo>
                    <a:pt x="20618" y="14236"/>
                    <a:pt x="20618" y="19145"/>
                    <a:pt x="20618" y="19145"/>
                  </a:cubicBezTo>
                  <a:close/>
                  <a:moveTo>
                    <a:pt x="3927" y="14236"/>
                  </a:moveTo>
                  <a:lnTo>
                    <a:pt x="3927" y="19145"/>
                  </a:lnTo>
                  <a:cubicBezTo>
                    <a:pt x="3927" y="19959"/>
                    <a:pt x="3268" y="20618"/>
                    <a:pt x="2455" y="20618"/>
                  </a:cubicBezTo>
                  <a:cubicBezTo>
                    <a:pt x="1641" y="20618"/>
                    <a:pt x="982" y="19959"/>
                    <a:pt x="982" y="19145"/>
                  </a:cubicBezTo>
                  <a:lnTo>
                    <a:pt x="982" y="14236"/>
                  </a:lnTo>
                  <a:cubicBezTo>
                    <a:pt x="982" y="13424"/>
                    <a:pt x="1641" y="12764"/>
                    <a:pt x="2455" y="12764"/>
                  </a:cubicBezTo>
                  <a:cubicBezTo>
                    <a:pt x="3268" y="12764"/>
                    <a:pt x="3927" y="13424"/>
                    <a:pt x="3927" y="14236"/>
                  </a:cubicBezTo>
                  <a:moveTo>
                    <a:pt x="19636" y="11831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1831"/>
                  </a:lnTo>
                  <a:cubicBezTo>
                    <a:pt x="843" y="12059"/>
                    <a:pt x="0" y="13049"/>
                    <a:pt x="0" y="14236"/>
                  </a:cubicBezTo>
                  <a:lnTo>
                    <a:pt x="0" y="19145"/>
                  </a:lnTo>
                  <a:cubicBezTo>
                    <a:pt x="0" y="20501"/>
                    <a:pt x="1099" y="21600"/>
                    <a:pt x="2455" y="21600"/>
                  </a:cubicBezTo>
                  <a:cubicBezTo>
                    <a:pt x="3810" y="21600"/>
                    <a:pt x="4909" y="20501"/>
                    <a:pt x="4909" y="19145"/>
                  </a:cubicBezTo>
                  <a:lnTo>
                    <a:pt x="4909" y="14236"/>
                  </a:lnTo>
                  <a:cubicBezTo>
                    <a:pt x="4909" y="13049"/>
                    <a:pt x="4066" y="12059"/>
                    <a:pt x="2945" y="11831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7" y="982"/>
                    <a:pt x="18655" y="3180"/>
                    <a:pt x="18655" y="5891"/>
                  </a:cubicBezTo>
                  <a:lnTo>
                    <a:pt x="18655" y="11831"/>
                  </a:lnTo>
                  <a:cubicBezTo>
                    <a:pt x="17534" y="12059"/>
                    <a:pt x="16691" y="13049"/>
                    <a:pt x="16691" y="14236"/>
                  </a:cubicBezTo>
                  <a:lnTo>
                    <a:pt x="16691" y="19145"/>
                  </a:lnTo>
                  <a:cubicBezTo>
                    <a:pt x="16691" y="20501"/>
                    <a:pt x="17790" y="21600"/>
                    <a:pt x="19145" y="21600"/>
                  </a:cubicBezTo>
                  <a:cubicBezTo>
                    <a:pt x="20501" y="21600"/>
                    <a:pt x="21600" y="20501"/>
                    <a:pt x="21600" y="19145"/>
                  </a:cubicBezTo>
                  <a:lnTo>
                    <a:pt x="21600" y="14236"/>
                  </a:lnTo>
                  <a:cubicBezTo>
                    <a:pt x="21600" y="13049"/>
                    <a:pt x="20757" y="12059"/>
                    <a:pt x="19636" y="1183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Shape 2686">
              <a:extLst>
                <a:ext uri="{FF2B5EF4-FFF2-40B4-BE49-F238E27FC236}">
                  <a16:creationId xmlns:a16="http://schemas.microsoft.com/office/drawing/2014/main" id="{148526E0-8AA2-4546-9B0C-8AAE0D0CFBA2}"/>
                </a:ext>
              </a:extLst>
            </p:cNvPr>
            <p:cNvSpPr/>
            <p:nvPr/>
          </p:nvSpPr>
          <p:spPr bwMode="gray">
            <a:xfrm>
              <a:off x="11165877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36" y="14727"/>
                  </a:lnTo>
                  <a:cubicBezTo>
                    <a:pt x="20178" y="14727"/>
                    <a:pt x="20618" y="15167"/>
                    <a:pt x="20618" y="15709"/>
                  </a:cubicBez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8655" y="19145"/>
                  </a:moveTo>
                  <a:cubicBezTo>
                    <a:pt x="18655" y="19959"/>
                    <a:pt x="17995" y="20618"/>
                    <a:pt x="17182" y="20618"/>
                  </a:cubicBezTo>
                  <a:cubicBezTo>
                    <a:pt x="16368" y="20618"/>
                    <a:pt x="15709" y="19959"/>
                    <a:pt x="15709" y="19145"/>
                  </a:cubicBezTo>
                  <a:lnTo>
                    <a:pt x="15709" y="14236"/>
                  </a:lnTo>
                  <a:cubicBezTo>
                    <a:pt x="15709" y="13424"/>
                    <a:pt x="16368" y="12764"/>
                    <a:pt x="17182" y="12764"/>
                  </a:cubicBezTo>
                  <a:cubicBezTo>
                    <a:pt x="17995" y="12764"/>
                    <a:pt x="18655" y="13424"/>
                    <a:pt x="18655" y="14236"/>
                  </a:cubicBezTo>
                  <a:cubicBezTo>
                    <a:pt x="18655" y="14236"/>
                    <a:pt x="18655" y="19145"/>
                    <a:pt x="18655" y="19145"/>
                  </a:cubicBezTo>
                  <a:close/>
                  <a:moveTo>
                    <a:pt x="4418" y="12764"/>
                  </a:moveTo>
                  <a:cubicBezTo>
                    <a:pt x="5231" y="12764"/>
                    <a:pt x="5891" y="13424"/>
                    <a:pt x="5891" y="14236"/>
                  </a:cubicBezTo>
                  <a:lnTo>
                    <a:pt x="5891" y="19145"/>
                  </a:lnTo>
                  <a:cubicBezTo>
                    <a:pt x="5891" y="19959"/>
                    <a:pt x="5231" y="20618"/>
                    <a:pt x="4418" y="20618"/>
                  </a:cubicBezTo>
                  <a:cubicBezTo>
                    <a:pt x="3605" y="20618"/>
                    <a:pt x="2945" y="19959"/>
                    <a:pt x="2945" y="19145"/>
                  </a:cubicBezTo>
                  <a:lnTo>
                    <a:pt x="2945" y="14236"/>
                  </a:lnTo>
                  <a:cubicBezTo>
                    <a:pt x="2945" y="13424"/>
                    <a:pt x="3605" y="12764"/>
                    <a:pt x="4418" y="12764"/>
                  </a:cubicBezTo>
                  <a:moveTo>
                    <a:pt x="1964" y="18655"/>
                  </a:moveTo>
                  <a:cubicBezTo>
                    <a:pt x="1422" y="18655"/>
                    <a:pt x="982" y="18215"/>
                    <a:pt x="982" y="17673"/>
                  </a:cubicBezTo>
                  <a:lnTo>
                    <a:pt x="982" y="15709"/>
                  </a:lnTo>
                  <a:cubicBezTo>
                    <a:pt x="982" y="15167"/>
                    <a:pt x="1422" y="14727"/>
                    <a:pt x="1964" y="14727"/>
                  </a:cubicBezTo>
                  <a:cubicBezTo>
                    <a:pt x="1964" y="14727"/>
                    <a:pt x="1964" y="18655"/>
                    <a:pt x="1964" y="18655"/>
                  </a:cubicBezTo>
                  <a:close/>
                  <a:moveTo>
                    <a:pt x="19636" y="13745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3" y="11782"/>
                    <a:pt x="3357" y="11973"/>
                    <a:pt x="2945" y="12284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6" y="982"/>
                    <a:pt x="18655" y="3180"/>
                    <a:pt x="18655" y="5891"/>
                  </a:cubicBezTo>
                  <a:lnTo>
                    <a:pt x="18655" y="12284"/>
                  </a:lnTo>
                  <a:cubicBezTo>
                    <a:pt x="18243" y="11973"/>
                    <a:pt x="17737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59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Shape 2687">
              <a:extLst>
                <a:ext uri="{FF2B5EF4-FFF2-40B4-BE49-F238E27FC236}">
                  <a16:creationId xmlns:a16="http://schemas.microsoft.com/office/drawing/2014/main" id="{EEA5EBD6-E8C0-4862-A2ED-F9EE9A7E9DFC}"/>
                </a:ext>
              </a:extLst>
            </p:cNvPr>
            <p:cNvSpPr/>
            <p:nvPr/>
          </p:nvSpPr>
          <p:spPr bwMode="gray">
            <a:xfrm>
              <a:off x="6200454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6200"/>
                  </a:moveTo>
                  <a:lnTo>
                    <a:pt x="15709" y="16200"/>
                  </a:lnTo>
                  <a:lnTo>
                    <a:pt x="15709" y="14727"/>
                  </a:lnTo>
                  <a:lnTo>
                    <a:pt x="18655" y="14727"/>
                  </a:lnTo>
                  <a:cubicBezTo>
                    <a:pt x="18655" y="14727"/>
                    <a:pt x="18655" y="16200"/>
                    <a:pt x="18655" y="16200"/>
                  </a:cubicBezTo>
                  <a:close/>
                  <a:moveTo>
                    <a:pt x="18655" y="18655"/>
                  </a:moveTo>
                  <a:lnTo>
                    <a:pt x="15709" y="18655"/>
                  </a:lnTo>
                  <a:lnTo>
                    <a:pt x="15709" y="17182"/>
                  </a:lnTo>
                  <a:lnTo>
                    <a:pt x="18655" y="17182"/>
                  </a:lnTo>
                  <a:cubicBezTo>
                    <a:pt x="18655" y="17182"/>
                    <a:pt x="18655" y="18655"/>
                    <a:pt x="18655" y="18655"/>
                  </a:cubicBezTo>
                  <a:close/>
                  <a:moveTo>
                    <a:pt x="17182" y="20618"/>
                  </a:moveTo>
                  <a:cubicBezTo>
                    <a:pt x="16542" y="20618"/>
                    <a:pt x="16002" y="20207"/>
                    <a:pt x="15799" y="19636"/>
                  </a:cubicBezTo>
                  <a:lnTo>
                    <a:pt x="18564" y="19636"/>
                  </a:lnTo>
                  <a:cubicBezTo>
                    <a:pt x="18361" y="20207"/>
                    <a:pt x="17822" y="20618"/>
                    <a:pt x="17182" y="20618"/>
                  </a:cubicBezTo>
                  <a:moveTo>
                    <a:pt x="17182" y="12764"/>
                  </a:moveTo>
                  <a:cubicBezTo>
                    <a:pt x="17822" y="12764"/>
                    <a:pt x="18361" y="13175"/>
                    <a:pt x="18564" y="13745"/>
                  </a:cubicBezTo>
                  <a:lnTo>
                    <a:pt x="15799" y="13745"/>
                  </a:lnTo>
                  <a:cubicBezTo>
                    <a:pt x="16002" y="13175"/>
                    <a:pt x="16542" y="12764"/>
                    <a:pt x="17182" y="12764"/>
                  </a:cubicBezTo>
                  <a:moveTo>
                    <a:pt x="5891" y="16200"/>
                  </a:moveTo>
                  <a:lnTo>
                    <a:pt x="2945" y="16200"/>
                  </a:lnTo>
                  <a:lnTo>
                    <a:pt x="2945" y="14727"/>
                  </a:lnTo>
                  <a:lnTo>
                    <a:pt x="5891" y="14727"/>
                  </a:lnTo>
                  <a:cubicBezTo>
                    <a:pt x="5891" y="14727"/>
                    <a:pt x="5891" y="16200"/>
                    <a:pt x="5891" y="16200"/>
                  </a:cubicBezTo>
                  <a:close/>
                  <a:moveTo>
                    <a:pt x="4418" y="12764"/>
                  </a:moveTo>
                  <a:cubicBezTo>
                    <a:pt x="5058" y="12764"/>
                    <a:pt x="5598" y="13175"/>
                    <a:pt x="5801" y="13745"/>
                  </a:cubicBezTo>
                  <a:lnTo>
                    <a:pt x="3036" y="13745"/>
                  </a:lnTo>
                  <a:cubicBezTo>
                    <a:pt x="3239" y="13175"/>
                    <a:pt x="3778" y="12764"/>
                    <a:pt x="4418" y="12764"/>
                  </a:cubicBezTo>
                  <a:moveTo>
                    <a:pt x="5891" y="18655"/>
                  </a:moveTo>
                  <a:lnTo>
                    <a:pt x="2945" y="18655"/>
                  </a:lnTo>
                  <a:lnTo>
                    <a:pt x="2945" y="17182"/>
                  </a:lnTo>
                  <a:lnTo>
                    <a:pt x="5891" y="17182"/>
                  </a:lnTo>
                  <a:cubicBezTo>
                    <a:pt x="5891" y="17182"/>
                    <a:pt x="5891" y="18655"/>
                    <a:pt x="5891" y="18655"/>
                  </a:cubicBezTo>
                  <a:close/>
                  <a:moveTo>
                    <a:pt x="4418" y="20618"/>
                  </a:moveTo>
                  <a:cubicBezTo>
                    <a:pt x="3778" y="20618"/>
                    <a:pt x="3239" y="20207"/>
                    <a:pt x="3036" y="19636"/>
                  </a:cubicBezTo>
                  <a:lnTo>
                    <a:pt x="5801" y="19636"/>
                  </a:lnTo>
                  <a:cubicBezTo>
                    <a:pt x="5598" y="20207"/>
                    <a:pt x="5058" y="20618"/>
                    <a:pt x="4418" y="20618"/>
                  </a:cubicBezTo>
                  <a:moveTo>
                    <a:pt x="19636" y="13745"/>
                  </a:moveTo>
                  <a:lnTo>
                    <a:pt x="19636" y="8836"/>
                  </a:lnTo>
                  <a:cubicBezTo>
                    <a:pt x="19636" y="3956"/>
                    <a:pt x="15680" y="0"/>
                    <a:pt x="10800" y="0"/>
                  </a:cubicBezTo>
                  <a:cubicBezTo>
                    <a:pt x="5920" y="0"/>
                    <a:pt x="1964" y="3956"/>
                    <a:pt x="1964" y="8836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4" y="11782"/>
                    <a:pt x="3356" y="11971"/>
                    <a:pt x="2945" y="12282"/>
                  </a:cubicBezTo>
                  <a:lnTo>
                    <a:pt x="2945" y="8836"/>
                  </a:lnTo>
                  <a:cubicBezTo>
                    <a:pt x="2945" y="4499"/>
                    <a:pt x="6462" y="982"/>
                    <a:pt x="10800" y="982"/>
                  </a:cubicBezTo>
                  <a:cubicBezTo>
                    <a:pt x="15138" y="982"/>
                    <a:pt x="18655" y="4499"/>
                    <a:pt x="18655" y="8836"/>
                  </a:cubicBezTo>
                  <a:lnTo>
                    <a:pt x="18655" y="12282"/>
                  </a:lnTo>
                  <a:cubicBezTo>
                    <a:pt x="18244" y="11971"/>
                    <a:pt x="17736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60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Shape 2688">
              <a:extLst>
                <a:ext uri="{FF2B5EF4-FFF2-40B4-BE49-F238E27FC236}">
                  <a16:creationId xmlns:a16="http://schemas.microsoft.com/office/drawing/2014/main" id="{C1F64E23-D771-4F34-BD5B-D673763FEE2A}"/>
                </a:ext>
              </a:extLst>
            </p:cNvPr>
            <p:cNvSpPr/>
            <p:nvPr/>
          </p:nvSpPr>
          <p:spPr bwMode="gray">
            <a:xfrm>
              <a:off x="675216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0309"/>
                  </a:moveTo>
                  <a:cubicBezTo>
                    <a:pt x="20618" y="10851"/>
                    <a:pt x="20178" y="11291"/>
                    <a:pt x="19636" y="11291"/>
                  </a:cubicBezTo>
                  <a:lnTo>
                    <a:pt x="19636" y="7364"/>
                  </a:lnTo>
                  <a:cubicBezTo>
                    <a:pt x="20178" y="7364"/>
                    <a:pt x="20618" y="7804"/>
                    <a:pt x="20618" y="8345"/>
                  </a:cubicBezTo>
                  <a:cubicBezTo>
                    <a:pt x="20618" y="8345"/>
                    <a:pt x="20618" y="10309"/>
                    <a:pt x="20618" y="10309"/>
                  </a:cubicBezTo>
                  <a:close/>
                  <a:moveTo>
                    <a:pt x="18655" y="17182"/>
                  </a:moveTo>
                  <a:cubicBezTo>
                    <a:pt x="18655" y="17453"/>
                    <a:pt x="18434" y="17673"/>
                    <a:pt x="18164" y="17673"/>
                  </a:cubicBezTo>
                  <a:cubicBezTo>
                    <a:pt x="17893" y="17673"/>
                    <a:pt x="17673" y="17453"/>
                    <a:pt x="17673" y="17182"/>
                  </a:cubicBezTo>
                  <a:lnTo>
                    <a:pt x="17673" y="1473"/>
                  </a:lnTo>
                  <a:cubicBezTo>
                    <a:pt x="17673" y="1202"/>
                    <a:pt x="17893" y="982"/>
                    <a:pt x="18164" y="982"/>
                  </a:cubicBezTo>
                  <a:cubicBezTo>
                    <a:pt x="18434" y="982"/>
                    <a:pt x="18655" y="1202"/>
                    <a:pt x="18655" y="1473"/>
                  </a:cubicBezTo>
                  <a:cubicBezTo>
                    <a:pt x="18655" y="1473"/>
                    <a:pt x="18655" y="17182"/>
                    <a:pt x="18655" y="17182"/>
                  </a:cubicBezTo>
                  <a:close/>
                  <a:moveTo>
                    <a:pt x="16691" y="15788"/>
                  </a:moveTo>
                  <a:lnTo>
                    <a:pt x="2945" y="11745"/>
                  </a:lnTo>
                  <a:lnTo>
                    <a:pt x="2945" y="6910"/>
                  </a:lnTo>
                  <a:lnTo>
                    <a:pt x="16691" y="2867"/>
                  </a:lnTo>
                  <a:cubicBezTo>
                    <a:pt x="16691" y="2867"/>
                    <a:pt x="16691" y="15788"/>
                    <a:pt x="16691" y="15788"/>
                  </a:cubicBezTo>
                  <a:close/>
                  <a:moveTo>
                    <a:pt x="8251" y="18655"/>
                  </a:moveTo>
                  <a:lnTo>
                    <a:pt x="5357" y="18655"/>
                  </a:lnTo>
                  <a:lnTo>
                    <a:pt x="4126" y="13116"/>
                  </a:lnTo>
                  <a:lnTo>
                    <a:pt x="7167" y="14010"/>
                  </a:lnTo>
                  <a:cubicBezTo>
                    <a:pt x="7167" y="14010"/>
                    <a:pt x="8251" y="18655"/>
                    <a:pt x="8251" y="18655"/>
                  </a:cubicBezTo>
                  <a:close/>
                  <a:moveTo>
                    <a:pt x="8709" y="20618"/>
                  </a:moveTo>
                  <a:lnTo>
                    <a:pt x="5794" y="20618"/>
                  </a:lnTo>
                  <a:lnTo>
                    <a:pt x="5576" y="19636"/>
                  </a:lnTo>
                  <a:lnTo>
                    <a:pt x="8479" y="19636"/>
                  </a:lnTo>
                  <a:cubicBezTo>
                    <a:pt x="8479" y="19636"/>
                    <a:pt x="8709" y="20618"/>
                    <a:pt x="8709" y="20618"/>
                  </a:cubicBezTo>
                  <a:close/>
                  <a:moveTo>
                    <a:pt x="1964" y="11782"/>
                  </a:moveTo>
                  <a:lnTo>
                    <a:pt x="982" y="11782"/>
                  </a:lnTo>
                  <a:lnTo>
                    <a:pt x="982" y="6873"/>
                  </a:lnTo>
                  <a:lnTo>
                    <a:pt x="1964" y="6873"/>
                  </a:lnTo>
                  <a:cubicBezTo>
                    <a:pt x="1964" y="6873"/>
                    <a:pt x="1964" y="11782"/>
                    <a:pt x="1964" y="11782"/>
                  </a:cubicBezTo>
                  <a:close/>
                  <a:moveTo>
                    <a:pt x="19636" y="6382"/>
                  </a:moveTo>
                  <a:lnTo>
                    <a:pt x="19636" y="1473"/>
                  </a:lnTo>
                  <a:cubicBezTo>
                    <a:pt x="19636" y="659"/>
                    <a:pt x="18977" y="0"/>
                    <a:pt x="18164" y="0"/>
                  </a:cubicBezTo>
                  <a:cubicBezTo>
                    <a:pt x="17350" y="0"/>
                    <a:pt x="16691" y="659"/>
                    <a:pt x="16691" y="1473"/>
                  </a:cubicBezTo>
                  <a:lnTo>
                    <a:pt x="16691" y="1844"/>
                  </a:lnTo>
                  <a:lnTo>
                    <a:pt x="2459" y="6029"/>
                  </a:lnTo>
                  <a:cubicBezTo>
                    <a:pt x="2313" y="5944"/>
                    <a:pt x="2145" y="5891"/>
                    <a:pt x="1964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11782"/>
                  </a:lnTo>
                  <a:cubicBezTo>
                    <a:pt x="0" y="12324"/>
                    <a:pt x="440" y="12764"/>
                    <a:pt x="982" y="12764"/>
                  </a:cubicBezTo>
                  <a:lnTo>
                    <a:pt x="1964" y="12764"/>
                  </a:lnTo>
                  <a:cubicBezTo>
                    <a:pt x="2145" y="12764"/>
                    <a:pt x="2313" y="12711"/>
                    <a:pt x="2458" y="12626"/>
                  </a:cubicBezTo>
                  <a:lnTo>
                    <a:pt x="3050" y="12799"/>
                  </a:lnTo>
                  <a:lnTo>
                    <a:pt x="4921" y="21216"/>
                  </a:lnTo>
                  <a:lnTo>
                    <a:pt x="4930" y="21214"/>
                  </a:lnTo>
                  <a:cubicBezTo>
                    <a:pt x="4979" y="21433"/>
                    <a:pt x="5166" y="21600"/>
                    <a:pt x="5400" y="21600"/>
                  </a:cubicBezTo>
                  <a:lnTo>
                    <a:pt x="9327" y="21600"/>
                  </a:lnTo>
                  <a:cubicBezTo>
                    <a:pt x="9598" y="21600"/>
                    <a:pt x="9818" y="21381"/>
                    <a:pt x="9818" y="21109"/>
                  </a:cubicBezTo>
                  <a:cubicBezTo>
                    <a:pt x="9818" y="21072"/>
                    <a:pt x="9805" y="21039"/>
                    <a:pt x="9797" y="21005"/>
                  </a:cubicBezTo>
                  <a:lnTo>
                    <a:pt x="9806" y="21003"/>
                  </a:lnTo>
                  <a:lnTo>
                    <a:pt x="8249" y="14329"/>
                  </a:lnTo>
                  <a:lnTo>
                    <a:pt x="16691" y="16811"/>
                  </a:lnTo>
                  <a:lnTo>
                    <a:pt x="16691" y="17182"/>
                  </a:lnTo>
                  <a:cubicBezTo>
                    <a:pt x="16691" y="17995"/>
                    <a:pt x="17350" y="18655"/>
                    <a:pt x="18164" y="18655"/>
                  </a:cubicBezTo>
                  <a:cubicBezTo>
                    <a:pt x="18977" y="18655"/>
                    <a:pt x="19636" y="17995"/>
                    <a:pt x="19636" y="17182"/>
                  </a:cubicBezTo>
                  <a:lnTo>
                    <a:pt x="19636" y="12273"/>
                  </a:lnTo>
                  <a:cubicBezTo>
                    <a:pt x="20721" y="12273"/>
                    <a:pt x="21600" y="11394"/>
                    <a:pt x="21600" y="10309"/>
                  </a:cubicBezTo>
                  <a:lnTo>
                    <a:pt x="21600" y="8345"/>
                  </a:lnTo>
                  <a:cubicBezTo>
                    <a:pt x="21600" y="7261"/>
                    <a:pt x="20721" y="6382"/>
                    <a:pt x="19636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Shape 2689">
              <a:extLst>
                <a:ext uri="{FF2B5EF4-FFF2-40B4-BE49-F238E27FC236}">
                  <a16:creationId xmlns:a16="http://schemas.microsoft.com/office/drawing/2014/main" id="{D671029C-12CF-4BBE-B44B-7A73077433CE}"/>
                </a:ext>
              </a:extLst>
            </p:cNvPr>
            <p:cNvSpPr/>
            <p:nvPr/>
          </p:nvSpPr>
          <p:spPr bwMode="gray">
            <a:xfrm>
              <a:off x="730388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291"/>
                  </a:moveTo>
                  <a:lnTo>
                    <a:pt x="18655" y="7364"/>
                  </a:lnTo>
                  <a:cubicBezTo>
                    <a:pt x="19739" y="7364"/>
                    <a:pt x="20618" y="8243"/>
                    <a:pt x="20618" y="9327"/>
                  </a:cubicBezTo>
                  <a:cubicBezTo>
                    <a:pt x="20618" y="10412"/>
                    <a:pt x="19739" y="11291"/>
                    <a:pt x="18655" y="11291"/>
                  </a:cubicBezTo>
                  <a:moveTo>
                    <a:pt x="17673" y="17182"/>
                  </a:moveTo>
                  <a:cubicBezTo>
                    <a:pt x="17673" y="17453"/>
                    <a:pt x="17453" y="17673"/>
                    <a:pt x="17182" y="17673"/>
                  </a:cubicBezTo>
                  <a:cubicBezTo>
                    <a:pt x="16911" y="17673"/>
                    <a:pt x="16691" y="17453"/>
                    <a:pt x="16691" y="17182"/>
                  </a:cubicBezTo>
                  <a:lnTo>
                    <a:pt x="16691" y="1473"/>
                  </a:lnTo>
                  <a:cubicBezTo>
                    <a:pt x="16691" y="1202"/>
                    <a:pt x="16911" y="982"/>
                    <a:pt x="17182" y="982"/>
                  </a:cubicBezTo>
                  <a:cubicBezTo>
                    <a:pt x="17453" y="982"/>
                    <a:pt x="17673" y="1202"/>
                    <a:pt x="17673" y="1473"/>
                  </a:cubicBezTo>
                  <a:cubicBezTo>
                    <a:pt x="17673" y="1473"/>
                    <a:pt x="17673" y="17182"/>
                    <a:pt x="17673" y="17182"/>
                  </a:cubicBezTo>
                  <a:close/>
                  <a:moveTo>
                    <a:pt x="15709" y="15780"/>
                  </a:moveTo>
                  <a:lnTo>
                    <a:pt x="8836" y="13718"/>
                  </a:lnTo>
                  <a:lnTo>
                    <a:pt x="8836" y="4937"/>
                  </a:lnTo>
                  <a:lnTo>
                    <a:pt x="15709" y="2875"/>
                  </a:lnTo>
                  <a:cubicBezTo>
                    <a:pt x="15709" y="2875"/>
                    <a:pt x="15709" y="15780"/>
                    <a:pt x="15709" y="15780"/>
                  </a:cubicBezTo>
                  <a:close/>
                  <a:moveTo>
                    <a:pt x="9479" y="19636"/>
                  </a:moveTo>
                  <a:lnTo>
                    <a:pt x="9697" y="20618"/>
                  </a:lnTo>
                  <a:lnTo>
                    <a:pt x="6775" y="20618"/>
                  </a:lnTo>
                  <a:lnTo>
                    <a:pt x="6558" y="19636"/>
                  </a:lnTo>
                  <a:cubicBezTo>
                    <a:pt x="6558" y="19636"/>
                    <a:pt x="9479" y="19636"/>
                    <a:pt x="9479" y="19636"/>
                  </a:cubicBezTo>
                  <a:close/>
                  <a:moveTo>
                    <a:pt x="6339" y="18655"/>
                  </a:moveTo>
                  <a:lnTo>
                    <a:pt x="5356" y="14232"/>
                  </a:lnTo>
                  <a:lnTo>
                    <a:pt x="8176" y="14545"/>
                  </a:lnTo>
                  <a:lnTo>
                    <a:pt x="8360" y="14600"/>
                  </a:lnTo>
                  <a:lnTo>
                    <a:pt x="9260" y="18655"/>
                  </a:lnTo>
                  <a:cubicBezTo>
                    <a:pt x="9260" y="18655"/>
                    <a:pt x="6339" y="18655"/>
                    <a:pt x="6339" y="18655"/>
                  </a:cubicBezTo>
                  <a:close/>
                  <a:moveTo>
                    <a:pt x="982" y="12764"/>
                  </a:moveTo>
                  <a:lnTo>
                    <a:pt x="982" y="10800"/>
                  </a:lnTo>
                  <a:lnTo>
                    <a:pt x="3436" y="10800"/>
                  </a:lnTo>
                  <a:cubicBezTo>
                    <a:pt x="3707" y="10800"/>
                    <a:pt x="3927" y="10581"/>
                    <a:pt x="3927" y="10309"/>
                  </a:cubicBezTo>
                  <a:cubicBezTo>
                    <a:pt x="3927" y="10038"/>
                    <a:pt x="3707" y="9818"/>
                    <a:pt x="3436" y="9818"/>
                  </a:cubicBezTo>
                  <a:lnTo>
                    <a:pt x="982" y="9818"/>
                  </a:lnTo>
                  <a:lnTo>
                    <a:pt x="982" y="8836"/>
                  </a:lnTo>
                  <a:lnTo>
                    <a:pt x="2455" y="8836"/>
                  </a:lnTo>
                  <a:cubicBezTo>
                    <a:pt x="2725" y="8836"/>
                    <a:pt x="2945" y="8617"/>
                    <a:pt x="2945" y="8345"/>
                  </a:cubicBezTo>
                  <a:cubicBezTo>
                    <a:pt x="2945" y="8075"/>
                    <a:pt x="2725" y="7855"/>
                    <a:pt x="2455" y="7855"/>
                  </a:cubicBezTo>
                  <a:lnTo>
                    <a:pt x="982" y="7855"/>
                  </a:lnTo>
                  <a:lnTo>
                    <a:pt x="982" y="5891"/>
                  </a:lnTo>
                  <a:lnTo>
                    <a:pt x="7855" y="5128"/>
                  </a:lnTo>
                  <a:lnTo>
                    <a:pt x="7855" y="13528"/>
                  </a:lnTo>
                  <a:cubicBezTo>
                    <a:pt x="7855" y="13528"/>
                    <a:pt x="982" y="12764"/>
                    <a:pt x="982" y="12764"/>
                  </a:cubicBezTo>
                  <a:close/>
                  <a:moveTo>
                    <a:pt x="18655" y="6382"/>
                  </a:moveTo>
                  <a:lnTo>
                    <a:pt x="18655" y="1473"/>
                  </a:lnTo>
                  <a:cubicBezTo>
                    <a:pt x="18655" y="659"/>
                    <a:pt x="17995" y="0"/>
                    <a:pt x="17182" y="0"/>
                  </a:cubicBezTo>
                  <a:cubicBezTo>
                    <a:pt x="16368" y="0"/>
                    <a:pt x="15709" y="659"/>
                    <a:pt x="15709" y="1473"/>
                  </a:cubicBezTo>
                  <a:lnTo>
                    <a:pt x="15709" y="1850"/>
                  </a:lnTo>
                  <a:lnTo>
                    <a:pt x="8175" y="4110"/>
                  </a:lnTo>
                  <a:lnTo>
                    <a:pt x="982" y="4909"/>
                  </a:lnTo>
                  <a:cubicBezTo>
                    <a:pt x="440" y="4909"/>
                    <a:pt x="0" y="5349"/>
                    <a:pt x="0" y="5891"/>
                  </a:cubicBezTo>
                  <a:lnTo>
                    <a:pt x="0" y="12764"/>
                  </a:lnTo>
                  <a:cubicBezTo>
                    <a:pt x="0" y="13306"/>
                    <a:pt x="440" y="13745"/>
                    <a:pt x="982" y="13745"/>
                  </a:cubicBezTo>
                  <a:lnTo>
                    <a:pt x="4325" y="14117"/>
                  </a:lnTo>
                  <a:lnTo>
                    <a:pt x="5903" y="21216"/>
                  </a:lnTo>
                  <a:lnTo>
                    <a:pt x="5912" y="21214"/>
                  </a:lnTo>
                  <a:cubicBezTo>
                    <a:pt x="5961" y="21433"/>
                    <a:pt x="6148" y="21600"/>
                    <a:pt x="6382" y="21600"/>
                  </a:cubicBezTo>
                  <a:lnTo>
                    <a:pt x="10309" y="21600"/>
                  </a:lnTo>
                  <a:cubicBezTo>
                    <a:pt x="10580" y="21600"/>
                    <a:pt x="10800" y="21381"/>
                    <a:pt x="10800" y="21109"/>
                  </a:cubicBezTo>
                  <a:cubicBezTo>
                    <a:pt x="10800" y="21072"/>
                    <a:pt x="10787" y="21039"/>
                    <a:pt x="10779" y="21005"/>
                  </a:cubicBezTo>
                  <a:lnTo>
                    <a:pt x="10788" y="21003"/>
                  </a:lnTo>
                  <a:lnTo>
                    <a:pt x="9437" y="14923"/>
                  </a:lnTo>
                  <a:lnTo>
                    <a:pt x="15709" y="16805"/>
                  </a:lnTo>
                  <a:lnTo>
                    <a:pt x="15709" y="17182"/>
                  </a:lnTo>
                  <a:cubicBezTo>
                    <a:pt x="15709" y="17995"/>
                    <a:pt x="16368" y="18655"/>
                    <a:pt x="17182" y="18655"/>
                  </a:cubicBezTo>
                  <a:cubicBezTo>
                    <a:pt x="17995" y="18655"/>
                    <a:pt x="18655" y="17995"/>
                    <a:pt x="18655" y="17182"/>
                  </a:cubicBezTo>
                  <a:lnTo>
                    <a:pt x="18655" y="12273"/>
                  </a:lnTo>
                  <a:cubicBezTo>
                    <a:pt x="20281" y="12273"/>
                    <a:pt x="21600" y="10954"/>
                    <a:pt x="21600" y="9327"/>
                  </a:cubicBezTo>
                  <a:cubicBezTo>
                    <a:pt x="21600" y="7701"/>
                    <a:pt x="20281" y="6382"/>
                    <a:pt x="18655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Shape 2690">
              <a:extLst>
                <a:ext uri="{FF2B5EF4-FFF2-40B4-BE49-F238E27FC236}">
                  <a16:creationId xmlns:a16="http://schemas.microsoft.com/office/drawing/2014/main" id="{203CF94B-B8A8-4069-8F60-08F7DE078D87}"/>
                </a:ext>
              </a:extLst>
            </p:cNvPr>
            <p:cNvSpPr/>
            <p:nvPr/>
          </p:nvSpPr>
          <p:spPr bwMode="gray">
            <a:xfrm>
              <a:off x="7855595" y="2323895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880"/>
                  </a:moveTo>
                  <a:cubicBezTo>
                    <a:pt x="20618" y="12476"/>
                    <a:pt x="20178" y="12960"/>
                    <a:pt x="19636" y="12960"/>
                  </a:cubicBezTo>
                  <a:lnTo>
                    <a:pt x="19636" y="8640"/>
                  </a:lnTo>
                  <a:cubicBezTo>
                    <a:pt x="20178" y="8640"/>
                    <a:pt x="20618" y="9124"/>
                    <a:pt x="20618" y="9720"/>
                  </a:cubicBezTo>
                  <a:cubicBezTo>
                    <a:pt x="20618" y="9720"/>
                    <a:pt x="20618" y="11880"/>
                    <a:pt x="20618" y="11880"/>
                  </a:cubicBezTo>
                  <a:close/>
                  <a:moveTo>
                    <a:pt x="18655" y="19980"/>
                  </a:moveTo>
                  <a:cubicBezTo>
                    <a:pt x="18655" y="20279"/>
                    <a:pt x="18434" y="20520"/>
                    <a:pt x="18164" y="20520"/>
                  </a:cubicBezTo>
                  <a:cubicBezTo>
                    <a:pt x="17893" y="20520"/>
                    <a:pt x="17673" y="20279"/>
                    <a:pt x="17673" y="19980"/>
                  </a:cubicBezTo>
                  <a:lnTo>
                    <a:pt x="17673" y="1620"/>
                  </a:lnTo>
                  <a:cubicBezTo>
                    <a:pt x="17673" y="1322"/>
                    <a:pt x="17893" y="1080"/>
                    <a:pt x="18164" y="1080"/>
                  </a:cubicBezTo>
                  <a:cubicBezTo>
                    <a:pt x="18434" y="1080"/>
                    <a:pt x="18655" y="1322"/>
                    <a:pt x="18655" y="1620"/>
                  </a:cubicBezTo>
                  <a:cubicBezTo>
                    <a:pt x="18655" y="1620"/>
                    <a:pt x="18655" y="19980"/>
                    <a:pt x="18655" y="19980"/>
                  </a:cubicBezTo>
                  <a:close/>
                  <a:moveTo>
                    <a:pt x="16691" y="18404"/>
                  </a:moveTo>
                  <a:lnTo>
                    <a:pt x="2944" y="13512"/>
                  </a:lnTo>
                  <a:cubicBezTo>
                    <a:pt x="2944" y="13508"/>
                    <a:pt x="2945" y="13504"/>
                    <a:pt x="2945" y="13500"/>
                  </a:cubicBezTo>
                  <a:lnTo>
                    <a:pt x="2945" y="8100"/>
                  </a:lnTo>
                  <a:cubicBezTo>
                    <a:pt x="2945" y="8096"/>
                    <a:pt x="2944" y="8093"/>
                    <a:pt x="2944" y="8089"/>
                  </a:cubicBezTo>
                  <a:lnTo>
                    <a:pt x="16691" y="3197"/>
                  </a:lnTo>
                  <a:cubicBezTo>
                    <a:pt x="16691" y="3197"/>
                    <a:pt x="16691" y="18404"/>
                    <a:pt x="16691" y="18404"/>
                  </a:cubicBezTo>
                  <a:close/>
                  <a:moveTo>
                    <a:pt x="12480" y="18725"/>
                  </a:moveTo>
                  <a:cubicBezTo>
                    <a:pt x="12316" y="19294"/>
                    <a:pt x="11764" y="19608"/>
                    <a:pt x="11247" y="19428"/>
                  </a:cubicBezTo>
                  <a:lnTo>
                    <a:pt x="6102" y="17625"/>
                  </a:lnTo>
                  <a:cubicBezTo>
                    <a:pt x="5585" y="17444"/>
                    <a:pt x="5299" y="16837"/>
                    <a:pt x="5464" y="16269"/>
                  </a:cubicBezTo>
                  <a:lnTo>
                    <a:pt x="5654" y="15610"/>
                  </a:lnTo>
                  <a:lnTo>
                    <a:pt x="12661" y="18104"/>
                  </a:lnTo>
                  <a:cubicBezTo>
                    <a:pt x="12661" y="18104"/>
                    <a:pt x="12480" y="18725"/>
                    <a:pt x="12480" y="18725"/>
                  </a:cubicBezTo>
                  <a:close/>
                  <a:moveTo>
                    <a:pt x="1964" y="13500"/>
                  </a:moveTo>
                  <a:lnTo>
                    <a:pt x="982" y="13500"/>
                  </a:lnTo>
                  <a:lnTo>
                    <a:pt x="982" y="8100"/>
                  </a:lnTo>
                  <a:lnTo>
                    <a:pt x="1964" y="8100"/>
                  </a:lnTo>
                  <a:cubicBezTo>
                    <a:pt x="1964" y="8100"/>
                    <a:pt x="1964" y="13500"/>
                    <a:pt x="1964" y="13500"/>
                  </a:cubicBezTo>
                  <a:close/>
                  <a:moveTo>
                    <a:pt x="19636" y="7560"/>
                  </a:moveTo>
                  <a:lnTo>
                    <a:pt x="19636" y="1620"/>
                  </a:lnTo>
                  <a:cubicBezTo>
                    <a:pt x="19636" y="725"/>
                    <a:pt x="18977" y="0"/>
                    <a:pt x="18164" y="0"/>
                  </a:cubicBezTo>
                  <a:cubicBezTo>
                    <a:pt x="17350" y="0"/>
                    <a:pt x="16691" y="725"/>
                    <a:pt x="16691" y="1620"/>
                  </a:cubicBezTo>
                  <a:lnTo>
                    <a:pt x="16691" y="2062"/>
                  </a:lnTo>
                  <a:lnTo>
                    <a:pt x="2411" y="7144"/>
                  </a:lnTo>
                  <a:cubicBezTo>
                    <a:pt x="2276" y="7067"/>
                    <a:pt x="2126" y="7020"/>
                    <a:pt x="1964" y="7020"/>
                  </a:cubicBezTo>
                  <a:lnTo>
                    <a:pt x="982" y="7020"/>
                  </a:lnTo>
                  <a:cubicBezTo>
                    <a:pt x="440" y="7020"/>
                    <a:pt x="0" y="7504"/>
                    <a:pt x="0" y="8100"/>
                  </a:cubicBezTo>
                  <a:lnTo>
                    <a:pt x="0" y="13500"/>
                  </a:lnTo>
                  <a:cubicBezTo>
                    <a:pt x="0" y="14097"/>
                    <a:pt x="440" y="14580"/>
                    <a:pt x="982" y="14580"/>
                  </a:cubicBezTo>
                  <a:lnTo>
                    <a:pt x="1964" y="14580"/>
                  </a:lnTo>
                  <a:cubicBezTo>
                    <a:pt x="2126" y="14580"/>
                    <a:pt x="2276" y="14533"/>
                    <a:pt x="2411" y="14457"/>
                  </a:cubicBezTo>
                  <a:lnTo>
                    <a:pt x="4720" y="15278"/>
                  </a:lnTo>
                  <a:lnTo>
                    <a:pt x="4529" y="15941"/>
                  </a:lnTo>
                  <a:cubicBezTo>
                    <a:pt x="4199" y="17078"/>
                    <a:pt x="4770" y="18292"/>
                    <a:pt x="5803" y="18654"/>
                  </a:cubicBezTo>
                  <a:lnTo>
                    <a:pt x="10949" y="20456"/>
                  </a:lnTo>
                  <a:cubicBezTo>
                    <a:pt x="11983" y="20819"/>
                    <a:pt x="13087" y="20190"/>
                    <a:pt x="13416" y="19053"/>
                  </a:cubicBezTo>
                  <a:lnTo>
                    <a:pt x="13595" y="18437"/>
                  </a:lnTo>
                  <a:lnTo>
                    <a:pt x="16691" y="19538"/>
                  </a:lnTo>
                  <a:lnTo>
                    <a:pt x="16691" y="19980"/>
                  </a:lnTo>
                  <a:cubicBezTo>
                    <a:pt x="16691" y="20875"/>
                    <a:pt x="17350" y="21600"/>
                    <a:pt x="18164" y="21600"/>
                  </a:cubicBezTo>
                  <a:cubicBezTo>
                    <a:pt x="18977" y="21600"/>
                    <a:pt x="19636" y="20875"/>
                    <a:pt x="19636" y="19980"/>
                  </a:cubicBezTo>
                  <a:lnTo>
                    <a:pt x="19636" y="14040"/>
                  </a:lnTo>
                  <a:cubicBezTo>
                    <a:pt x="20721" y="14040"/>
                    <a:pt x="21600" y="13073"/>
                    <a:pt x="21600" y="11880"/>
                  </a:cubicBezTo>
                  <a:lnTo>
                    <a:pt x="21600" y="9720"/>
                  </a:lnTo>
                  <a:cubicBezTo>
                    <a:pt x="21600" y="8527"/>
                    <a:pt x="20721" y="7560"/>
                    <a:pt x="19636" y="756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Shape 2691">
              <a:extLst>
                <a:ext uri="{FF2B5EF4-FFF2-40B4-BE49-F238E27FC236}">
                  <a16:creationId xmlns:a16="http://schemas.microsoft.com/office/drawing/2014/main" id="{512EEA4A-54C8-41E2-9504-79195D13461F}"/>
                </a:ext>
              </a:extLst>
            </p:cNvPr>
            <p:cNvSpPr/>
            <p:nvPr/>
          </p:nvSpPr>
          <p:spPr bwMode="gray">
            <a:xfrm>
              <a:off x="8472989" y="2310759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9924"/>
                  </a:moveTo>
                  <a:lnTo>
                    <a:pt x="12600" y="12476"/>
                  </a:lnTo>
                  <a:lnTo>
                    <a:pt x="19427" y="16200"/>
                  </a:lnTo>
                  <a:cubicBezTo>
                    <a:pt x="19427" y="16200"/>
                    <a:pt x="12600" y="19924"/>
                    <a:pt x="12600" y="19924"/>
                  </a:cubicBezTo>
                  <a:close/>
                  <a:moveTo>
                    <a:pt x="12600" y="1676"/>
                  </a:moveTo>
                  <a:lnTo>
                    <a:pt x="19427" y="5400"/>
                  </a:lnTo>
                  <a:lnTo>
                    <a:pt x="12600" y="9124"/>
                  </a:lnTo>
                  <a:cubicBezTo>
                    <a:pt x="12600" y="9124"/>
                    <a:pt x="12600" y="1676"/>
                    <a:pt x="12600" y="1676"/>
                  </a:cubicBezTo>
                  <a:close/>
                  <a:moveTo>
                    <a:pt x="21352" y="15862"/>
                  </a:moveTo>
                  <a:lnTo>
                    <a:pt x="21337" y="15854"/>
                  </a:lnTo>
                  <a:cubicBezTo>
                    <a:pt x="21336" y="15853"/>
                    <a:pt x="21335" y="15853"/>
                    <a:pt x="21335" y="15852"/>
                  </a:cubicBezTo>
                  <a:lnTo>
                    <a:pt x="12600" y="11088"/>
                  </a:lnTo>
                  <a:lnTo>
                    <a:pt x="12600" y="10512"/>
                  </a:lnTo>
                  <a:lnTo>
                    <a:pt x="21335" y="5748"/>
                  </a:lnTo>
                  <a:lnTo>
                    <a:pt x="21336" y="5747"/>
                  </a:lnTo>
                  <a:lnTo>
                    <a:pt x="21352" y="5739"/>
                  </a:lnTo>
                  <a:lnTo>
                    <a:pt x="21349" y="5738"/>
                  </a:lnTo>
                  <a:cubicBezTo>
                    <a:pt x="21503" y="5649"/>
                    <a:pt x="21600" y="5532"/>
                    <a:pt x="21600" y="5400"/>
                  </a:cubicBezTo>
                  <a:cubicBezTo>
                    <a:pt x="21600" y="5265"/>
                    <a:pt x="21499" y="5142"/>
                    <a:pt x="21336" y="5053"/>
                  </a:cubicBezTo>
                  <a:lnTo>
                    <a:pt x="12336" y="144"/>
                  </a:lnTo>
                  <a:cubicBezTo>
                    <a:pt x="12173" y="55"/>
                    <a:pt x="11948" y="0"/>
                    <a:pt x="11700" y="0"/>
                  </a:cubicBezTo>
                  <a:cubicBezTo>
                    <a:pt x="11203" y="0"/>
                    <a:pt x="10800" y="220"/>
                    <a:pt x="10800" y="491"/>
                  </a:cubicBezTo>
                  <a:lnTo>
                    <a:pt x="10800" y="10106"/>
                  </a:lnTo>
                  <a:lnTo>
                    <a:pt x="1552" y="5062"/>
                  </a:lnTo>
                  <a:lnTo>
                    <a:pt x="1549" y="5063"/>
                  </a:lnTo>
                  <a:cubicBezTo>
                    <a:pt x="1385" y="4969"/>
                    <a:pt x="1157" y="4909"/>
                    <a:pt x="900" y="4909"/>
                  </a:cubicBezTo>
                  <a:cubicBezTo>
                    <a:pt x="403" y="4909"/>
                    <a:pt x="0" y="5129"/>
                    <a:pt x="0" y="5400"/>
                  </a:cubicBezTo>
                  <a:cubicBezTo>
                    <a:pt x="0" y="5532"/>
                    <a:pt x="97" y="5649"/>
                    <a:pt x="251" y="5738"/>
                  </a:cubicBezTo>
                  <a:lnTo>
                    <a:pt x="248" y="5739"/>
                  </a:lnTo>
                  <a:lnTo>
                    <a:pt x="264" y="5747"/>
                  </a:lnTo>
                  <a:lnTo>
                    <a:pt x="264" y="5748"/>
                  </a:lnTo>
                  <a:lnTo>
                    <a:pt x="9527" y="10800"/>
                  </a:lnTo>
                  <a:lnTo>
                    <a:pt x="265" y="15852"/>
                  </a:lnTo>
                  <a:cubicBezTo>
                    <a:pt x="265" y="15853"/>
                    <a:pt x="264" y="15853"/>
                    <a:pt x="263" y="15854"/>
                  </a:cubicBezTo>
                  <a:lnTo>
                    <a:pt x="248" y="15862"/>
                  </a:lnTo>
                  <a:lnTo>
                    <a:pt x="251" y="15863"/>
                  </a:lnTo>
                  <a:cubicBezTo>
                    <a:pt x="97" y="15951"/>
                    <a:pt x="0" y="16069"/>
                    <a:pt x="0" y="16200"/>
                  </a:cubicBezTo>
                  <a:cubicBezTo>
                    <a:pt x="0" y="16471"/>
                    <a:pt x="403" y="16691"/>
                    <a:pt x="900" y="16691"/>
                  </a:cubicBezTo>
                  <a:cubicBezTo>
                    <a:pt x="1157" y="16691"/>
                    <a:pt x="1385" y="16631"/>
                    <a:pt x="1549" y="16537"/>
                  </a:cubicBezTo>
                  <a:lnTo>
                    <a:pt x="1552" y="16539"/>
                  </a:lnTo>
                  <a:lnTo>
                    <a:pt x="10800" y="11494"/>
                  </a:lnTo>
                  <a:lnTo>
                    <a:pt x="10800" y="21109"/>
                  </a:lnTo>
                  <a:cubicBezTo>
                    <a:pt x="10800" y="21380"/>
                    <a:pt x="11203" y="21600"/>
                    <a:pt x="11700" y="21600"/>
                  </a:cubicBezTo>
                  <a:cubicBezTo>
                    <a:pt x="11948" y="21600"/>
                    <a:pt x="12173" y="21546"/>
                    <a:pt x="12336" y="21456"/>
                  </a:cubicBezTo>
                  <a:lnTo>
                    <a:pt x="21336" y="16547"/>
                  </a:lnTo>
                  <a:cubicBezTo>
                    <a:pt x="21499" y="16458"/>
                    <a:pt x="21600" y="16336"/>
                    <a:pt x="21600" y="16200"/>
                  </a:cubicBezTo>
                  <a:cubicBezTo>
                    <a:pt x="21600" y="16069"/>
                    <a:pt x="21503" y="15951"/>
                    <a:pt x="21349" y="15863"/>
                  </a:cubicBezTo>
                  <a:cubicBezTo>
                    <a:pt x="21349" y="15863"/>
                    <a:pt x="21352" y="15862"/>
                    <a:pt x="21352" y="1586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Shape 2692">
              <a:extLst>
                <a:ext uri="{FF2B5EF4-FFF2-40B4-BE49-F238E27FC236}">
                  <a16:creationId xmlns:a16="http://schemas.microsoft.com/office/drawing/2014/main" id="{B0048639-C30F-4064-929A-92E4072B6EDE}"/>
                </a:ext>
              </a:extLst>
            </p:cNvPr>
            <p:cNvSpPr/>
            <p:nvPr/>
          </p:nvSpPr>
          <p:spPr bwMode="gray">
            <a:xfrm>
              <a:off x="8985294" y="2310759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00" y="16691"/>
                  </a:moveTo>
                  <a:lnTo>
                    <a:pt x="15600" y="16691"/>
                  </a:lnTo>
                  <a:lnTo>
                    <a:pt x="15600" y="14727"/>
                  </a:lnTo>
                  <a:lnTo>
                    <a:pt x="13200" y="14727"/>
                  </a:lnTo>
                  <a:cubicBezTo>
                    <a:pt x="13200" y="14727"/>
                    <a:pt x="13200" y="16691"/>
                    <a:pt x="13200" y="16691"/>
                  </a:cubicBezTo>
                  <a:close/>
                  <a:moveTo>
                    <a:pt x="9600" y="10800"/>
                  </a:moveTo>
                  <a:lnTo>
                    <a:pt x="12000" y="10800"/>
                  </a:lnTo>
                  <a:lnTo>
                    <a:pt x="12000" y="8836"/>
                  </a:lnTo>
                  <a:lnTo>
                    <a:pt x="9600" y="8836"/>
                  </a:lnTo>
                  <a:cubicBezTo>
                    <a:pt x="9600" y="8836"/>
                    <a:pt x="9600" y="10800"/>
                    <a:pt x="9600" y="10800"/>
                  </a:cubicBezTo>
                  <a:close/>
                  <a:moveTo>
                    <a:pt x="13200" y="19636"/>
                  </a:moveTo>
                  <a:lnTo>
                    <a:pt x="15600" y="19636"/>
                  </a:lnTo>
                  <a:lnTo>
                    <a:pt x="15600" y="17673"/>
                  </a:lnTo>
                  <a:lnTo>
                    <a:pt x="13200" y="17673"/>
                  </a:lnTo>
                  <a:cubicBezTo>
                    <a:pt x="13200" y="17673"/>
                    <a:pt x="13200" y="19636"/>
                    <a:pt x="13200" y="19636"/>
                  </a:cubicBezTo>
                  <a:close/>
                  <a:moveTo>
                    <a:pt x="13200" y="13745"/>
                  </a:moveTo>
                  <a:lnTo>
                    <a:pt x="15600" y="13745"/>
                  </a:lnTo>
                  <a:lnTo>
                    <a:pt x="15600" y="11782"/>
                  </a:lnTo>
                  <a:lnTo>
                    <a:pt x="13200" y="11782"/>
                  </a:lnTo>
                  <a:cubicBezTo>
                    <a:pt x="13200" y="11782"/>
                    <a:pt x="13200" y="13745"/>
                    <a:pt x="13200" y="13745"/>
                  </a:cubicBezTo>
                  <a:close/>
                  <a:moveTo>
                    <a:pt x="16800" y="10800"/>
                  </a:moveTo>
                  <a:lnTo>
                    <a:pt x="19200" y="10800"/>
                  </a:lnTo>
                  <a:lnTo>
                    <a:pt x="19200" y="8836"/>
                  </a:lnTo>
                  <a:lnTo>
                    <a:pt x="16800" y="8836"/>
                  </a:lnTo>
                  <a:cubicBezTo>
                    <a:pt x="16800" y="8836"/>
                    <a:pt x="16800" y="10800"/>
                    <a:pt x="16800" y="10800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13200" y="10800"/>
                  </a:moveTo>
                  <a:lnTo>
                    <a:pt x="15600" y="10800"/>
                  </a:lnTo>
                  <a:lnTo>
                    <a:pt x="15600" y="8836"/>
                  </a:lnTo>
                  <a:lnTo>
                    <a:pt x="13200" y="8836"/>
                  </a:lnTo>
                  <a:cubicBezTo>
                    <a:pt x="13200" y="8836"/>
                    <a:pt x="13200" y="10800"/>
                    <a:pt x="13200" y="10800"/>
                  </a:cubicBezTo>
                  <a:close/>
                  <a:moveTo>
                    <a:pt x="3600" y="2945"/>
                  </a:moveTo>
                  <a:lnTo>
                    <a:pt x="18000" y="2945"/>
                  </a:lnTo>
                  <a:lnTo>
                    <a:pt x="18000" y="6873"/>
                  </a:lnTo>
                  <a:lnTo>
                    <a:pt x="3600" y="6873"/>
                  </a:lnTo>
                  <a:cubicBezTo>
                    <a:pt x="3600" y="6873"/>
                    <a:pt x="3600" y="2945"/>
                    <a:pt x="3600" y="2945"/>
                  </a:cubicBezTo>
                  <a:close/>
                  <a:moveTo>
                    <a:pt x="2400" y="7855"/>
                  </a:moveTo>
                  <a:lnTo>
                    <a:pt x="19200" y="7855"/>
                  </a:lnTo>
                  <a:lnTo>
                    <a:pt x="19200" y="1964"/>
                  </a:lnTo>
                  <a:lnTo>
                    <a:pt x="2400" y="1964"/>
                  </a:lnTo>
                  <a:cubicBezTo>
                    <a:pt x="2400" y="1964"/>
                    <a:pt x="2400" y="7855"/>
                    <a:pt x="2400" y="7855"/>
                  </a:cubicBezTo>
                  <a:close/>
                  <a:moveTo>
                    <a:pt x="9600" y="13745"/>
                  </a:moveTo>
                  <a:lnTo>
                    <a:pt x="12000" y="13745"/>
                  </a:lnTo>
                  <a:lnTo>
                    <a:pt x="12000" y="11782"/>
                  </a:lnTo>
                  <a:lnTo>
                    <a:pt x="9600" y="11782"/>
                  </a:lnTo>
                  <a:cubicBezTo>
                    <a:pt x="9600" y="11782"/>
                    <a:pt x="9600" y="13745"/>
                    <a:pt x="9600" y="13745"/>
                  </a:cubicBezTo>
                  <a:close/>
                  <a:moveTo>
                    <a:pt x="16800" y="19636"/>
                  </a:moveTo>
                  <a:lnTo>
                    <a:pt x="19200" y="19636"/>
                  </a:lnTo>
                  <a:lnTo>
                    <a:pt x="19200" y="11782"/>
                  </a:lnTo>
                  <a:lnTo>
                    <a:pt x="16800" y="11782"/>
                  </a:lnTo>
                  <a:cubicBezTo>
                    <a:pt x="16800" y="11782"/>
                    <a:pt x="16800" y="19636"/>
                    <a:pt x="16800" y="19636"/>
                  </a:cubicBezTo>
                  <a:close/>
                  <a:moveTo>
                    <a:pt x="2400" y="16691"/>
                  </a:moveTo>
                  <a:lnTo>
                    <a:pt x="4800" y="16691"/>
                  </a:lnTo>
                  <a:lnTo>
                    <a:pt x="4800" y="14727"/>
                  </a:lnTo>
                  <a:lnTo>
                    <a:pt x="2400" y="14727"/>
                  </a:lnTo>
                  <a:cubicBezTo>
                    <a:pt x="2400" y="14727"/>
                    <a:pt x="2400" y="16691"/>
                    <a:pt x="2400" y="16691"/>
                  </a:cubicBezTo>
                  <a:close/>
                  <a:moveTo>
                    <a:pt x="2400" y="10800"/>
                  </a:moveTo>
                  <a:lnTo>
                    <a:pt x="4800" y="10800"/>
                  </a:lnTo>
                  <a:lnTo>
                    <a:pt x="4800" y="8836"/>
                  </a:lnTo>
                  <a:lnTo>
                    <a:pt x="2400" y="8836"/>
                  </a:lnTo>
                  <a:cubicBezTo>
                    <a:pt x="2400" y="8836"/>
                    <a:pt x="2400" y="10800"/>
                    <a:pt x="2400" y="10800"/>
                  </a:cubicBezTo>
                  <a:close/>
                  <a:moveTo>
                    <a:pt x="2400" y="19636"/>
                  </a:moveTo>
                  <a:lnTo>
                    <a:pt x="4800" y="19636"/>
                  </a:lnTo>
                  <a:lnTo>
                    <a:pt x="4800" y="17673"/>
                  </a:lnTo>
                  <a:lnTo>
                    <a:pt x="2400" y="17673"/>
                  </a:lnTo>
                  <a:cubicBezTo>
                    <a:pt x="2400" y="17673"/>
                    <a:pt x="2400" y="19636"/>
                    <a:pt x="2400" y="19636"/>
                  </a:cubicBezTo>
                  <a:close/>
                  <a:moveTo>
                    <a:pt x="2400" y="13745"/>
                  </a:moveTo>
                  <a:lnTo>
                    <a:pt x="4800" y="13745"/>
                  </a:lnTo>
                  <a:lnTo>
                    <a:pt x="4800" y="11782"/>
                  </a:lnTo>
                  <a:lnTo>
                    <a:pt x="2400" y="11782"/>
                  </a:lnTo>
                  <a:cubicBezTo>
                    <a:pt x="2400" y="11782"/>
                    <a:pt x="2400" y="13745"/>
                    <a:pt x="2400" y="13745"/>
                  </a:cubicBezTo>
                  <a:close/>
                  <a:moveTo>
                    <a:pt x="9600" y="16691"/>
                  </a:moveTo>
                  <a:lnTo>
                    <a:pt x="12000" y="16691"/>
                  </a:lnTo>
                  <a:lnTo>
                    <a:pt x="12000" y="14727"/>
                  </a:lnTo>
                  <a:lnTo>
                    <a:pt x="9600" y="14727"/>
                  </a:lnTo>
                  <a:cubicBezTo>
                    <a:pt x="9600" y="14727"/>
                    <a:pt x="9600" y="16691"/>
                    <a:pt x="9600" y="16691"/>
                  </a:cubicBezTo>
                  <a:close/>
                  <a:moveTo>
                    <a:pt x="6000" y="19636"/>
                  </a:moveTo>
                  <a:lnTo>
                    <a:pt x="8400" y="19636"/>
                  </a:lnTo>
                  <a:lnTo>
                    <a:pt x="8400" y="17673"/>
                  </a:lnTo>
                  <a:lnTo>
                    <a:pt x="6000" y="17673"/>
                  </a:lnTo>
                  <a:cubicBezTo>
                    <a:pt x="6000" y="17673"/>
                    <a:pt x="6000" y="19636"/>
                    <a:pt x="6000" y="19636"/>
                  </a:cubicBezTo>
                  <a:close/>
                  <a:moveTo>
                    <a:pt x="9600" y="19636"/>
                  </a:moveTo>
                  <a:lnTo>
                    <a:pt x="12000" y="19636"/>
                  </a:lnTo>
                  <a:lnTo>
                    <a:pt x="12000" y="17673"/>
                  </a:lnTo>
                  <a:lnTo>
                    <a:pt x="9600" y="17673"/>
                  </a:lnTo>
                  <a:cubicBezTo>
                    <a:pt x="9600" y="17673"/>
                    <a:pt x="9600" y="19636"/>
                    <a:pt x="9600" y="19636"/>
                  </a:cubicBezTo>
                  <a:close/>
                  <a:moveTo>
                    <a:pt x="6000" y="16691"/>
                  </a:moveTo>
                  <a:lnTo>
                    <a:pt x="8400" y="16691"/>
                  </a:lnTo>
                  <a:lnTo>
                    <a:pt x="8400" y="14727"/>
                  </a:lnTo>
                  <a:lnTo>
                    <a:pt x="6000" y="14727"/>
                  </a:lnTo>
                  <a:cubicBezTo>
                    <a:pt x="6000" y="14727"/>
                    <a:pt x="6000" y="16691"/>
                    <a:pt x="6000" y="16691"/>
                  </a:cubicBezTo>
                  <a:close/>
                  <a:moveTo>
                    <a:pt x="6000" y="13745"/>
                  </a:moveTo>
                  <a:lnTo>
                    <a:pt x="8400" y="13745"/>
                  </a:lnTo>
                  <a:lnTo>
                    <a:pt x="8400" y="11782"/>
                  </a:lnTo>
                  <a:lnTo>
                    <a:pt x="6000" y="11782"/>
                  </a:lnTo>
                  <a:cubicBezTo>
                    <a:pt x="6000" y="11782"/>
                    <a:pt x="6000" y="13745"/>
                    <a:pt x="6000" y="13745"/>
                  </a:cubicBezTo>
                  <a:close/>
                  <a:moveTo>
                    <a:pt x="6000" y="10800"/>
                  </a:moveTo>
                  <a:lnTo>
                    <a:pt x="8400" y="10800"/>
                  </a:lnTo>
                  <a:lnTo>
                    <a:pt x="8400" y="8836"/>
                  </a:lnTo>
                  <a:lnTo>
                    <a:pt x="6000" y="8836"/>
                  </a:lnTo>
                  <a:cubicBezTo>
                    <a:pt x="6000" y="8836"/>
                    <a:pt x="6000" y="10800"/>
                    <a:pt x="6000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Shape 2693">
              <a:extLst>
                <a:ext uri="{FF2B5EF4-FFF2-40B4-BE49-F238E27FC236}">
                  <a16:creationId xmlns:a16="http://schemas.microsoft.com/office/drawing/2014/main" id="{7AF84F0E-31D1-4A8B-9B25-9F3740609E10}"/>
                </a:ext>
              </a:extLst>
            </p:cNvPr>
            <p:cNvSpPr/>
            <p:nvPr/>
          </p:nvSpPr>
          <p:spPr bwMode="gray">
            <a:xfrm>
              <a:off x="951073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1782"/>
                  </a:moveTo>
                  <a:lnTo>
                    <a:pt x="9818" y="11782"/>
                  </a:lnTo>
                  <a:lnTo>
                    <a:pt x="9818" y="13745"/>
                  </a:lnTo>
                  <a:lnTo>
                    <a:pt x="11782" y="13745"/>
                  </a:lnTo>
                  <a:cubicBezTo>
                    <a:pt x="11782" y="13745"/>
                    <a:pt x="11782" y="11782"/>
                    <a:pt x="11782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6691"/>
                  </a:lnTo>
                  <a:lnTo>
                    <a:pt x="7855" y="16691"/>
                  </a:lnTo>
                  <a:cubicBezTo>
                    <a:pt x="7855" y="16691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6691"/>
                  </a:lnTo>
                  <a:lnTo>
                    <a:pt x="11782" y="16691"/>
                  </a:lnTo>
                  <a:cubicBezTo>
                    <a:pt x="11782" y="16691"/>
                    <a:pt x="11782" y="17673"/>
                    <a:pt x="11782" y="17673"/>
                  </a:cubicBezTo>
                  <a:close/>
                  <a:moveTo>
                    <a:pt x="12764" y="8836"/>
                  </a:moveTo>
                  <a:cubicBezTo>
                    <a:pt x="12492" y="8836"/>
                    <a:pt x="12273" y="9056"/>
                    <a:pt x="12273" y="9327"/>
                  </a:cubicBezTo>
                  <a:cubicBezTo>
                    <a:pt x="12273" y="9599"/>
                    <a:pt x="12492" y="9818"/>
                    <a:pt x="12764" y="9818"/>
                  </a:cubicBezTo>
                  <a:cubicBezTo>
                    <a:pt x="13035" y="9818"/>
                    <a:pt x="13255" y="9599"/>
                    <a:pt x="13255" y="9327"/>
                  </a:cubicBezTo>
                  <a:cubicBezTo>
                    <a:pt x="13255" y="9056"/>
                    <a:pt x="13035" y="8836"/>
                    <a:pt x="12764" y="8836"/>
                  </a:cubicBezTo>
                  <a:moveTo>
                    <a:pt x="3927" y="12764"/>
                  </a:moveTo>
                  <a:cubicBezTo>
                    <a:pt x="3927" y="11679"/>
                    <a:pt x="4806" y="10800"/>
                    <a:pt x="5891" y="10800"/>
                  </a:cubicBezTo>
                  <a:cubicBezTo>
                    <a:pt x="6975" y="10800"/>
                    <a:pt x="7855" y="11679"/>
                    <a:pt x="7855" y="12764"/>
                  </a:cubicBezTo>
                  <a:cubicBezTo>
                    <a:pt x="7855" y="13848"/>
                    <a:pt x="6975" y="14727"/>
                    <a:pt x="5891" y="14727"/>
                  </a:cubicBezTo>
                  <a:cubicBezTo>
                    <a:pt x="4806" y="14727"/>
                    <a:pt x="3927" y="13848"/>
                    <a:pt x="3927" y="12764"/>
                  </a:cubicBezTo>
                  <a:moveTo>
                    <a:pt x="17673" y="12764"/>
                  </a:moveTo>
                  <a:cubicBezTo>
                    <a:pt x="17673" y="13848"/>
                    <a:pt x="16794" y="14727"/>
                    <a:pt x="15709" y="14727"/>
                  </a:cubicBezTo>
                  <a:cubicBezTo>
                    <a:pt x="14625" y="14727"/>
                    <a:pt x="13745" y="13848"/>
                    <a:pt x="13745" y="12764"/>
                  </a:cubicBezTo>
                  <a:cubicBezTo>
                    <a:pt x="13745" y="11679"/>
                    <a:pt x="14625" y="10800"/>
                    <a:pt x="15709" y="10800"/>
                  </a:cubicBezTo>
                  <a:cubicBezTo>
                    <a:pt x="16794" y="10800"/>
                    <a:pt x="17673" y="11679"/>
                    <a:pt x="17673" y="12764"/>
                  </a:cubicBezTo>
                  <a:moveTo>
                    <a:pt x="20618" y="8836"/>
                  </a:moveTo>
                  <a:lnTo>
                    <a:pt x="19145" y="8836"/>
                  </a:lnTo>
                  <a:cubicBezTo>
                    <a:pt x="18874" y="8836"/>
                    <a:pt x="18655" y="9056"/>
                    <a:pt x="18655" y="9327"/>
                  </a:cubicBezTo>
                  <a:cubicBezTo>
                    <a:pt x="18655" y="9599"/>
                    <a:pt x="18874" y="9818"/>
                    <a:pt x="19145" y="9818"/>
                  </a:cubicBezTo>
                  <a:lnTo>
                    <a:pt x="20618" y="9818"/>
                  </a:lnTo>
                  <a:lnTo>
                    <a:pt x="20618" y="12273"/>
                  </a:lnTo>
                  <a:lnTo>
                    <a:pt x="18605" y="12273"/>
                  </a:lnTo>
                  <a:cubicBezTo>
                    <a:pt x="18370" y="10881"/>
                    <a:pt x="17167" y="9818"/>
                    <a:pt x="15709" y="9818"/>
                  </a:cubicBezTo>
                  <a:cubicBezTo>
                    <a:pt x="14082" y="9818"/>
                    <a:pt x="12764" y="11137"/>
                    <a:pt x="12764" y="12764"/>
                  </a:cubicBezTo>
                  <a:cubicBezTo>
                    <a:pt x="12764" y="14390"/>
                    <a:pt x="14082" y="15709"/>
                    <a:pt x="15709" y="15709"/>
                  </a:cubicBezTo>
                  <a:cubicBezTo>
                    <a:pt x="17167" y="15709"/>
                    <a:pt x="18370" y="14646"/>
                    <a:pt x="18605" y="13255"/>
                  </a:cubicBezTo>
                  <a:lnTo>
                    <a:pt x="20618" y="13255"/>
                  </a:lnTo>
                  <a:lnTo>
                    <a:pt x="20618" y="18655"/>
                  </a:lnTo>
                  <a:lnTo>
                    <a:pt x="982" y="18655"/>
                  </a:lnTo>
                  <a:lnTo>
                    <a:pt x="982" y="13255"/>
                  </a:lnTo>
                  <a:lnTo>
                    <a:pt x="2995" y="13255"/>
                  </a:lnTo>
                  <a:cubicBezTo>
                    <a:pt x="3230" y="14646"/>
                    <a:pt x="4433" y="15709"/>
                    <a:pt x="5891" y="15709"/>
                  </a:cubicBezTo>
                  <a:cubicBezTo>
                    <a:pt x="7517" y="15709"/>
                    <a:pt x="8836" y="14390"/>
                    <a:pt x="8836" y="12764"/>
                  </a:cubicBezTo>
                  <a:cubicBezTo>
                    <a:pt x="8836" y="11137"/>
                    <a:pt x="7517" y="9818"/>
                    <a:pt x="5891" y="9818"/>
                  </a:cubicBezTo>
                  <a:cubicBezTo>
                    <a:pt x="4433" y="9818"/>
                    <a:pt x="3230" y="10881"/>
                    <a:pt x="2995" y="12273"/>
                  </a:cubicBezTo>
                  <a:lnTo>
                    <a:pt x="982" y="12273"/>
                  </a:lnTo>
                  <a:lnTo>
                    <a:pt x="982" y="9818"/>
                  </a:lnTo>
                  <a:lnTo>
                    <a:pt x="2455" y="9818"/>
                  </a:lnTo>
                  <a:cubicBezTo>
                    <a:pt x="2726" y="9818"/>
                    <a:pt x="2945" y="9599"/>
                    <a:pt x="2945" y="9327"/>
                  </a:cubicBezTo>
                  <a:cubicBezTo>
                    <a:pt x="2945" y="9056"/>
                    <a:pt x="2726" y="8836"/>
                    <a:pt x="2455" y="8836"/>
                  </a:cubicBezTo>
                  <a:lnTo>
                    <a:pt x="982" y="8836"/>
                  </a:lnTo>
                  <a:lnTo>
                    <a:pt x="982" y="7855"/>
                  </a:lnTo>
                  <a:cubicBezTo>
                    <a:pt x="982" y="7313"/>
                    <a:pt x="1421" y="6873"/>
                    <a:pt x="1964" y="6873"/>
                  </a:cubicBez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8836"/>
                    <a:pt x="20618" y="8836"/>
                  </a:cubicBezTo>
                  <a:close/>
                  <a:moveTo>
                    <a:pt x="19636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20618" y="19636"/>
                  </a:lnTo>
                  <a:cubicBezTo>
                    <a:pt x="20618" y="20178"/>
                    <a:pt x="20178" y="20618"/>
                    <a:pt x="19636" y="20618"/>
                  </a:cubicBezTo>
                  <a:moveTo>
                    <a:pt x="5891" y="4909"/>
                  </a:moveTo>
                  <a:lnTo>
                    <a:pt x="15709" y="4909"/>
                  </a:lnTo>
                  <a:lnTo>
                    <a:pt x="15709" y="5891"/>
                  </a:lnTo>
                  <a:lnTo>
                    <a:pt x="5891" y="5891"/>
                  </a:lnTo>
                  <a:cubicBezTo>
                    <a:pt x="5891" y="5891"/>
                    <a:pt x="5891" y="4909"/>
                    <a:pt x="5891" y="4909"/>
                  </a:cubicBezTo>
                  <a:close/>
                  <a:moveTo>
                    <a:pt x="19636" y="5891"/>
                  </a:moveTo>
                  <a:lnTo>
                    <a:pt x="19636" y="2855"/>
                  </a:lnTo>
                  <a:cubicBezTo>
                    <a:pt x="20207" y="2653"/>
                    <a:pt x="20618" y="2113"/>
                    <a:pt x="20618" y="1473"/>
                  </a:cubicBezTo>
                  <a:cubicBezTo>
                    <a:pt x="20618" y="659"/>
                    <a:pt x="19959" y="0"/>
                    <a:pt x="19145" y="0"/>
                  </a:cubicBezTo>
                  <a:cubicBezTo>
                    <a:pt x="18332" y="0"/>
                    <a:pt x="17673" y="659"/>
                    <a:pt x="17673" y="1473"/>
                  </a:cubicBezTo>
                  <a:cubicBezTo>
                    <a:pt x="17673" y="2113"/>
                    <a:pt x="18084" y="2653"/>
                    <a:pt x="18655" y="2855"/>
                  </a:cubicBezTo>
                  <a:lnTo>
                    <a:pt x="18655" y="5891"/>
                  </a:lnTo>
                  <a:lnTo>
                    <a:pt x="16691" y="5891"/>
                  </a:lnTo>
                  <a:lnTo>
                    <a:pt x="16691" y="4909"/>
                  </a:lnTo>
                  <a:cubicBezTo>
                    <a:pt x="16691" y="4367"/>
                    <a:pt x="16251" y="3927"/>
                    <a:pt x="15709" y="3927"/>
                  </a:cubicBezTo>
                  <a:lnTo>
                    <a:pt x="5891" y="3927"/>
                  </a:lnTo>
                  <a:cubicBezTo>
                    <a:pt x="5348" y="3927"/>
                    <a:pt x="4909" y="4367"/>
                    <a:pt x="4909" y="4909"/>
                  </a:cubicBezTo>
                  <a:lnTo>
                    <a:pt x="4909" y="5891"/>
                  </a:ln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0800" y="9818"/>
                  </a:moveTo>
                  <a:cubicBezTo>
                    <a:pt x="11071" y="9818"/>
                    <a:pt x="11291" y="9599"/>
                    <a:pt x="11291" y="9327"/>
                  </a:cubicBezTo>
                  <a:cubicBezTo>
                    <a:pt x="11291" y="9056"/>
                    <a:pt x="11071" y="8836"/>
                    <a:pt x="10800" y="8836"/>
                  </a:cubicBezTo>
                  <a:cubicBezTo>
                    <a:pt x="10529" y="8836"/>
                    <a:pt x="10309" y="9056"/>
                    <a:pt x="10309" y="9327"/>
                  </a:cubicBezTo>
                  <a:cubicBezTo>
                    <a:pt x="10309" y="9599"/>
                    <a:pt x="10529" y="9818"/>
                    <a:pt x="10800" y="9818"/>
                  </a:cubicBezTo>
                  <a:moveTo>
                    <a:pt x="9327" y="9327"/>
                  </a:moveTo>
                  <a:cubicBezTo>
                    <a:pt x="9327" y="9056"/>
                    <a:pt x="9108" y="8836"/>
                    <a:pt x="8836" y="8836"/>
                  </a:cubicBezTo>
                  <a:cubicBezTo>
                    <a:pt x="8565" y="8836"/>
                    <a:pt x="8345" y="9056"/>
                    <a:pt x="8345" y="9327"/>
                  </a:cubicBezTo>
                  <a:cubicBezTo>
                    <a:pt x="8345" y="9599"/>
                    <a:pt x="8565" y="9818"/>
                    <a:pt x="8836" y="9818"/>
                  </a:cubicBezTo>
                  <a:cubicBezTo>
                    <a:pt x="9108" y="9818"/>
                    <a:pt x="9327" y="9599"/>
                    <a:pt x="9327" y="93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Shape 2694">
              <a:extLst>
                <a:ext uri="{FF2B5EF4-FFF2-40B4-BE49-F238E27FC236}">
                  <a16:creationId xmlns:a16="http://schemas.microsoft.com/office/drawing/2014/main" id="{3E838ECC-723D-4461-8DAD-CB56155A4646}"/>
                </a:ext>
              </a:extLst>
            </p:cNvPr>
            <p:cNvSpPr/>
            <p:nvPr/>
          </p:nvSpPr>
          <p:spPr bwMode="gray">
            <a:xfrm>
              <a:off x="1006244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38" y="14727"/>
                  </a:moveTo>
                  <a:cubicBezTo>
                    <a:pt x="13628" y="14411"/>
                    <a:pt x="13690" y="14083"/>
                    <a:pt x="13721" y="13745"/>
                  </a:cubicBezTo>
                  <a:lnTo>
                    <a:pt x="2970" y="13745"/>
                  </a:lnTo>
                  <a:cubicBezTo>
                    <a:pt x="3001" y="14083"/>
                    <a:pt x="3063" y="14411"/>
                    <a:pt x="3153" y="14727"/>
                  </a:cubicBezTo>
                  <a:cubicBezTo>
                    <a:pt x="3153" y="14727"/>
                    <a:pt x="13538" y="14727"/>
                    <a:pt x="13538" y="14727"/>
                  </a:cubicBezTo>
                  <a:close/>
                  <a:moveTo>
                    <a:pt x="18655" y="12764"/>
                  </a:moveTo>
                  <a:cubicBezTo>
                    <a:pt x="18383" y="12764"/>
                    <a:pt x="18164" y="12984"/>
                    <a:pt x="18164" y="13255"/>
                  </a:cubicBezTo>
                  <a:cubicBezTo>
                    <a:pt x="18164" y="13526"/>
                    <a:pt x="18383" y="13745"/>
                    <a:pt x="18655" y="13745"/>
                  </a:cubicBezTo>
                  <a:cubicBezTo>
                    <a:pt x="18926" y="13745"/>
                    <a:pt x="19145" y="13526"/>
                    <a:pt x="19145" y="13255"/>
                  </a:cubicBezTo>
                  <a:cubicBezTo>
                    <a:pt x="19145" y="12984"/>
                    <a:pt x="18926" y="12764"/>
                    <a:pt x="18655" y="12764"/>
                  </a:cubicBezTo>
                  <a:moveTo>
                    <a:pt x="18655" y="8836"/>
                  </a:moveTo>
                  <a:cubicBezTo>
                    <a:pt x="18112" y="8836"/>
                    <a:pt x="17673" y="9276"/>
                    <a:pt x="17673" y="9818"/>
                  </a:cubicBezTo>
                  <a:cubicBezTo>
                    <a:pt x="17673" y="10360"/>
                    <a:pt x="18112" y="10800"/>
                    <a:pt x="18655" y="10800"/>
                  </a:cubicBezTo>
                  <a:cubicBezTo>
                    <a:pt x="19197" y="10800"/>
                    <a:pt x="19636" y="10360"/>
                    <a:pt x="19636" y="9818"/>
                  </a:cubicBezTo>
                  <a:cubicBezTo>
                    <a:pt x="19636" y="9276"/>
                    <a:pt x="19197" y="8836"/>
                    <a:pt x="18655" y="8836"/>
                  </a:cubicBezTo>
                  <a:moveTo>
                    <a:pt x="20618" y="19636"/>
                  </a:moveTo>
                  <a:cubicBezTo>
                    <a:pt x="20618" y="20178"/>
                    <a:pt x="20179" y="20618"/>
                    <a:pt x="19636" y="20618"/>
                  </a:cubicBezTo>
                  <a:lnTo>
                    <a:pt x="16691" y="20618"/>
                  </a:lnTo>
                  <a:lnTo>
                    <a:pt x="16691" y="5891"/>
                  </a:lnTo>
                  <a:lnTo>
                    <a:pt x="19636" y="5891"/>
                  </a:lnTo>
                  <a:cubicBezTo>
                    <a:pt x="20179" y="5891"/>
                    <a:pt x="20618" y="6331"/>
                    <a:pt x="20618" y="6873"/>
                  </a:cubicBezTo>
                  <a:cubicBezTo>
                    <a:pt x="20618" y="6873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6873"/>
                  </a:lnTo>
                  <a:cubicBezTo>
                    <a:pt x="982" y="6331"/>
                    <a:pt x="1421" y="5891"/>
                    <a:pt x="1964" y="5891"/>
                  </a:cubicBezTo>
                  <a:lnTo>
                    <a:pt x="15709" y="5891"/>
                  </a:lnTo>
                  <a:cubicBezTo>
                    <a:pt x="15709" y="5891"/>
                    <a:pt x="15709" y="20618"/>
                    <a:pt x="15709" y="20618"/>
                  </a:cubicBezTo>
                  <a:close/>
                  <a:moveTo>
                    <a:pt x="19636" y="4909"/>
                  </a:moveTo>
                  <a:lnTo>
                    <a:pt x="4909" y="4909"/>
                  </a:lnTo>
                  <a:lnTo>
                    <a:pt x="4909" y="2855"/>
                  </a:lnTo>
                  <a:cubicBezTo>
                    <a:pt x="5480" y="2653"/>
                    <a:pt x="5891" y="2113"/>
                    <a:pt x="5891" y="1473"/>
                  </a:cubicBezTo>
                  <a:cubicBezTo>
                    <a:pt x="5891" y="659"/>
                    <a:pt x="5231" y="0"/>
                    <a:pt x="4418" y="0"/>
                  </a:cubicBezTo>
                  <a:cubicBezTo>
                    <a:pt x="3605" y="0"/>
                    <a:pt x="2945" y="659"/>
                    <a:pt x="2945" y="1473"/>
                  </a:cubicBezTo>
                  <a:cubicBezTo>
                    <a:pt x="2945" y="2113"/>
                    <a:pt x="3357" y="2653"/>
                    <a:pt x="3927" y="2855"/>
                  </a:cubicBezTo>
                  <a:lnTo>
                    <a:pt x="3927" y="4909"/>
                  </a:lnTo>
                  <a:lnTo>
                    <a:pt x="1964" y="4909"/>
                  </a:lnTo>
                  <a:cubicBezTo>
                    <a:pt x="879" y="4909"/>
                    <a:pt x="0" y="5788"/>
                    <a:pt x="0" y="68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6873"/>
                  </a:lnTo>
                  <a:cubicBezTo>
                    <a:pt x="21600" y="5788"/>
                    <a:pt x="20721" y="4909"/>
                    <a:pt x="19636" y="4909"/>
                  </a:cubicBezTo>
                  <a:moveTo>
                    <a:pt x="18655" y="15709"/>
                  </a:moveTo>
                  <a:cubicBezTo>
                    <a:pt x="18383" y="15709"/>
                    <a:pt x="18164" y="15929"/>
                    <a:pt x="18164" y="16200"/>
                  </a:cubicBezTo>
                  <a:cubicBezTo>
                    <a:pt x="18164" y="16471"/>
                    <a:pt x="18383" y="16691"/>
                    <a:pt x="18655" y="16691"/>
                  </a:cubicBezTo>
                  <a:cubicBezTo>
                    <a:pt x="18926" y="16691"/>
                    <a:pt x="19145" y="16471"/>
                    <a:pt x="19145" y="16200"/>
                  </a:cubicBezTo>
                  <a:cubicBezTo>
                    <a:pt x="19145" y="15929"/>
                    <a:pt x="18926" y="15709"/>
                    <a:pt x="18655" y="15709"/>
                  </a:cubicBezTo>
                  <a:moveTo>
                    <a:pt x="4199" y="16691"/>
                  </a:moveTo>
                  <a:lnTo>
                    <a:pt x="12492" y="16691"/>
                  </a:lnTo>
                  <a:cubicBezTo>
                    <a:pt x="12744" y="16387"/>
                    <a:pt x="12971" y="16064"/>
                    <a:pt x="13152" y="15709"/>
                  </a:cubicBezTo>
                  <a:lnTo>
                    <a:pt x="3539" y="15709"/>
                  </a:lnTo>
                  <a:cubicBezTo>
                    <a:pt x="3720" y="16064"/>
                    <a:pt x="3947" y="16387"/>
                    <a:pt x="4199" y="16691"/>
                  </a:cubicBezTo>
                  <a:moveTo>
                    <a:pt x="8345" y="7855"/>
                  </a:moveTo>
                  <a:cubicBezTo>
                    <a:pt x="7196" y="7855"/>
                    <a:pt x="6138" y="8224"/>
                    <a:pt x="5263" y="8836"/>
                  </a:cubicBezTo>
                  <a:lnTo>
                    <a:pt x="11428" y="8836"/>
                  </a:lnTo>
                  <a:cubicBezTo>
                    <a:pt x="10553" y="8224"/>
                    <a:pt x="9495" y="7855"/>
                    <a:pt x="8345" y="7855"/>
                  </a:cubicBezTo>
                  <a:moveTo>
                    <a:pt x="8345" y="18655"/>
                  </a:moveTo>
                  <a:cubicBezTo>
                    <a:pt x="9495" y="18655"/>
                    <a:pt x="10553" y="18285"/>
                    <a:pt x="11428" y="17673"/>
                  </a:cubicBezTo>
                  <a:lnTo>
                    <a:pt x="5263" y="17673"/>
                  </a:lnTo>
                  <a:cubicBezTo>
                    <a:pt x="6138" y="18285"/>
                    <a:pt x="7196" y="18655"/>
                    <a:pt x="8345" y="18655"/>
                  </a:cubicBezTo>
                  <a:moveTo>
                    <a:pt x="12492" y="9818"/>
                  </a:moveTo>
                  <a:lnTo>
                    <a:pt x="4199" y="9818"/>
                  </a:lnTo>
                  <a:cubicBezTo>
                    <a:pt x="3947" y="10122"/>
                    <a:pt x="3720" y="10446"/>
                    <a:pt x="3539" y="10800"/>
                  </a:cubicBezTo>
                  <a:lnTo>
                    <a:pt x="13152" y="10800"/>
                  </a:lnTo>
                  <a:cubicBezTo>
                    <a:pt x="12971" y="10446"/>
                    <a:pt x="12744" y="10122"/>
                    <a:pt x="12492" y="9818"/>
                  </a:cubicBezTo>
                  <a:moveTo>
                    <a:pt x="13538" y="11782"/>
                  </a:moveTo>
                  <a:lnTo>
                    <a:pt x="3153" y="11782"/>
                  </a:lnTo>
                  <a:cubicBezTo>
                    <a:pt x="3063" y="12098"/>
                    <a:pt x="3001" y="12427"/>
                    <a:pt x="2970" y="12764"/>
                  </a:cubicBezTo>
                  <a:lnTo>
                    <a:pt x="13721" y="12764"/>
                  </a:lnTo>
                  <a:cubicBezTo>
                    <a:pt x="13690" y="12427"/>
                    <a:pt x="13628" y="12098"/>
                    <a:pt x="1353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Shape 2695">
              <a:extLst>
                <a:ext uri="{FF2B5EF4-FFF2-40B4-BE49-F238E27FC236}">
                  <a16:creationId xmlns:a16="http://schemas.microsoft.com/office/drawing/2014/main" id="{A5EFF1B8-2812-47F4-9FA8-DB7E2D951DCD}"/>
                </a:ext>
              </a:extLst>
            </p:cNvPr>
            <p:cNvSpPr/>
            <p:nvPr/>
          </p:nvSpPr>
          <p:spPr bwMode="gray">
            <a:xfrm>
              <a:off x="1061416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5218"/>
                  </a:moveTo>
                  <a:cubicBezTo>
                    <a:pt x="14727" y="15490"/>
                    <a:pt x="14947" y="15709"/>
                    <a:pt x="15218" y="15709"/>
                  </a:cubicBezTo>
                  <a:cubicBezTo>
                    <a:pt x="15490" y="15709"/>
                    <a:pt x="15709" y="15490"/>
                    <a:pt x="15709" y="15218"/>
                  </a:cubicBezTo>
                  <a:cubicBezTo>
                    <a:pt x="15709" y="14947"/>
                    <a:pt x="15490" y="14727"/>
                    <a:pt x="15218" y="14727"/>
                  </a:cubicBezTo>
                  <a:cubicBezTo>
                    <a:pt x="14947" y="14727"/>
                    <a:pt x="14727" y="14947"/>
                    <a:pt x="14727" y="15218"/>
                  </a:cubicBezTo>
                  <a:moveTo>
                    <a:pt x="20618" y="12764"/>
                  </a:moveTo>
                  <a:lnTo>
                    <a:pt x="17673" y="12764"/>
                  </a:lnTo>
                  <a:lnTo>
                    <a:pt x="17673" y="3927"/>
                  </a:lnTo>
                  <a:lnTo>
                    <a:pt x="3927" y="3927"/>
                  </a:lnTo>
                  <a:lnTo>
                    <a:pt x="3927" y="9510"/>
                  </a:lnTo>
                  <a:cubicBezTo>
                    <a:pt x="3308" y="10442"/>
                    <a:pt x="2945" y="11560"/>
                    <a:pt x="2945" y="12764"/>
                  </a:cubicBezTo>
                  <a:lnTo>
                    <a:pt x="982" y="12764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2764"/>
                    <a:pt x="20618" y="12764"/>
                  </a:cubicBezTo>
                  <a:close/>
                  <a:moveTo>
                    <a:pt x="9327" y="12764"/>
                  </a:moveTo>
                  <a:cubicBezTo>
                    <a:pt x="9327" y="13035"/>
                    <a:pt x="9108" y="13255"/>
                    <a:pt x="8836" y="13255"/>
                  </a:cubicBezTo>
                  <a:cubicBezTo>
                    <a:pt x="8565" y="13255"/>
                    <a:pt x="8345" y="13035"/>
                    <a:pt x="8345" y="12764"/>
                  </a:cubicBezTo>
                  <a:cubicBezTo>
                    <a:pt x="8345" y="12493"/>
                    <a:pt x="8565" y="12273"/>
                    <a:pt x="8836" y="12273"/>
                  </a:cubicBezTo>
                  <a:cubicBezTo>
                    <a:pt x="9108" y="12273"/>
                    <a:pt x="9327" y="12493"/>
                    <a:pt x="9327" y="12764"/>
                  </a:cubicBezTo>
                  <a:moveTo>
                    <a:pt x="8836" y="7855"/>
                  </a:moveTo>
                  <a:cubicBezTo>
                    <a:pt x="10295" y="7855"/>
                    <a:pt x="11601" y="8494"/>
                    <a:pt x="12500" y="9504"/>
                  </a:cubicBezTo>
                  <a:lnTo>
                    <a:pt x="10301" y="12846"/>
                  </a:lnTo>
                  <a:cubicBezTo>
                    <a:pt x="10302" y="12818"/>
                    <a:pt x="10309" y="12792"/>
                    <a:pt x="10309" y="12764"/>
                  </a:cubicBezTo>
                  <a:cubicBezTo>
                    <a:pt x="10309" y="11951"/>
                    <a:pt x="9649" y="11291"/>
                    <a:pt x="8836" y="11291"/>
                  </a:cubicBezTo>
                  <a:cubicBezTo>
                    <a:pt x="8023" y="11291"/>
                    <a:pt x="7364" y="11951"/>
                    <a:pt x="7364" y="12764"/>
                  </a:cubicBezTo>
                  <a:cubicBezTo>
                    <a:pt x="7364" y="13577"/>
                    <a:pt x="8023" y="14236"/>
                    <a:pt x="8836" y="14236"/>
                  </a:cubicBezTo>
                  <a:cubicBezTo>
                    <a:pt x="9072" y="14236"/>
                    <a:pt x="9293" y="14175"/>
                    <a:pt x="9491" y="14076"/>
                  </a:cubicBezTo>
                  <a:lnTo>
                    <a:pt x="8925" y="14938"/>
                  </a:lnTo>
                  <a:lnTo>
                    <a:pt x="8639" y="14741"/>
                  </a:lnTo>
                  <a:lnTo>
                    <a:pt x="7962" y="16664"/>
                  </a:lnTo>
                  <a:lnTo>
                    <a:pt x="8494" y="17043"/>
                  </a:lnTo>
                  <a:lnTo>
                    <a:pt x="8881" y="16700"/>
                  </a:lnTo>
                  <a:lnTo>
                    <a:pt x="10064" y="16936"/>
                  </a:lnTo>
                  <a:lnTo>
                    <a:pt x="9561" y="16099"/>
                  </a:lnTo>
                  <a:lnTo>
                    <a:pt x="10020" y="15694"/>
                  </a:lnTo>
                  <a:lnTo>
                    <a:pt x="9423" y="15282"/>
                  </a:lnTo>
                  <a:lnTo>
                    <a:pt x="9736" y="15491"/>
                  </a:lnTo>
                  <a:lnTo>
                    <a:pt x="13114" y="10359"/>
                  </a:lnTo>
                  <a:cubicBezTo>
                    <a:pt x="13514" y="11069"/>
                    <a:pt x="13745" y="11889"/>
                    <a:pt x="13745" y="12764"/>
                  </a:cubicBezTo>
                  <a:cubicBezTo>
                    <a:pt x="13745" y="15475"/>
                    <a:pt x="11548" y="17673"/>
                    <a:pt x="8836" y="17673"/>
                  </a:cubicBezTo>
                  <a:cubicBezTo>
                    <a:pt x="6125" y="17673"/>
                    <a:pt x="3927" y="15475"/>
                    <a:pt x="3927" y="12764"/>
                  </a:cubicBezTo>
                  <a:cubicBezTo>
                    <a:pt x="3927" y="10053"/>
                    <a:pt x="6125" y="7855"/>
                    <a:pt x="8836" y="7855"/>
                  </a:cubicBezTo>
                  <a:moveTo>
                    <a:pt x="14727" y="5891"/>
                  </a:moveTo>
                  <a:cubicBezTo>
                    <a:pt x="14186" y="5891"/>
                    <a:pt x="13745" y="6331"/>
                    <a:pt x="13745" y="6873"/>
                  </a:cubicBezTo>
                  <a:cubicBezTo>
                    <a:pt x="13745" y="7062"/>
                    <a:pt x="13802" y="7237"/>
                    <a:pt x="13894" y="7386"/>
                  </a:cubicBezTo>
                  <a:lnTo>
                    <a:pt x="13057" y="8659"/>
                  </a:lnTo>
                  <a:cubicBezTo>
                    <a:pt x="11987" y="7558"/>
                    <a:pt x="10492" y="6873"/>
                    <a:pt x="8836" y="6873"/>
                  </a:cubicBezTo>
                  <a:cubicBezTo>
                    <a:pt x="7325" y="6873"/>
                    <a:pt x="5952" y="7447"/>
                    <a:pt x="4909" y="8382"/>
                  </a:cubicBezTo>
                  <a:lnTo>
                    <a:pt x="4909" y="4909"/>
                  </a:lnTo>
                  <a:lnTo>
                    <a:pt x="16691" y="4909"/>
                  </a:lnTo>
                  <a:lnTo>
                    <a:pt x="16691" y="16691"/>
                  </a:lnTo>
                  <a:lnTo>
                    <a:pt x="13219" y="16691"/>
                  </a:lnTo>
                  <a:cubicBezTo>
                    <a:pt x="14154" y="15648"/>
                    <a:pt x="14727" y="14275"/>
                    <a:pt x="14727" y="12764"/>
                  </a:cubicBezTo>
                  <a:cubicBezTo>
                    <a:pt x="14727" y="11536"/>
                    <a:pt x="14351" y="10398"/>
                    <a:pt x="13709" y="9453"/>
                  </a:cubicBezTo>
                  <a:lnTo>
                    <a:pt x="14764" y="7851"/>
                  </a:lnTo>
                  <a:cubicBezTo>
                    <a:pt x="15288" y="7832"/>
                    <a:pt x="15709" y="7402"/>
                    <a:pt x="15709" y="6873"/>
                  </a:cubicBezTo>
                  <a:cubicBezTo>
                    <a:pt x="15709" y="6331"/>
                    <a:pt x="15269" y="5891"/>
                    <a:pt x="14727" y="5891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3745"/>
                  </a:lnTo>
                  <a:lnTo>
                    <a:pt x="3034" y="13745"/>
                  </a:lnTo>
                  <a:cubicBezTo>
                    <a:pt x="3502" y="16531"/>
                    <a:pt x="5918" y="18655"/>
                    <a:pt x="8836" y="18655"/>
                  </a:cubicBezTo>
                  <a:cubicBezTo>
                    <a:pt x="10040" y="18655"/>
                    <a:pt x="11158" y="18292"/>
                    <a:pt x="12090" y="17673"/>
                  </a:cubicBezTo>
                  <a:lnTo>
                    <a:pt x="17673" y="17673"/>
                  </a:lnTo>
                  <a:lnTo>
                    <a:pt x="17673" y="13745"/>
                  </a:lnTo>
                  <a:lnTo>
                    <a:pt x="20618" y="13745"/>
                  </a:ln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Shape 2696">
              <a:extLst>
                <a:ext uri="{FF2B5EF4-FFF2-40B4-BE49-F238E27FC236}">
                  <a16:creationId xmlns:a16="http://schemas.microsoft.com/office/drawing/2014/main" id="{6BA51B00-8189-4DDF-99EC-45403514F9FC}"/>
                </a:ext>
              </a:extLst>
            </p:cNvPr>
            <p:cNvSpPr/>
            <p:nvPr/>
          </p:nvSpPr>
          <p:spPr bwMode="gray">
            <a:xfrm>
              <a:off x="11165877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19636"/>
                  </a:moveTo>
                  <a:cubicBezTo>
                    <a:pt x="12764" y="20178"/>
                    <a:pt x="12324" y="20618"/>
                    <a:pt x="11782" y="20618"/>
                  </a:cubicBezTo>
                  <a:lnTo>
                    <a:pt x="9818" y="20618"/>
                  </a:lnTo>
                  <a:cubicBezTo>
                    <a:pt x="9276" y="20618"/>
                    <a:pt x="8836" y="20178"/>
                    <a:pt x="8836" y="19636"/>
                  </a:cubicBezTo>
                  <a:lnTo>
                    <a:pt x="8836" y="17673"/>
                  </a:lnTo>
                  <a:cubicBezTo>
                    <a:pt x="8836" y="1713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7131"/>
                    <a:pt x="12764" y="17673"/>
                  </a:cubicBezTo>
                  <a:cubicBezTo>
                    <a:pt x="12764" y="17673"/>
                    <a:pt x="12764" y="19636"/>
                    <a:pt x="12764" y="19636"/>
                  </a:cubicBezTo>
                  <a:close/>
                  <a:moveTo>
                    <a:pt x="11782" y="15709"/>
                  </a:moveTo>
                  <a:lnTo>
                    <a:pt x="9818" y="15709"/>
                  </a:lnTo>
                  <a:cubicBezTo>
                    <a:pt x="8734" y="15709"/>
                    <a:pt x="7855" y="16588"/>
                    <a:pt x="7855" y="17673"/>
                  </a:cubicBezTo>
                  <a:lnTo>
                    <a:pt x="7855" y="19636"/>
                  </a:lnTo>
                  <a:cubicBezTo>
                    <a:pt x="7855" y="20721"/>
                    <a:pt x="8734" y="21600"/>
                    <a:pt x="9818" y="21600"/>
                  </a:cubicBezTo>
                  <a:lnTo>
                    <a:pt x="11782" y="21600"/>
                  </a:lnTo>
                  <a:cubicBezTo>
                    <a:pt x="12866" y="21600"/>
                    <a:pt x="13745" y="20721"/>
                    <a:pt x="13745" y="19636"/>
                  </a:cubicBezTo>
                  <a:lnTo>
                    <a:pt x="13745" y="17673"/>
                  </a:lnTo>
                  <a:cubicBezTo>
                    <a:pt x="13745" y="16588"/>
                    <a:pt x="12866" y="15709"/>
                    <a:pt x="11782" y="15709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7673" y="20618"/>
                  </a:lnTo>
                  <a:cubicBezTo>
                    <a:pt x="17131" y="20618"/>
                    <a:pt x="16691" y="20178"/>
                    <a:pt x="16691" y="19636"/>
                  </a:cubicBezTo>
                  <a:lnTo>
                    <a:pt x="16691" y="17673"/>
                  </a:lnTo>
                  <a:cubicBezTo>
                    <a:pt x="16691" y="17131"/>
                    <a:pt x="17131" y="16691"/>
                    <a:pt x="17673" y="16691"/>
                  </a:cubicBezTo>
                  <a:lnTo>
                    <a:pt x="19636" y="16691"/>
                  </a:lnTo>
                  <a:cubicBezTo>
                    <a:pt x="20178" y="16691"/>
                    <a:pt x="20618" y="17131"/>
                    <a:pt x="20618" y="17673"/>
                  </a:cubicBez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19636" y="15709"/>
                  </a:moveTo>
                  <a:lnTo>
                    <a:pt x="17673" y="15709"/>
                  </a:lnTo>
                  <a:cubicBezTo>
                    <a:pt x="16588" y="15709"/>
                    <a:pt x="15709" y="16588"/>
                    <a:pt x="15709" y="17673"/>
                  </a:cubicBezTo>
                  <a:lnTo>
                    <a:pt x="15709" y="19636"/>
                  </a:lnTo>
                  <a:cubicBezTo>
                    <a:pt x="15709" y="20721"/>
                    <a:pt x="16588" y="21600"/>
                    <a:pt x="17673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7673"/>
                  </a:lnTo>
                  <a:cubicBezTo>
                    <a:pt x="21600" y="16588"/>
                    <a:pt x="20721" y="15709"/>
                    <a:pt x="19636" y="15709"/>
                  </a:cubicBezTo>
                  <a:moveTo>
                    <a:pt x="4909" y="19636"/>
                  </a:moveTo>
                  <a:cubicBezTo>
                    <a:pt x="4909" y="20178"/>
                    <a:pt x="4469" y="20618"/>
                    <a:pt x="3927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cubicBezTo>
                    <a:pt x="982" y="17131"/>
                    <a:pt x="1422" y="16691"/>
                    <a:pt x="1964" y="16691"/>
                  </a:cubicBezTo>
                  <a:lnTo>
                    <a:pt x="3927" y="16691"/>
                  </a:lnTo>
                  <a:cubicBezTo>
                    <a:pt x="4469" y="16691"/>
                    <a:pt x="4909" y="17131"/>
                    <a:pt x="4909" y="17673"/>
                  </a:cubicBezTo>
                  <a:cubicBezTo>
                    <a:pt x="4909" y="17673"/>
                    <a:pt x="4909" y="19636"/>
                    <a:pt x="4909" y="19636"/>
                  </a:cubicBezTo>
                  <a:close/>
                  <a:moveTo>
                    <a:pt x="3927" y="15709"/>
                  </a:moveTo>
                  <a:lnTo>
                    <a:pt x="1964" y="15709"/>
                  </a:lnTo>
                  <a:cubicBezTo>
                    <a:pt x="879" y="15709"/>
                    <a:pt x="0" y="16588"/>
                    <a:pt x="0" y="176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3927" y="21600"/>
                  </a:lnTo>
                  <a:cubicBezTo>
                    <a:pt x="5012" y="21600"/>
                    <a:pt x="5891" y="20721"/>
                    <a:pt x="5891" y="19636"/>
                  </a:cubicBezTo>
                  <a:lnTo>
                    <a:pt x="5891" y="17673"/>
                  </a:lnTo>
                  <a:cubicBezTo>
                    <a:pt x="5891" y="16588"/>
                    <a:pt x="5012" y="15709"/>
                    <a:pt x="3927" y="15709"/>
                  </a:cubicBezTo>
                  <a:moveTo>
                    <a:pt x="2945" y="14727"/>
                  </a:moveTo>
                  <a:cubicBezTo>
                    <a:pt x="3217" y="14727"/>
                    <a:pt x="3436" y="14507"/>
                    <a:pt x="3436" y="14236"/>
                  </a:cubicBezTo>
                  <a:lnTo>
                    <a:pt x="3436" y="10800"/>
                  </a:lnTo>
                  <a:lnTo>
                    <a:pt x="10309" y="10800"/>
                  </a:lnTo>
                  <a:lnTo>
                    <a:pt x="10309" y="14236"/>
                  </a:lnTo>
                  <a:cubicBezTo>
                    <a:pt x="10309" y="14507"/>
                    <a:pt x="10529" y="14727"/>
                    <a:pt x="10800" y="14727"/>
                  </a:cubicBezTo>
                  <a:cubicBezTo>
                    <a:pt x="11071" y="14727"/>
                    <a:pt x="11291" y="14507"/>
                    <a:pt x="11291" y="14236"/>
                  </a:cubicBezTo>
                  <a:lnTo>
                    <a:pt x="11291" y="10800"/>
                  </a:lnTo>
                  <a:lnTo>
                    <a:pt x="18164" y="10800"/>
                  </a:lnTo>
                  <a:lnTo>
                    <a:pt x="18164" y="14236"/>
                  </a:lnTo>
                  <a:cubicBezTo>
                    <a:pt x="18164" y="14507"/>
                    <a:pt x="18384" y="14727"/>
                    <a:pt x="18655" y="14727"/>
                  </a:cubicBezTo>
                  <a:cubicBezTo>
                    <a:pt x="18926" y="14727"/>
                    <a:pt x="19145" y="14507"/>
                    <a:pt x="19145" y="14236"/>
                  </a:cubicBezTo>
                  <a:lnTo>
                    <a:pt x="19145" y="10309"/>
                  </a:lnTo>
                  <a:cubicBezTo>
                    <a:pt x="19145" y="10038"/>
                    <a:pt x="18926" y="9818"/>
                    <a:pt x="18655" y="9818"/>
                  </a:cubicBezTo>
                  <a:lnTo>
                    <a:pt x="11291" y="9818"/>
                  </a:lnTo>
                  <a:lnTo>
                    <a:pt x="11291" y="7364"/>
                  </a:lnTo>
                  <a:cubicBezTo>
                    <a:pt x="11291" y="7093"/>
                    <a:pt x="11071" y="6873"/>
                    <a:pt x="10800" y="6873"/>
                  </a:cubicBezTo>
                  <a:cubicBezTo>
                    <a:pt x="10529" y="6873"/>
                    <a:pt x="10309" y="7093"/>
                    <a:pt x="10309" y="7364"/>
                  </a:cubicBezTo>
                  <a:lnTo>
                    <a:pt x="10309" y="9818"/>
                  </a:lnTo>
                  <a:lnTo>
                    <a:pt x="2945" y="9818"/>
                  </a:lnTo>
                  <a:cubicBezTo>
                    <a:pt x="2674" y="9818"/>
                    <a:pt x="2455" y="10038"/>
                    <a:pt x="2455" y="10309"/>
                  </a:cubicBezTo>
                  <a:lnTo>
                    <a:pt x="2455" y="14236"/>
                  </a:lnTo>
                  <a:cubicBezTo>
                    <a:pt x="2455" y="14507"/>
                    <a:pt x="2674" y="14727"/>
                    <a:pt x="2945" y="14727"/>
                  </a:cubicBezTo>
                  <a:moveTo>
                    <a:pt x="8836" y="1964"/>
                  </a:moveTo>
                  <a:cubicBezTo>
                    <a:pt x="8836" y="1422"/>
                    <a:pt x="9276" y="982"/>
                    <a:pt x="9818" y="982"/>
                  </a:cubicBezTo>
                  <a:lnTo>
                    <a:pt x="11782" y="982"/>
                  </a:lnTo>
                  <a:cubicBezTo>
                    <a:pt x="12324" y="982"/>
                    <a:pt x="12764" y="1422"/>
                    <a:pt x="12764" y="1964"/>
                  </a:cubicBezTo>
                  <a:lnTo>
                    <a:pt x="12764" y="3927"/>
                  </a:lnTo>
                  <a:cubicBezTo>
                    <a:pt x="12764" y="446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4469"/>
                    <a:pt x="8836" y="3927"/>
                  </a:cubicBezTo>
                  <a:cubicBezTo>
                    <a:pt x="8836" y="3927"/>
                    <a:pt x="8836" y="1964"/>
                    <a:pt x="8836" y="1964"/>
                  </a:cubicBezTo>
                  <a:close/>
                  <a:moveTo>
                    <a:pt x="9818" y="5891"/>
                  </a:moveTo>
                  <a:lnTo>
                    <a:pt x="11782" y="5891"/>
                  </a:lnTo>
                  <a:cubicBezTo>
                    <a:pt x="12866" y="5891"/>
                    <a:pt x="13745" y="5012"/>
                    <a:pt x="13745" y="3927"/>
                  </a:cubicBezTo>
                  <a:lnTo>
                    <a:pt x="13745" y="1964"/>
                  </a:lnTo>
                  <a:cubicBezTo>
                    <a:pt x="13745" y="879"/>
                    <a:pt x="12866" y="0"/>
                    <a:pt x="11782" y="0"/>
                  </a:cubicBezTo>
                  <a:lnTo>
                    <a:pt x="9818" y="0"/>
                  </a:lnTo>
                  <a:cubicBezTo>
                    <a:pt x="8734" y="0"/>
                    <a:pt x="7855" y="879"/>
                    <a:pt x="7855" y="1964"/>
                  </a:cubicBezTo>
                  <a:lnTo>
                    <a:pt x="7855" y="3927"/>
                  </a:lnTo>
                  <a:cubicBezTo>
                    <a:pt x="7855" y="5012"/>
                    <a:pt x="8734" y="5891"/>
                    <a:pt x="9818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Shape 2697">
              <a:extLst>
                <a:ext uri="{FF2B5EF4-FFF2-40B4-BE49-F238E27FC236}">
                  <a16:creationId xmlns:a16="http://schemas.microsoft.com/office/drawing/2014/main" id="{57EA7E50-9A56-44DB-8590-8FBD05509941}"/>
                </a:ext>
              </a:extLst>
            </p:cNvPr>
            <p:cNvSpPr/>
            <p:nvPr/>
          </p:nvSpPr>
          <p:spPr bwMode="gray">
            <a:xfrm>
              <a:off x="6213590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020" y="13745"/>
                  </a:moveTo>
                  <a:lnTo>
                    <a:pt x="4860" y="13745"/>
                  </a:lnTo>
                  <a:lnTo>
                    <a:pt x="4860" y="15709"/>
                  </a:lnTo>
                  <a:lnTo>
                    <a:pt x="7020" y="15709"/>
                  </a:lnTo>
                  <a:cubicBezTo>
                    <a:pt x="7020" y="15709"/>
                    <a:pt x="7020" y="13745"/>
                    <a:pt x="7020" y="13745"/>
                  </a:cubicBezTo>
                  <a:close/>
                  <a:moveTo>
                    <a:pt x="5400" y="10800"/>
                  </a:moveTo>
                  <a:lnTo>
                    <a:pt x="3240" y="10800"/>
                  </a:lnTo>
                  <a:lnTo>
                    <a:pt x="3240" y="12764"/>
                  </a:lnTo>
                  <a:lnTo>
                    <a:pt x="5400" y="12764"/>
                  </a:lnTo>
                  <a:cubicBezTo>
                    <a:pt x="5400" y="12764"/>
                    <a:pt x="5400" y="10800"/>
                    <a:pt x="5400" y="10800"/>
                  </a:cubicBezTo>
                  <a:close/>
                  <a:moveTo>
                    <a:pt x="5940" y="18655"/>
                  </a:moveTo>
                  <a:lnTo>
                    <a:pt x="15660" y="18655"/>
                  </a:lnTo>
                  <a:lnTo>
                    <a:pt x="15660" y="16691"/>
                  </a:lnTo>
                  <a:lnTo>
                    <a:pt x="5940" y="16691"/>
                  </a:lnTo>
                  <a:cubicBezTo>
                    <a:pt x="5940" y="16691"/>
                    <a:pt x="5940" y="18655"/>
                    <a:pt x="5940" y="18655"/>
                  </a:cubicBezTo>
                  <a:close/>
                  <a:moveTo>
                    <a:pt x="20520" y="19636"/>
                  </a:moveTo>
                  <a:cubicBezTo>
                    <a:pt x="20520" y="20179"/>
                    <a:pt x="20036" y="20618"/>
                    <a:pt x="19440" y="20618"/>
                  </a:cubicBezTo>
                  <a:lnTo>
                    <a:pt x="2160" y="20618"/>
                  </a:lnTo>
                  <a:cubicBezTo>
                    <a:pt x="1564" y="20618"/>
                    <a:pt x="1080" y="20179"/>
                    <a:pt x="1080" y="19636"/>
                  </a:cubicBezTo>
                  <a:lnTo>
                    <a:pt x="1080" y="9818"/>
                  </a:lnTo>
                  <a:cubicBezTo>
                    <a:pt x="1080" y="9276"/>
                    <a:pt x="1564" y="8836"/>
                    <a:pt x="2160" y="8836"/>
                  </a:cubicBezTo>
                  <a:lnTo>
                    <a:pt x="19440" y="8836"/>
                  </a:lnTo>
                  <a:cubicBezTo>
                    <a:pt x="20036" y="8836"/>
                    <a:pt x="20520" y="9276"/>
                    <a:pt x="20520" y="9818"/>
                  </a:cubicBezTo>
                  <a:cubicBezTo>
                    <a:pt x="20520" y="9818"/>
                    <a:pt x="20520" y="19636"/>
                    <a:pt x="20520" y="19636"/>
                  </a:cubicBezTo>
                  <a:close/>
                  <a:moveTo>
                    <a:pt x="19440" y="7855"/>
                  </a:moveTo>
                  <a:lnTo>
                    <a:pt x="2160" y="7855"/>
                  </a:lnTo>
                  <a:cubicBezTo>
                    <a:pt x="967" y="7855"/>
                    <a:pt x="0" y="8734"/>
                    <a:pt x="0" y="9818"/>
                  </a:cubicBezTo>
                  <a:lnTo>
                    <a:pt x="0" y="19636"/>
                  </a:lnTo>
                  <a:cubicBezTo>
                    <a:pt x="0" y="20721"/>
                    <a:pt x="967" y="21600"/>
                    <a:pt x="2160" y="21600"/>
                  </a:cubicBezTo>
                  <a:lnTo>
                    <a:pt x="19440" y="21600"/>
                  </a:lnTo>
                  <a:cubicBezTo>
                    <a:pt x="20633" y="21600"/>
                    <a:pt x="21600" y="20721"/>
                    <a:pt x="21600" y="19636"/>
                  </a:cubicBezTo>
                  <a:lnTo>
                    <a:pt x="21600" y="9818"/>
                  </a:lnTo>
                  <a:cubicBezTo>
                    <a:pt x="21600" y="8734"/>
                    <a:pt x="20633" y="7855"/>
                    <a:pt x="19440" y="7855"/>
                  </a:cubicBezTo>
                  <a:moveTo>
                    <a:pt x="16200" y="12764"/>
                  </a:moveTo>
                  <a:lnTo>
                    <a:pt x="18360" y="12764"/>
                  </a:lnTo>
                  <a:lnTo>
                    <a:pt x="18360" y="10800"/>
                  </a:lnTo>
                  <a:lnTo>
                    <a:pt x="16200" y="10800"/>
                  </a:lnTo>
                  <a:cubicBezTo>
                    <a:pt x="16200" y="10800"/>
                    <a:pt x="16200" y="12764"/>
                    <a:pt x="16200" y="12764"/>
                  </a:cubicBezTo>
                  <a:close/>
                  <a:moveTo>
                    <a:pt x="14580" y="15709"/>
                  </a:moveTo>
                  <a:lnTo>
                    <a:pt x="16740" y="15709"/>
                  </a:lnTo>
                  <a:lnTo>
                    <a:pt x="16740" y="13745"/>
                  </a:lnTo>
                  <a:lnTo>
                    <a:pt x="14580" y="13745"/>
                  </a:lnTo>
                  <a:cubicBezTo>
                    <a:pt x="14580" y="13745"/>
                    <a:pt x="14580" y="15709"/>
                    <a:pt x="14580" y="15709"/>
                  </a:cubicBezTo>
                  <a:close/>
                  <a:moveTo>
                    <a:pt x="10800" y="0"/>
                  </a:moveTo>
                  <a:lnTo>
                    <a:pt x="6480" y="3927"/>
                  </a:lnTo>
                  <a:lnTo>
                    <a:pt x="15120" y="3927"/>
                  </a:lnTo>
                  <a:cubicBezTo>
                    <a:pt x="15120" y="3927"/>
                    <a:pt x="10800" y="0"/>
                    <a:pt x="10800" y="0"/>
                  </a:cubicBezTo>
                  <a:close/>
                  <a:moveTo>
                    <a:pt x="8640" y="10800"/>
                  </a:moveTo>
                  <a:lnTo>
                    <a:pt x="6480" y="10800"/>
                  </a:lnTo>
                  <a:lnTo>
                    <a:pt x="6480" y="12764"/>
                  </a:lnTo>
                  <a:lnTo>
                    <a:pt x="8640" y="12764"/>
                  </a:lnTo>
                  <a:cubicBezTo>
                    <a:pt x="8640" y="12764"/>
                    <a:pt x="8640" y="10800"/>
                    <a:pt x="8640" y="10800"/>
                  </a:cubicBezTo>
                  <a:close/>
                  <a:moveTo>
                    <a:pt x="11340" y="15709"/>
                  </a:moveTo>
                  <a:lnTo>
                    <a:pt x="13500" y="15709"/>
                  </a:lnTo>
                  <a:lnTo>
                    <a:pt x="13500" y="13745"/>
                  </a:lnTo>
                  <a:lnTo>
                    <a:pt x="11340" y="13745"/>
                  </a:lnTo>
                  <a:cubicBezTo>
                    <a:pt x="11340" y="13745"/>
                    <a:pt x="11340" y="15709"/>
                    <a:pt x="11340" y="15709"/>
                  </a:cubicBezTo>
                  <a:close/>
                  <a:moveTo>
                    <a:pt x="15120" y="10800"/>
                  </a:moveTo>
                  <a:lnTo>
                    <a:pt x="12960" y="10800"/>
                  </a:lnTo>
                  <a:lnTo>
                    <a:pt x="12960" y="12764"/>
                  </a:lnTo>
                  <a:lnTo>
                    <a:pt x="15120" y="12764"/>
                  </a:lnTo>
                  <a:cubicBezTo>
                    <a:pt x="15120" y="12764"/>
                    <a:pt x="15120" y="10800"/>
                    <a:pt x="15120" y="10800"/>
                  </a:cubicBezTo>
                  <a:close/>
                  <a:moveTo>
                    <a:pt x="11880" y="10800"/>
                  </a:moveTo>
                  <a:lnTo>
                    <a:pt x="9720" y="10800"/>
                  </a:lnTo>
                  <a:lnTo>
                    <a:pt x="9720" y="12764"/>
                  </a:lnTo>
                  <a:lnTo>
                    <a:pt x="11880" y="12764"/>
                  </a:lnTo>
                  <a:cubicBezTo>
                    <a:pt x="11880" y="12764"/>
                    <a:pt x="11880" y="10800"/>
                    <a:pt x="11880" y="10800"/>
                  </a:cubicBezTo>
                  <a:close/>
                  <a:moveTo>
                    <a:pt x="8100" y="15709"/>
                  </a:moveTo>
                  <a:lnTo>
                    <a:pt x="10260" y="15709"/>
                  </a:lnTo>
                  <a:lnTo>
                    <a:pt x="10260" y="13745"/>
                  </a:lnTo>
                  <a:lnTo>
                    <a:pt x="8100" y="13745"/>
                  </a:lnTo>
                  <a:cubicBezTo>
                    <a:pt x="8100" y="13745"/>
                    <a:pt x="8100" y="15709"/>
                    <a:pt x="8100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Shape 2698">
              <a:extLst>
                <a:ext uri="{FF2B5EF4-FFF2-40B4-BE49-F238E27FC236}">
                  <a16:creationId xmlns:a16="http://schemas.microsoft.com/office/drawing/2014/main" id="{39A1995B-BDC4-4CAF-A4D7-DEC53D144C7D}"/>
                </a:ext>
              </a:extLst>
            </p:cNvPr>
            <p:cNvSpPr/>
            <p:nvPr/>
          </p:nvSpPr>
          <p:spPr bwMode="gray">
            <a:xfrm>
              <a:off x="6765304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40" y="10800"/>
                  </a:moveTo>
                  <a:lnTo>
                    <a:pt x="15660" y="10800"/>
                  </a:lnTo>
                  <a:lnTo>
                    <a:pt x="15660" y="8836"/>
                  </a:lnTo>
                  <a:lnTo>
                    <a:pt x="5940" y="8836"/>
                  </a:lnTo>
                  <a:cubicBezTo>
                    <a:pt x="5940" y="8836"/>
                    <a:pt x="5940" y="10800"/>
                    <a:pt x="5940" y="10800"/>
                  </a:cubicBezTo>
                  <a:close/>
                  <a:moveTo>
                    <a:pt x="5400" y="2945"/>
                  </a:moveTo>
                  <a:lnTo>
                    <a:pt x="3240" y="2945"/>
                  </a:lnTo>
                  <a:lnTo>
                    <a:pt x="3240" y="4909"/>
                  </a:lnTo>
                  <a:lnTo>
                    <a:pt x="5400" y="4909"/>
                  </a:lnTo>
                  <a:cubicBezTo>
                    <a:pt x="5400" y="4909"/>
                    <a:pt x="5400" y="2945"/>
                    <a:pt x="5400" y="2945"/>
                  </a:cubicBezTo>
                  <a:close/>
                  <a:moveTo>
                    <a:pt x="7020" y="5891"/>
                  </a:moveTo>
                  <a:lnTo>
                    <a:pt x="4860" y="5891"/>
                  </a:lnTo>
                  <a:lnTo>
                    <a:pt x="4860" y="7855"/>
                  </a:lnTo>
                  <a:lnTo>
                    <a:pt x="7020" y="7855"/>
                  </a:lnTo>
                  <a:cubicBezTo>
                    <a:pt x="7020" y="7855"/>
                    <a:pt x="7020" y="5891"/>
                    <a:pt x="7020" y="5891"/>
                  </a:cubicBezTo>
                  <a:close/>
                  <a:moveTo>
                    <a:pt x="14580" y="7855"/>
                  </a:moveTo>
                  <a:lnTo>
                    <a:pt x="16740" y="7855"/>
                  </a:lnTo>
                  <a:lnTo>
                    <a:pt x="16740" y="5891"/>
                  </a:lnTo>
                  <a:lnTo>
                    <a:pt x="14580" y="5891"/>
                  </a:lnTo>
                  <a:cubicBezTo>
                    <a:pt x="14580" y="5891"/>
                    <a:pt x="14580" y="7855"/>
                    <a:pt x="14580" y="7855"/>
                  </a:cubicBezTo>
                  <a:close/>
                  <a:moveTo>
                    <a:pt x="20520" y="11782"/>
                  </a:moveTo>
                  <a:cubicBezTo>
                    <a:pt x="20520" y="12324"/>
                    <a:pt x="20036" y="12764"/>
                    <a:pt x="19440" y="12764"/>
                  </a:cubicBezTo>
                  <a:lnTo>
                    <a:pt x="2160" y="12764"/>
                  </a:lnTo>
                  <a:cubicBezTo>
                    <a:pt x="1564" y="12764"/>
                    <a:pt x="1080" y="12324"/>
                    <a:pt x="1080" y="11782"/>
                  </a:cubicBezTo>
                  <a:lnTo>
                    <a:pt x="1080" y="1964"/>
                  </a:lnTo>
                  <a:cubicBezTo>
                    <a:pt x="1080" y="1422"/>
                    <a:pt x="1564" y="982"/>
                    <a:pt x="2160" y="982"/>
                  </a:cubicBezTo>
                  <a:lnTo>
                    <a:pt x="19440" y="982"/>
                  </a:lnTo>
                  <a:cubicBezTo>
                    <a:pt x="20036" y="982"/>
                    <a:pt x="20520" y="1422"/>
                    <a:pt x="20520" y="1964"/>
                  </a:cubicBezTo>
                  <a:cubicBezTo>
                    <a:pt x="20520" y="1964"/>
                    <a:pt x="20520" y="11782"/>
                    <a:pt x="20520" y="11782"/>
                  </a:cubicBezTo>
                  <a:close/>
                  <a:moveTo>
                    <a:pt x="19440" y="0"/>
                  </a:moveTo>
                  <a:lnTo>
                    <a:pt x="2160" y="0"/>
                  </a:lnTo>
                  <a:cubicBezTo>
                    <a:pt x="967" y="0"/>
                    <a:pt x="0" y="879"/>
                    <a:pt x="0" y="1964"/>
                  </a:cubicBezTo>
                  <a:lnTo>
                    <a:pt x="0" y="11782"/>
                  </a:lnTo>
                  <a:cubicBezTo>
                    <a:pt x="0" y="12866"/>
                    <a:pt x="967" y="13745"/>
                    <a:pt x="2160" y="13745"/>
                  </a:cubicBezTo>
                  <a:lnTo>
                    <a:pt x="19440" y="13745"/>
                  </a:lnTo>
                  <a:cubicBezTo>
                    <a:pt x="20633" y="13745"/>
                    <a:pt x="21600" y="12866"/>
                    <a:pt x="21600" y="11782"/>
                  </a:cubicBezTo>
                  <a:lnTo>
                    <a:pt x="21600" y="1964"/>
                  </a:lnTo>
                  <a:cubicBezTo>
                    <a:pt x="21600" y="879"/>
                    <a:pt x="20633" y="0"/>
                    <a:pt x="19440" y="0"/>
                  </a:cubicBezTo>
                  <a:moveTo>
                    <a:pt x="16200" y="4909"/>
                  </a:moveTo>
                  <a:lnTo>
                    <a:pt x="18360" y="4909"/>
                  </a:lnTo>
                  <a:lnTo>
                    <a:pt x="18360" y="2945"/>
                  </a:lnTo>
                  <a:lnTo>
                    <a:pt x="16200" y="2945"/>
                  </a:lnTo>
                  <a:cubicBezTo>
                    <a:pt x="16200" y="2945"/>
                    <a:pt x="16200" y="4909"/>
                    <a:pt x="16200" y="4909"/>
                  </a:cubicBezTo>
                  <a:close/>
                  <a:moveTo>
                    <a:pt x="8640" y="2945"/>
                  </a:moveTo>
                  <a:lnTo>
                    <a:pt x="6480" y="2945"/>
                  </a:lnTo>
                  <a:lnTo>
                    <a:pt x="6480" y="4909"/>
                  </a:lnTo>
                  <a:lnTo>
                    <a:pt x="8640" y="4909"/>
                  </a:lnTo>
                  <a:cubicBezTo>
                    <a:pt x="8640" y="4909"/>
                    <a:pt x="8640" y="2945"/>
                    <a:pt x="8640" y="2945"/>
                  </a:cubicBezTo>
                  <a:close/>
                  <a:moveTo>
                    <a:pt x="11340" y="7855"/>
                  </a:moveTo>
                  <a:lnTo>
                    <a:pt x="13500" y="7855"/>
                  </a:lnTo>
                  <a:lnTo>
                    <a:pt x="13500" y="5891"/>
                  </a:lnTo>
                  <a:lnTo>
                    <a:pt x="11340" y="5891"/>
                  </a:lnTo>
                  <a:cubicBezTo>
                    <a:pt x="11340" y="5891"/>
                    <a:pt x="11340" y="7855"/>
                    <a:pt x="11340" y="7855"/>
                  </a:cubicBezTo>
                  <a:close/>
                  <a:moveTo>
                    <a:pt x="10800" y="21600"/>
                  </a:moveTo>
                  <a:lnTo>
                    <a:pt x="15120" y="17673"/>
                  </a:lnTo>
                  <a:lnTo>
                    <a:pt x="6480" y="17673"/>
                  </a:lnTo>
                  <a:cubicBezTo>
                    <a:pt x="6480" y="17673"/>
                    <a:pt x="10800" y="21600"/>
                    <a:pt x="10800" y="21600"/>
                  </a:cubicBezTo>
                  <a:close/>
                  <a:moveTo>
                    <a:pt x="15120" y="2945"/>
                  </a:moveTo>
                  <a:lnTo>
                    <a:pt x="12960" y="2945"/>
                  </a:lnTo>
                  <a:lnTo>
                    <a:pt x="12960" y="4909"/>
                  </a:lnTo>
                  <a:lnTo>
                    <a:pt x="15120" y="4909"/>
                  </a:lnTo>
                  <a:cubicBezTo>
                    <a:pt x="15120" y="4909"/>
                    <a:pt x="15120" y="2945"/>
                    <a:pt x="15120" y="2945"/>
                  </a:cubicBezTo>
                  <a:close/>
                  <a:moveTo>
                    <a:pt x="8100" y="7855"/>
                  </a:moveTo>
                  <a:lnTo>
                    <a:pt x="10260" y="7855"/>
                  </a:lnTo>
                  <a:lnTo>
                    <a:pt x="10260" y="5891"/>
                  </a:lnTo>
                  <a:lnTo>
                    <a:pt x="8100" y="5891"/>
                  </a:lnTo>
                  <a:cubicBezTo>
                    <a:pt x="8100" y="5891"/>
                    <a:pt x="8100" y="7855"/>
                    <a:pt x="8100" y="7855"/>
                  </a:cubicBezTo>
                  <a:close/>
                  <a:moveTo>
                    <a:pt x="11880" y="2945"/>
                  </a:moveTo>
                  <a:lnTo>
                    <a:pt x="9720" y="2945"/>
                  </a:lnTo>
                  <a:lnTo>
                    <a:pt x="9720" y="4909"/>
                  </a:lnTo>
                  <a:lnTo>
                    <a:pt x="11880" y="4909"/>
                  </a:lnTo>
                  <a:cubicBezTo>
                    <a:pt x="11880" y="4909"/>
                    <a:pt x="11880" y="2945"/>
                    <a:pt x="11880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Shape 2699">
              <a:extLst>
                <a:ext uri="{FF2B5EF4-FFF2-40B4-BE49-F238E27FC236}">
                  <a16:creationId xmlns:a16="http://schemas.microsoft.com/office/drawing/2014/main" id="{206A5175-D4E2-459C-8D98-9AE20BDCA21C}"/>
                </a:ext>
              </a:extLst>
            </p:cNvPr>
            <p:cNvSpPr/>
            <p:nvPr/>
          </p:nvSpPr>
          <p:spPr bwMode="gray">
            <a:xfrm>
              <a:off x="7303882" y="2888744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76" y="20400"/>
                  </a:moveTo>
                  <a:lnTo>
                    <a:pt x="10800" y="13522"/>
                  </a:lnTo>
                  <a:lnTo>
                    <a:pt x="15623" y="20400"/>
                  </a:lnTo>
                  <a:cubicBezTo>
                    <a:pt x="15623" y="20400"/>
                    <a:pt x="5976" y="20400"/>
                    <a:pt x="5976" y="20400"/>
                  </a:cubicBezTo>
                  <a:close/>
                  <a:moveTo>
                    <a:pt x="17063" y="20610"/>
                  </a:moveTo>
                  <a:lnTo>
                    <a:pt x="11172" y="12210"/>
                  </a:lnTo>
                  <a:lnTo>
                    <a:pt x="11168" y="12214"/>
                  </a:lnTo>
                  <a:cubicBezTo>
                    <a:pt x="11078" y="12086"/>
                    <a:pt x="10949" y="12000"/>
                    <a:pt x="10800" y="12000"/>
                  </a:cubicBezTo>
                  <a:cubicBezTo>
                    <a:pt x="10651" y="12000"/>
                    <a:pt x="10521" y="12086"/>
                    <a:pt x="10432" y="12214"/>
                  </a:cubicBezTo>
                  <a:lnTo>
                    <a:pt x="10427" y="12210"/>
                  </a:lnTo>
                  <a:lnTo>
                    <a:pt x="4536" y="20610"/>
                  </a:lnTo>
                  <a:lnTo>
                    <a:pt x="4540" y="20614"/>
                  </a:lnTo>
                  <a:cubicBezTo>
                    <a:pt x="4467" y="20719"/>
                    <a:pt x="4418" y="20851"/>
                    <a:pt x="4418" y="21000"/>
                  </a:cubicBezTo>
                  <a:cubicBezTo>
                    <a:pt x="4418" y="21332"/>
                    <a:pt x="4638" y="21600"/>
                    <a:pt x="4909" y="21600"/>
                  </a:cubicBezTo>
                  <a:lnTo>
                    <a:pt x="16691" y="21600"/>
                  </a:lnTo>
                  <a:cubicBezTo>
                    <a:pt x="16962" y="21600"/>
                    <a:pt x="17182" y="21332"/>
                    <a:pt x="17182" y="21000"/>
                  </a:cubicBezTo>
                  <a:cubicBezTo>
                    <a:pt x="17182" y="20851"/>
                    <a:pt x="17133" y="20719"/>
                    <a:pt x="17059" y="20614"/>
                  </a:cubicBezTo>
                  <a:cubicBezTo>
                    <a:pt x="17059" y="20614"/>
                    <a:pt x="17063" y="20610"/>
                    <a:pt x="17063" y="20610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69"/>
                    <a:pt x="0" y="600"/>
                  </a:cubicBezTo>
                  <a:lnTo>
                    <a:pt x="0" y="17400"/>
                  </a:lnTo>
                  <a:cubicBezTo>
                    <a:pt x="0" y="17732"/>
                    <a:pt x="220" y="18000"/>
                    <a:pt x="491" y="18000"/>
                  </a:cubicBezTo>
                  <a:lnTo>
                    <a:pt x="4418" y="18000"/>
                  </a:lnTo>
                  <a:cubicBezTo>
                    <a:pt x="4689" y="18000"/>
                    <a:pt x="4909" y="17732"/>
                    <a:pt x="4909" y="17400"/>
                  </a:cubicBezTo>
                  <a:cubicBezTo>
                    <a:pt x="4909" y="17068"/>
                    <a:pt x="4689" y="16800"/>
                    <a:pt x="4418" y="16800"/>
                  </a:cubicBezTo>
                  <a:lnTo>
                    <a:pt x="982" y="16800"/>
                  </a:lnTo>
                  <a:lnTo>
                    <a:pt x="982" y="1200"/>
                  </a:lnTo>
                  <a:lnTo>
                    <a:pt x="20618" y="1200"/>
                  </a:lnTo>
                  <a:lnTo>
                    <a:pt x="20618" y="16800"/>
                  </a:lnTo>
                  <a:lnTo>
                    <a:pt x="17182" y="16800"/>
                  </a:lnTo>
                  <a:cubicBezTo>
                    <a:pt x="16911" y="16800"/>
                    <a:pt x="16691" y="17068"/>
                    <a:pt x="16691" y="17400"/>
                  </a:cubicBezTo>
                  <a:cubicBezTo>
                    <a:pt x="16691" y="17732"/>
                    <a:pt x="16911" y="18000"/>
                    <a:pt x="17182" y="18000"/>
                  </a:cubicBezTo>
                  <a:lnTo>
                    <a:pt x="21109" y="18000"/>
                  </a:lnTo>
                  <a:cubicBezTo>
                    <a:pt x="21380" y="18000"/>
                    <a:pt x="21600" y="17732"/>
                    <a:pt x="21600" y="17400"/>
                  </a:cubicBezTo>
                  <a:lnTo>
                    <a:pt x="21600" y="600"/>
                  </a:lnTo>
                  <a:cubicBezTo>
                    <a:pt x="21600" y="269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Shape 2700">
              <a:extLst>
                <a:ext uri="{FF2B5EF4-FFF2-40B4-BE49-F238E27FC236}">
                  <a16:creationId xmlns:a16="http://schemas.microsoft.com/office/drawing/2014/main" id="{9D0AEBDA-02F4-444C-8C2C-E5C128436C3E}"/>
                </a:ext>
              </a:extLst>
            </p:cNvPr>
            <p:cNvSpPr/>
            <p:nvPr/>
          </p:nvSpPr>
          <p:spPr bwMode="gray">
            <a:xfrm>
              <a:off x="785559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4" y="20618"/>
                  </a:moveTo>
                  <a:lnTo>
                    <a:pt x="15069" y="13232"/>
                  </a:lnTo>
                  <a:lnTo>
                    <a:pt x="15063" y="13228"/>
                  </a:lnTo>
                  <a:cubicBezTo>
                    <a:pt x="15472" y="12512"/>
                    <a:pt x="15709" y="11684"/>
                    <a:pt x="15709" y="10800"/>
                  </a:cubicBezTo>
                  <a:cubicBezTo>
                    <a:pt x="15709" y="9192"/>
                    <a:pt x="14932" y="7768"/>
                    <a:pt x="13737" y="6873"/>
                  </a:cubicBezTo>
                  <a:lnTo>
                    <a:pt x="19796" y="6873"/>
                  </a:lnTo>
                  <a:cubicBezTo>
                    <a:pt x="20322" y="8076"/>
                    <a:pt x="20618" y="9403"/>
                    <a:pt x="20618" y="10800"/>
                  </a:cubicBezTo>
                  <a:cubicBezTo>
                    <a:pt x="20618" y="16221"/>
                    <a:pt x="16225" y="20615"/>
                    <a:pt x="10804" y="20618"/>
                  </a:cubicBezTo>
                  <a:moveTo>
                    <a:pt x="9708" y="20554"/>
                  </a:moveTo>
                  <a:cubicBezTo>
                    <a:pt x="4800" y="20010"/>
                    <a:pt x="982" y="15853"/>
                    <a:pt x="982" y="10800"/>
                  </a:cubicBezTo>
                  <a:cubicBezTo>
                    <a:pt x="982" y="9010"/>
                    <a:pt x="1468" y="7337"/>
                    <a:pt x="2305" y="5892"/>
                  </a:cubicBezTo>
                  <a:lnTo>
                    <a:pt x="6452" y="13076"/>
                  </a:lnTo>
                  <a:cubicBezTo>
                    <a:pt x="7273" y="14640"/>
                    <a:pt x="8911" y="15709"/>
                    <a:pt x="10800" y="15709"/>
                  </a:cubicBezTo>
                  <a:cubicBezTo>
                    <a:pt x="11487" y="15709"/>
                    <a:pt x="12141" y="15567"/>
                    <a:pt x="12734" y="15312"/>
                  </a:cubicBezTo>
                  <a:cubicBezTo>
                    <a:pt x="12734" y="15312"/>
                    <a:pt x="9708" y="20554"/>
                    <a:pt x="9708" y="20554"/>
                  </a:cubicBezTo>
                  <a:close/>
                  <a:moveTo>
                    <a:pt x="7315" y="12607"/>
                  </a:moveTo>
                  <a:cubicBezTo>
                    <a:pt x="7034" y="12065"/>
                    <a:pt x="6873" y="11452"/>
                    <a:pt x="6873" y="10800"/>
                  </a:cubicBezTo>
                  <a:cubicBezTo>
                    <a:pt x="6873" y="8631"/>
                    <a:pt x="8631" y="6873"/>
                    <a:pt x="10800" y="6873"/>
                  </a:cubicBezTo>
                  <a:cubicBezTo>
                    <a:pt x="12969" y="6873"/>
                    <a:pt x="14727" y="8631"/>
                    <a:pt x="14727" y="10800"/>
                  </a:cubicBezTo>
                  <a:cubicBezTo>
                    <a:pt x="14727" y="12969"/>
                    <a:pt x="12969" y="14727"/>
                    <a:pt x="10800" y="14727"/>
                  </a:cubicBezTo>
                  <a:cubicBezTo>
                    <a:pt x="9318" y="14727"/>
                    <a:pt x="8029" y="13906"/>
                    <a:pt x="7360" y="12694"/>
                  </a:cubicBezTo>
                  <a:lnTo>
                    <a:pt x="7364" y="12691"/>
                  </a:lnTo>
                  <a:cubicBezTo>
                    <a:pt x="7364" y="12691"/>
                    <a:pt x="7315" y="12607"/>
                    <a:pt x="7315" y="12607"/>
                  </a:cubicBezTo>
                  <a:close/>
                  <a:moveTo>
                    <a:pt x="10800" y="982"/>
                  </a:moveTo>
                  <a:cubicBezTo>
                    <a:pt x="14432" y="982"/>
                    <a:pt x="17596" y="2959"/>
                    <a:pt x="19294" y="5891"/>
                  </a:cubicBezTo>
                  <a:lnTo>
                    <a:pt x="10800" y="5891"/>
                  </a:lnTo>
                  <a:cubicBezTo>
                    <a:pt x="8290" y="5891"/>
                    <a:pt x="6223" y="7776"/>
                    <a:pt x="5930" y="10207"/>
                  </a:cubicBezTo>
                  <a:lnTo>
                    <a:pt x="2909" y="4975"/>
                  </a:lnTo>
                  <a:cubicBezTo>
                    <a:pt x="4697" y="2557"/>
                    <a:pt x="7561" y="982"/>
                    <a:pt x="10800" y="982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Shape 2701">
              <a:extLst>
                <a:ext uri="{FF2B5EF4-FFF2-40B4-BE49-F238E27FC236}">
                  <a16:creationId xmlns:a16="http://schemas.microsoft.com/office/drawing/2014/main" id="{84C570DD-1C14-4B42-8541-B3F9A8ABF484}"/>
                </a:ext>
              </a:extLst>
            </p:cNvPr>
            <p:cNvSpPr/>
            <p:nvPr/>
          </p:nvSpPr>
          <p:spPr bwMode="gray">
            <a:xfrm>
              <a:off x="8407309" y="2934720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24" y="15100"/>
                  </a:moveTo>
                  <a:lnTo>
                    <a:pt x="17582" y="15100"/>
                  </a:lnTo>
                  <a:lnTo>
                    <a:pt x="17582" y="8844"/>
                  </a:lnTo>
                  <a:lnTo>
                    <a:pt x="16724" y="8844"/>
                  </a:lnTo>
                  <a:cubicBezTo>
                    <a:pt x="16724" y="8844"/>
                    <a:pt x="16724" y="15100"/>
                    <a:pt x="16724" y="15100"/>
                  </a:cubicBezTo>
                  <a:close/>
                  <a:moveTo>
                    <a:pt x="13336" y="15100"/>
                  </a:moveTo>
                  <a:lnTo>
                    <a:pt x="14199" y="15100"/>
                  </a:lnTo>
                  <a:lnTo>
                    <a:pt x="14199" y="11633"/>
                  </a:lnTo>
                  <a:lnTo>
                    <a:pt x="15565" y="11633"/>
                  </a:lnTo>
                  <a:lnTo>
                    <a:pt x="15565" y="10047"/>
                  </a:lnTo>
                  <a:lnTo>
                    <a:pt x="14199" y="10047"/>
                  </a:lnTo>
                  <a:lnTo>
                    <a:pt x="14199" y="8077"/>
                  </a:lnTo>
                  <a:lnTo>
                    <a:pt x="15661" y="8077"/>
                  </a:lnTo>
                  <a:lnTo>
                    <a:pt x="15661" y="6478"/>
                  </a:lnTo>
                  <a:lnTo>
                    <a:pt x="13336" y="6478"/>
                  </a:lnTo>
                  <a:cubicBezTo>
                    <a:pt x="13336" y="6478"/>
                    <a:pt x="13336" y="15100"/>
                    <a:pt x="13336" y="15100"/>
                  </a:cubicBezTo>
                  <a:close/>
                  <a:moveTo>
                    <a:pt x="20618" y="12960"/>
                  </a:moveTo>
                  <a:cubicBezTo>
                    <a:pt x="20618" y="16538"/>
                    <a:pt x="19299" y="19440"/>
                    <a:pt x="17673" y="19440"/>
                  </a:cubicBezTo>
                  <a:lnTo>
                    <a:pt x="7855" y="19440"/>
                  </a:lnTo>
                  <a:cubicBezTo>
                    <a:pt x="9481" y="19440"/>
                    <a:pt x="10800" y="16538"/>
                    <a:pt x="10800" y="12960"/>
                  </a:cubicBezTo>
                  <a:lnTo>
                    <a:pt x="10800" y="8640"/>
                  </a:lnTo>
                  <a:cubicBezTo>
                    <a:pt x="10800" y="5062"/>
                    <a:pt x="12119" y="2160"/>
                    <a:pt x="13745" y="2160"/>
                  </a:cubicBezTo>
                  <a:lnTo>
                    <a:pt x="17673" y="2160"/>
                  </a:lnTo>
                  <a:cubicBezTo>
                    <a:pt x="19299" y="2160"/>
                    <a:pt x="20618" y="5062"/>
                    <a:pt x="20618" y="8640"/>
                  </a:cubicBezTo>
                  <a:cubicBezTo>
                    <a:pt x="20618" y="8640"/>
                    <a:pt x="20618" y="12960"/>
                    <a:pt x="20618" y="12960"/>
                  </a:cubicBezTo>
                  <a:close/>
                  <a:moveTo>
                    <a:pt x="6607" y="15121"/>
                  </a:moveTo>
                  <a:lnTo>
                    <a:pt x="5673" y="15121"/>
                  </a:lnTo>
                  <a:lnTo>
                    <a:pt x="5350" y="11399"/>
                  </a:lnTo>
                  <a:cubicBezTo>
                    <a:pt x="5276" y="10527"/>
                    <a:pt x="5214" y="9718"/>
                    <a:pt x="5169" y="8730"/>
                  </a:cubicBezTo>
                  <a:lnTo>
                    <a:pt x="5157" y="8730"/>
                  </a:lnTo>
                  <a:cubicBezTo>
                    <a:pt x="5090" y="9705"/>
                    <a:pt x="5028" y="10527"/>
                    <a:pt x="4937" y="11399"/>
                  </a:cubicBezTo>
                  <a:lnTo>
                    <a:pt x="4574" y="15121"/>
                  </a:lnTo>
                  <a:lnTo>
                    <a:pt x="3629" y="15121"/>
                  </a:lnTo>
                  <a:lnTo>
                    <a:pt x="2723" y="6471"/>
                  </a:lnTo>
                  <a:lnTo>
                    <a:pt x="3646" y="6471"/>
                  </a:lnTo>
                  <a:lnTo>
                    <a:pt x="3935" y="10039"/>
                  </a:lnTo>
                  <a:cubicBezTo>
                    <a:pt x="4020" y="11066"/>
                    <a:pt x="4099" y="12182"/>
                    <a:pt x="4161" y="13055"/>
                  </a:cubicBezTo>
                  <a:lnTo>
                    <a:pt x="4172" y="13055"/>
                  </a:lnTo>
                  <a:cubicBezTo>
                    <a:pt x="4235" y="12118"/>
                    <a:pt x="4325" y="11078"/>
                    <a:pt x="4422" y="10013"/>
                  </a:cubicBezTo>
                  <a:lnTo>
                    <a:pt x="4744" y="6471"/>
                  </a:lnTo>
                  <a:lnTo>
                    <a:pt x="5662" y="6471"/>
                  </a:lnTo>
                  <a:lnTo>
                    <a:pt x="5967" y="10117"/>
                  </a:lnTo>
                  <a:cubicBezTo>
                    <a:pt x="6052" y="11130"/>
                    <a:pt x="6114" y="12054"/>
                    <a:pt x="6171" y="13017"/>
                  </a:cubicBezTo>
                  <a:lnTo>
                    <a:pt x="6182" y="13017"/>
                  </a:lnTo>
                  <a:cubicBezTo>
                    <a:pt x="6239" y="12054"/>
                    <a:pt x="6324" y="11040"/>
                    <a:pt x="6403" y="10013"/>
                  </a:cubicBezTo>
                  <a:lnTo>
                    <a:pt x="6715" y="6471"/>
                  </a:lnTo>
                  <a:lnTo>
                    <a:pt x="7592" y="6471"/>
                  </a:lnTo>
                  <a:cubicBezTo>
                    <a:pt x="7592" y="6471"/>
                    <a:pt x="6607" y="15121"/>
                    <a:pt x="6607" y="15121"/>
                  </a:cubicBezTo>
                  <a:close/>
                  <a:moveTo>
                    <a:pt x="8940" y="15121"/>
                  </a:moveTo>
                  <a:lnTo>
                    <a:pt x="8080" y="15121"/>
                  </a:lnTo>
                  <a:lnTo>
                    <a:pt x="8080" y="8845"/>
                  </a:lnTo>
                  <a:lnTo>
                    <a:pt x="8940" y="8845"/>
                  </a:lnTo>
                  <a:cubicBezTo>
                    <a:pt x="8940" y="8845"/>
                    <a:pt x="8940" y="15121"/>
                    <a:pt x="8940" y="15121"/>
                  </a:cubicBezTo>
                  <a:close/>
                  <a:moveTo>
                    <a:pt x="8510" y="6111"/>
                  </a:moveTo>
                  <a:cubicBezTo>
                    <a:pt x="8788" y="6111"/>
                    <a:pt x="8963" y="6535"/>
                    <a:pt x="8969" y="7100"/>
                  </a:cubicBezTo>
                  <a:cubicBezTo>
                    <a:pt x="8969" y="7638"/>
                    <a:pt x="8788" y="8076"/>
                    <a:pt x="8505" y="8076"/>
                  </a:cubicBezTo>
                  <a:cubicBezTo>
                    <a:pt x="8233" y="8076"/>
                    <a:pt x="8052" y="7638"/>
                    <a:pt x="8058" y="7100"/>
                  </a:cubicBezTo>
                  <a:cubicBezTo>
                    <a:pt x="8052" y="6535"/>
                    <a:pt x="8233" y="6111"/>
                    <a:pt x="8510" y="6111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3869"/>
                    <a:pt x="0" y="8640"/>
                  </a:cubicBezTo>
                  <a:lnTo>
                    <a:pt x="0" y="12960"/>
                  </a:lnTo>
                  <a:cubicBezTo>
                    <a:pt x="0" y="1773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7731"/>
                    <a:pt x="21600" y="12960"/>
                  </a:cubicBezTo>
                  <a:lnTo>
                    <a:pt x="21600" y="8640"/>
                  </a:lnTo>
                  <a:cubicBezTo>
                    <a:pt x="21600" y="3869"/>
                    <a:pt x="19842" y="0"/>
                    <a:pt x="17673" y="0"/>
                  </a:cubicBezTo>
                  <a:moveTo>
                    <a:pt x="17153" y="6119"/>
                  </a:moveTo>
                  <a:cubicBezTo>
                    <a:pt x="16876" y="6119"/>
                    <a:pt x="16696" y="6543"/>
                    <a:pt x="16701" y="7104"/>
                  </a:cubicBezTo>
                  <a:cubicBezTo>
                    <a:pt x="16696" y="7642"/>
                    <a:pt x="16876" y="8077"/>
                    <a:pt x="17147" y="8077"/>
                  </a:cubicBezTo>
                  <a:cubicBezTo>
                    <a:pt x="17429" y="8077"/>
                    <a:pt x="17610" y="7642"/>
                    <a:pt x="17610" y="7104"/>
                  </a:cubicBezTo>
                  <a:cubicBezTo>
                    <a:pt x="17604" y="6543"/>
                    <a:pt x="17429" y="6119"/>
                    <a:pt x="17153" y="611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Shape 2702">
              <a:extLst>
                <a:ext uri="{FF2B5EF4-FFF2-40B4-BE49-F238E27FC236}">
                  <a16:creationId xmlns:a16="http://schemas.microsoft.com/office/drawing/2014/main" id="{B2AF1B0E-AB0F-4288-8161-ACD643C8AE3F}"/>
                </a:ext>
              </a:extLst>
            </p:cNvPr>
            <p:cNvSpPr/>
            <p:nvPr/>
          </p:nvSpPr>
          <p:spPr bwMode="gray">
            <a:xfrm>
              <a:off x="8959022" y="2875608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520"/>
                  </a:moveTo>
                  <a:cubicBezTo>
                    <a:pt x="7396" y="20520"/>
                    <a:pt x="4399" y="18805"/>
                    <a:pt x="2638" y="16200"/>
                  </a:cubicBezTo>
                  <a:lnTo>
                    <a:pt x="9966" y="16200"/>
                  </a:lnTo>
                  <a:cubicBezTo>
                    <a:pt x="10478" y="17309"/>
                    <a:pt x="12251" y="18900"/>
                    <a:pt x="13500" y="18900"/>
                  </a:cubicBezTo>
                  <a:cubicBezTo>
                    <a:pt x="14973" y="18900"/>
                    <a:pt x="16200" y="17820"/>
                    <a:pt x="16200" y="15660"/>
                  </a:cubicBezTo>
                  <a:cubicBezTo>
                    <a:pt x="16200" y="13500"/>
                    <a:pt x="14973" y="12420"/>
                    <a:pt x="13500" y="12420"/>
                  </a:cubicBezTo>
                  <a:cubicBezTo>
                    <a:pt x="12241" y="12420"/>
                    <a:pt x="10447" y="13973"/>
                    <a:pt x="9953" y="15120"/>
                  </a:cubicBezTo>
                  <a:lnTo>
                    <a:pt x="2014" y="15120"/>
                  </a:lnTo>
                  <a:cubicBezTo>
                    <a:pt x="1359" y="13817"/>
                    <a:pt x="982" y="12354"/>
                    <a:pt x="982" y="10800"/>
                  </a:cubicBezTo>
                  <a:cubicBezTo>
                    <a:pt x="982" y="9246"/>
                    <a:pt x="1359" y="7783"/>
                    <a:pt x="2014" y="6480"/>
                  </a:cubicBezTo>
                  <a:lnTo>
                    <a:pt x="9966" y="6480"/>
                  </a:lnTo>
                  <a:cubicBezTo>
                    <a:pt x="10478" y="7589"/>
                    <a:pt x="12252" y="9180"/>
                    <a:pt x="13500" y="9180"/>
                  </a:cubicBezTo>
                  <a:cubicBezTo>
                    <a:pt x="14973" y="9180"/>
                    <a:pt x="16200" y="8100"/>
                    <a:pt x="16200" y="5940"/>
                  </a:cubicBezTo>
                  <a:cubicBezTo>
                    <a:pt x="16200" y="3780"/>
                    <a:pt x="14973" y="2700"/>
                    <a:pt x="13500" y="2700"/>
                  </a:cubicBezTo>
                  <a:cubicBezTo>
                    <a:pt x="12241" y="2700"/>
                    <a:pt x="10447" y="4253"/>
                    <a:pt x="9953" y="5400"/>
                  </a:cubicBezTo>
                  <a:lnTo>
                    <a:pt x="2638" y="5400"/>
                  </a:lnTo>
                  <a:cubicBezTo>
                    <a:pt x="4399" y="2796"/>
                    <a:pt x="7396" y="1080"/>
                    <a:pt x="10800" y="1080"/>
                  </a:cubicBezTo>
                  <a:cubicBezTo>
                    <a:pt x="16038" y="1080"/>
                    <a:pt x="20306" y="5145"/>
                    <a:pt x="20590" y="10260"/>
                  </a:cubicBezTo>
                  <a:lnTo>
                    <a:pt x="10652" y="10260"/>
                  </a:lnTo>
                  <a:cubicBezTo>
                    <a:pt x="10140" y="9151"/>
                    <a:pt x="8367" y="7560"/>
                    <a:pt x="7118" y="7560"/>
                  </a:cubicBezTo>
                  <a:cubicBezTo>
                    <a:pt x="5645" y="7560"/>
                    <a:pt x="4418" y="8640"/>
                    <a:pt x="4418" y="10800"/>
                  </a:cubicBezTo>
                  <a:cubicBezTo>
                    <a:pt x="4418" y="12960"/>
                    <a:pt x="5645" y="14040"/>
                    <a:pt x="7118" y="14040"/>
                  </a:cubicBezTo>
                  <a:cubicBezTo>
                    <a:pt x="8377" y="14040"/>
                    <a:pt x="10171" y="12488"/>
                    <a:pt x="10665" y="11340"/>
                  </a:cubicBezTo>
                  <a:lnTo>
                    <a:pt x="20590" y="11340"/>
                  </a:lnTo>
                  <a:cubicBezTo>
                    <a:pt x="20306" y="16456"/>
                    <a:pt x="16038" y="20520"/>
                    <a:pt x="10800" y="20520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Shape 2703">
              <a:extLst>
                <a:ext uri="{FF2B5EF4-FFF2-40B4-BE49-F238E27FC236}">
                  <a16:creationId xmlns:a16="http://schemas.microsoft.com/office/drawing/2014/main" id="{DDD1FFB4-71AC-4750-ACE8-5CD94FBBAEF2}"/>
                </a:ext>
              </a:extLst>
            </p:cNvPr>
            <p:cNvSpPr/>
            <p:nvPr/>
          </p:nvSpPr>
          <p:spPr bwMode="gray">
            <a:xfrm>
              <a:off x="9523872" y="2862472"/>
              <a:ext cx="262721" cy="2892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8839"/>
                  </a:moveTo>
                  <a:cubicBezTo>
                    <a:pt x="15958" y="8839"/>
                    <a:pt x="16200" y="8619"/>
                    <a:pt x="16200" y="8348"/>
                  </a:cubicBezTo>
                  <a:lnTo>
                    <a:pt x="16200" y="6386"/>
                  </a:lnTo>
                  <a:cubicBezTo>
                    <a:pt x="16200" y="6115"/>
                    <a:pt x="15958" y="5896"/>
                    <a:pt x="15660" y="5896"/>
                  </a:cubicBezTo>
                  <a:cubicBezTo>
                    <a:pt x="15362" y="5896"/>
                    <a:pt x="15120" y="6115"/>
                    <a:pt x="15120" y="6386"/>
                  </a:cubicBezTo>
                  <a:lnTo>
                    <a:pt x="15120" y="8348"/>
                  </a:lnTo>
                  <a:cubicBezTo>
                    <a:pt x="15120" y="8619"/>
                    <a:pt x="15362" y="8839"/>
                    <a:pt x="15660" y="8839"/>
                  </a:cubicBezTo>
                  <a:moveTo>
                    <a:pt x="20520" y="17666"/>
                  </a:moveTo>
                  <a:lnTo>
                    <a:pt x="13048" y="17666"/>
                  </a:lnTo>
                  <a:cubicBezTo>
                    <a:pt x="12910" y="16942"/>
                    <a:pt x="12848" y="16231"/>
                    <a:pt x="12830" y="15570"/>
                  </a:cubicBezTo>
                  <a:cubicBezTo>
                    <a:pt x="16149" y="15233"/>
                    <a:pt x="18453" y="14207"/>
                    <a:pt x="18568" y="14155"/>
                  </a:cubicBezTo>
                  <a:lnTo>
                    <a:pt x="18085" y="13278"/>
                  </a:lnTo>
                  <a:cubicBezTo>
                    <a:pt x="18059" y="13289"/>
                    <a:pt x="15906" y="14245"/>
                    <a:pt x="12837" y="14581"/>
                  </a:cubicBezTo>
                  <a:cubicBezTo>
                    <a:pt x="12896" y="13028"/>
                    <a:pt x="13167" y="11927"/>
                    <a:pt x="13173" y="11902"/>
                  </a:cubicBezTo>
                  <a:lnTo>
                    <a:pt x="13325" y="11301"/>
                  </a:lnTo>
                  <a:lnTo>
                    <a:pt x="9308" y="11301"/>
                  </a:lnTo>
                  <a:cubicBezTo>
                    <a:pt x="9741" y="8291"/>
                    <a:pt x="10857" y="5772"/>
                    <a:pt x="11921" y="3934"/>
                  </a:cubicBezTo>
                  <a:lnTo>
                    <a:pt x="20520" y="3934"/>
                  </a:lnTo>
                  <a:cubicBezTo>
                    <a:pt x="20520" y="3934"/>
                    <a:pt x="20520" y="17666"/>
                    <a:pt x="20520" y="17666"/>
                  </a:cubicBezTo>
                  <a:close/>
                  <a:moveTo>
                    <a:pt x="10766" y="15678"/>
                  </a:moveTo>
                  <a:cubicBezTo>
                    <a:pt x="11096" y="15678"/>
                    <a:pt x="11418" y="15668"/>
                    <a:pt x="11734" y="15653"/>
                  </a:cubicBezTo>
                  <a:cubicBezTo>
                    <a:pt x="11753" y="16291"/>
                    <a:pt x="11808" y="16967"/>
                    <a:pt x="11933" y="17666"/>
                  </a:cubicBezTo>
                  <a:lnTo>
                    <a:pt x="1080" y="17666"/>
                  </a:lnTo>
                  <a:lnTo>
                    <a:pt x="1080" y="3934"/>
                  </a:lnTo>
                  <a:lnTo>
                    <a:pt x="10689" y="3934"/>
                  </a:lnTo>
                  <a:cubicBezTo>
                    <a:pt x="9598" y="5921"/>
                    <a:pt x="8520" y="8577"/>
                    <a:pt x="8164" y="11742"/>
                  </a:cubicBezTo>
                  <a:lnTo>
                    <a:pt x="8103" y="12282"/>
                  </a:lnTo>
                  <a:lnTo>
                    <a:pt x="11993" y="12282"/>
                  </a:lnTo>
                  <a:cubicBezTo>
                    <a:pt x="11893" y="12823"/>
                    <a:pt x="11771" y="13665"/>
                    <a:pt x="11736" y="14669"/>
                  </a:cubicBezTo>
                  <a:cubicBezTo>
                    <a:pt x="11418" y="14686"/>
                    <a:pt x="11097" y="14697"/>
                    <a:pt x="10766" y="14697"/>
                  </a:cubicBezTo>
                  <a:cubicBezTo>
                    <a:pt x="6636" y="14697"/>
                    <a:pt x="3478" y="13292"/>
                    <a:pt x="3447" y="13278"/>
                  </a:cubicBezTo>
                  <a:lnTo>
                    <a:pt x="2965" y="14155"/>
                  </a:lnTo>
                  <a:cubicBezTo>
                    <a:pt x="3102" y="14218"/>
                    <a:pt x="6369" y="15678"/>
                    <a:pt x="10766" y="15678"/>
                  </a:cubicBezTo>
                  <a:moveTo>
                    <a:pt x="20520" y="2954"/>
                  </a:moveTo>
                  <a:lnTo>
                    <a:pt x="12519" y="2954"/>
                  </a:lnTo>
                  <a:cubicBezTo>
                    <a:pt x="13470" y="1490"/>
                    <a:pt x="14254" y="661"/>
                    <a:pt x="14273" y="641"/>
                  </a:cubicBezTo>
                  <a:lnTo>
                    <a:pt x="13456" y="0"/>
                  </a:lnTo>
                  <a:cubicBezTo>
                    <a:pt x="13366" y="95"/>
                    <a:pt x="12371" y="1151"/>
                    <a:pt x="11260" y="2954"/>
                  </a:cubicBezTo>
                  <a:lnTo>
                    <a:pt x="1080" y="2954"/>
                  </a:lnTo>
                  <a:cubicBezTo>
                    <a:pt x="483" y="2954"/>
                    <a:pt x="0" y="3393"/>
                    <a:pt x="0" y="3934"/>
                  </a:cubicBezTo>
                  <a:lnTo>
                    <a:pt x="0" y="17666"/>
                  </a:lnTo>
                  <a:cubicBezTo>
                    <a:pt x="0" y="18207"/>
                    <a:pt x="483" y="18646"/>
                    <a:pt x="1080" y="18646"/>
                  </a:cubicBezTo>
                  <a:lnTo>
                    <a:pt x="12155" y="18646"/>
                  </a:lnTo>
                  <a:cubicBezTo>
                    <a:pt x="12423" y="19645"/>
                    <a:pt x="12834" y="20653"/>
                    <a:pt x="13465" y="21600"/>
                  </a:cubicBezTo>
                  <a:lnTo>
                    <a:pt x="14389" y="21092"/>
                  </a:lnTo>
                  <a:cubicBezTo>
                    <a:pt x="13874" y="20318"/>
                    <a:pt x="13522" y="19485"/>
                    <a:pt x="13281" y="18646"/>
                  </a:cubicBezTo>
                  <a:lnTo>
                    <a:pt x="20520" y="18646"/>
                  </a:lnTo>
                  <a:cubicBezTo>
                    <a:pt x="21116" y="18646"/>
                    <a:pt x="21600" y="18207"/>
                    <a:pt x="21600" y="17666"/>
                  </a:cubicBezTo>
                  <a:lnTo>
                    <a:pt x="21600" y="3934"/>
                  </a:lnTo>
                  <a:cubicBezTo>
                    <a:pt x="21600" y="3393"/>
                    <a:pt x="21116" y="2954"/>
                    <a:pt x="20520" y="2954"/>
                  </a:cubicBezTo>
                  <a:moveTo>
                    <a:pt x="5940" y="8839"/>
                  </a:moveTo>
                  <a:cubicBezTo>
                    <a:pt x="6238" y="8839"/>
                    <a:pt x="6480" y="8619"/>
                    <a:pt x="6480" y="8348"/>
                  </a:cubicBezTo>
                  <a:lnTo>
                    <a:pt x="6480" y="6386"/>
                  </a:lnTo>
                  <a:cubicBezTo>
                    <a:pt x="6480" y="6115"/>
                    <a:pt x="6238" y="5896"/>
                    <a:pt x="5940" y="5896"/>
                  </a:cubicBezTo>
                  <a:cubicBezTo>
                    <a:pt x="5642" y="5896"/>
                    <a:pt x="5400" y="6115"/>
                    <a:pt x="5400" y="6386"/>
                  </a:cubicBezTo>
                  <a:lnTo>
                    <a:pt x="5400" y="8348"/>
                  </a:lnTo>
                  <a:cubicBezTo>
                    <a:pt x="5400" y="8619"/>
                    <a:pt x="5642" y="8839"/>
                    <a:pt x="5940" y="883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Shape 2704">
              <a:extLst>
                <a:ext uri="{FF2B5EF4-FFF2-40B4-BE49-F238E27FC236}">
                  <a16:creationId xmlns:a16="http://schemas.microsoft.com/office/drawing/2014/main" id="{C1338335-D502-47A0-ABB9-481286D568CE}"/>
                </a:ext>
              </a:extLst>
            </p:cNvPr>
            <p:cNvSpPr/>
            <p:nvPr/>
          </p:nvSpPr>
          <p:spPr bwMode="gray">
            <a:xfrm>
              <a:off x="10062449" y="2862472"/>
              <a:ext cx="288993" cy="288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8"/>
                    <a:pt x="5378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  <a:moveTo>
                    <a:pt x="15628" y="4904"/>
                  </a:moveTo>
                  <a:lnTo>
                    <a:pt x="14334" y="4904"/>
                  </a:lnTo>
                  <a:lnTo>
                    <a:pt x="10776" y="9842"/>
                  </a:lnTo>
                  <a:lnTo>
                    <a:pt x="7337" y="4904"/>
                  </a:lnTo>
                  <a:lnTo>
                    <a:pt x="5975" y="4904"/>
                  </a:lnTo>
                  <a:lnTo>
                    <a:pt x="10094" y="10618"/>
                  </a:lnTo>
                  <a:lnTo>
                    <a:pt x="5736" y="16696"/>
                  </a:lnTo>
                  <a:lnTo>
                    <a:pt x="7030" y="16696"/>
                  </a:lnTo>
                  <a:lnTo>
                    <a:pt x="10776" y="11493"/>
                  </a:lnTo>
                  <a:lnTo>
                    <a:pt x="14470" y="16696"/>
                  </a:lnTo>
                  <a:lnTo>
                    <a:pt x="15866" y="16696"/>
                  </a:lnTo>
                  <a:lnTo>
                    <a:pt x="11474" y="10651"/>
                  </a:lnTo>
                  <a:cubicBezTo>
                    <a:pt x="11474" y="10651"/>
                    <a:pt x="15628" y="4904"/>
                    <a:pt x="15628" y="49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Shape 2705">
              <a:extLst>
                <a:ext uri="{FF2B5EF4-FFF2-40B4-BE49-F238E27FC236}">
                  <a16:creationId xmlns:a16="http://schemas.microsoft.com/office/drawing/2014/main" id="{D43BD5E5-CC61-4CCC-B23D-AA89F8261883}"/>
                </a:ext>
              </a:extLst>
            </p:cNvPr>
            <p:cNvSpPr/>
            <p:nvPr/>
          </p:nvSpPr>
          <p:spPr bwMode="gray">
            <a:xfrm>
              <a:off x="10614163" y="2862472"/>
              <a:ext cx="288923" cy="2892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2" y="3820"/>
                  </a:moveTo>
                  <a:lnTo>
                    <a:pt x="7853" y="2877"/>
                  </a:lnTo>
                  <a:lnTo>
                    <a:pt x="7853" y="8838"/>
                  </a:lnTo>
                  <a:lnTo>
                    <a:pt x="982" y="8838"/>
                  </a:lnTo>
                  <a:cubicBezTo>
                    <a:pt x="982" y="8838"/>
                    <a:pt x="982" y="3820"/>
                    <a:pt x="982" y="3820"/>
                  </a:cubicBezTo>
                  <a:close/>
                  <a:moveTo>
                    <a:pt x="0" y="9819"/>
                  </a:moveTo>
                  <a:lnTo>
                    <a:pt x="8835" y="9819"/>
                  </a:lnTo>
                  <a:lnTo>
                    <a:pt x="8835" y="1752"/>
                  </a:lnTo>
                  <a:lnTo>
                    <a:pt x="0" y="2964"/>
                  </a:lnTo>
                  <a:cubicBezTo>
                    <a:pt x="0" y="2964"/>
                    <a:pt x="0" y="9819"/>
                    <a:pt x="0" y="9819"/>
                  </a:cubicBezTo>
                  <a:close/>
                  <a:moveTo>
                    <a:pt x="20618" y="8838"/>
                  </a:moveTo>
                  <a:lnTo>
                    <a:pt x="11771" y="8838"/>
                  </a:lnTo>
                  <a:lnTo>
                    <a:pt x="11771" y="2339"/>
                  </a:lnTo>
                  <a:lnTo>
                    <a:pt x="20618" y="1125"/>
                  </a:lnTo>
                  <a:cubicBezTo>
                    <a:pt x="20618" y="1125"/>
                    <a:pt x="20618" y="8838"/>
                    <a:pt x="20618" y="8838"/>
                  </a:cubicBezTo>
                  <a:close/>
                  <a:moveTo>
                    <a:pt x="10789" y="1484"/>
                  </a:moveTo>
                  <a:lnTo>
                    <a:pt x="10789" y="9819"/>
                  </a:lnTo>
                  <a:lnTo>
                    <a:pt x="21600" y="9819"/>
                  </a:lnTo>
                  <a:lnTo>
                    <a:pt x="21600" y="0"/>
                  </a:lnTo>
                  <a:cubicBezTo>
                    <a:pt x="21600" y="0"/>
                    <a:pt x="10789" y="1484"/>
                    <a:pt x="10789" y="1484"/>
                  </a:cubicBezTo>
                  <a:close/>
                  <a:moveTo>
                    <a:pt x="982" y="12763"/>
                  </a:moveTo>
                  <a:lnTo>
                    <a:pt x="7853" y="12763"/>
                  </a:lnTo>
                  <a:lnTo>
                    <a:pt x="7853" y="18722"/>
                  </a:lnTo>
                  <a:lnTo>
                    <a:pt x="982" y="17780"/>
                  </a:lnTo>
                  <a:cubicBezTo>
                    <a:pt x="982" y="17780"/>
                    <a:pt x="982" y="12763"/>
                    <a:pt x="982" y="12763"/>
                  </a:cubicBezTo>
                  <a:close/>
                  <a:moveTo>
                    <a:pt x="0" y="18635"/>
                  </a:moveTo>
                  <a:lnTo>
                    <a:pt x="8835" y="19848"/>
                  </a:lnTo>
                  <a:lnTo>
                    <a:pt x="8835" y="11782"/>
                  </a:lnTo>
                  <a:lnTo>
                    <a:pt x="0" y="11782"/>
                  </a:lnTo>
                  <a:cubicBezTo>
                    <a:pt x="0" y="11782"/>
                    <a:pt x="0" y="18635"/>
                    <a:pt x="0" y="18635"/>
                  </a:cubicBezTo>
                  <a:close/>
                  <a:moveTo>
                    <a:pt x="11771" y="12763"/>
                  </a:moveTo>
                  <a:lnTo>
                    <a:pt x="20618" y="12763"/>
                  </a:lnTo>
                  <a:lnTo>
                    <a:pt x="20618" y="20475"/>
                  </a:lnTo>
                  <a:lnTo>
                    <a:pt x="11771" y="19261"/>
                  </a:lnTo>
                  <a:cubicBezTo>
                    <a:pt x="11771" y="19261"/>
                    <a:pt x="11771" y="12763"/>
                    <a:pt x="11771" y="12763"/>
                  </a:cubicBezTo>
                  <a:close/>
                  <a:moveTo>
                    <a:pt x="10789" y="20116"/>
                  </a:moveTo>
                  <a:lnTo>
                    <a:pt x="21600" y="21600"/>
                  </a:lnTo>
                  <a:lnTo>
                    <a:pt x="21600" y="11782"/>
                  </a:lnTo>
                  <a:lnTo>
                    <a:pt x="10789" y="11782"/>
                  </a:lnTo>
                  <a:cubicBezTo>
                    <a:pt x="10789" y="11782"/>
                    <a:pt x="10789" y="20116"/>
                    <a:pt x="10789" y="2011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Shape 2706">
              <a:extLst>
                <a:ext uri="{FF2B5EF4-FFF2-40B4-BE49-F238E27FC236}">
                  <a16:creationId xmlns:a16="http://schemas.microsoft.com/office/drawing/2014/main" id="{1330A0EA-3C64-4A83-B0F8-385FED837904}"/>
                </a:ext>
              </a:extLst>
            </p:cNvPr>
            <p:cNvSpPr/>
            <p:nvPr/>
          </p:nvSpPr>
          <p:spPr bwMode="gray">
            <a:xfrm>
              <a:off x="11205285" y="28624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3745"/>
                  </a:moveTo>
                  <a:cubicBezTo>
                    <a:pt x="20250" y="14016"/>
                    <a:pt x="19948" y="14236"/>
                    <a:pt x="19575" y="14236"/>
                  </a:cubicBezTo>
                  <a:cubicBezTo>
                    <a:pt x="19202" y="14236"/>
                    <a:pt x="18900" y="14016"/>
                    <a:pt x="18900" y="13745"/>
                  </a:cubicBezTo>
                  <a:lnTo>
                    <a:pt x="18900" y="6873"/>
                  </a:lnTo>
                  <a:cubicBezTo>
                    <a:pt x="18900" y="6602"/>
                    <a:pt x="19202" y="6382"/>
                    <a:pt x="19575" y="6382"/>
                  </a:cubicBezTo>
                  <a:cubicBezTo>
                    <a:pt x="19948" y="6382"/>
                    <a:pt x="20250" y="6602"/>
                    <a:pt x="20250" y="6873"/>
                  </a:cubicBezTo>
                  <a:cubicBezTo>
                    <a:pt x="20250" y="6873"/>
                    <a:pt x="20250" y="13745"/>
                    <a:pt x="20250" y="13745"/>
                  </a:cubicBezTo>
                  <a:close/>
                  <a:moveTo>
                    <a:pt x="17550" y="16691"/>
                  </a:moveTo>
                  <a:lnTo>
                    <a:pt x="4050" y="16691"/>
                  </a:lnTo>
                  <a:lnTo>
                    <a:pt x="4050" y="6382"/>
                  </a:lnTo>
                  <a:lnTo>
                    <a:pt x="17550" y="6382"/>
                  </a:lnTo>
                  <a:cubicBezTo>
                    <a:pt x="17550" y="6382"/>
                    <a:pt x="17550" y="16691"/>
                    <a:pt x="17550" y="16691"/>
                  </a:cubicBezTo>
                  <a:close/>
                  <a:moveTo>
                    <a:pt x="14850" y="20127"/>
                  </a:moveTo>
                  <a:cubicBezTo>
                    <a:pt x="14850" y="20399"/>
                    <a:pt x="14548" y="20618"/>
                    <a:pt x="14175" y="20618"/>
                  </a:cubicBezTo>
                  <a:cubicBezTo>
                    <a:pt x="13802" y="20618"/>
                    <a:pt x="13500" y="20399"/>
                    <a:pt x="13500" y="20127"/>
                  </a:cubicBezTo>
                  <a:lnTo>
                    <a:pt x="13500" y="17673"/>
                  </a:lnTo>
                  <a:lnTo>
                    <a:pt x="14850" y="17673"/>
                  </a:lnTo>
                  <a:cubicBezTo>
                    <a:pt x="14850" y="17673"/>
                    <a:pt x="14850" y="20127"/>
                    <a:pt x="14850" y="20127"/>
                  </a:cubicBezTo>
                  <a:close/>
                  <a:moveTo>
                    <a:pt x="8100" y="20127"/>
                  </a:moveTo>
                  <a:cubicBezTo>
                    <a:pt x="8100" y="20399"/>
                    <a:pt x="7798" y="20618"/>
                    <a:pt x="7425" y="20618"/>
                  </a:cubicBezTo>
                  <a:cubicBezTo>
                    <a:pt x="7052" y="20618"/>
                    <a:pt x="6750" y="20399"/>
                    <a:pt x="6750" y="20127"/>
                  </a:cubicBezTo>
                  <a:lnTo>
                    <a:pt x="6750" y="17673"/>
                  </a:lnTo>
                  <a:lnTo>
                    <a:pt x="8100" y="17673"/>
                  </a:lnTo>
                  <a:cubicBezTo>
                    <a:pt x="8100" y="17673"/>
                    <a:pt x="8100" y="20127"/>
                    <a:pt x="8100" y="20127"/>
                  </a:cubicBezTo>
                  <a:close/>
                  <a:moveTo>
                    <a:pt x="10800" y="1964"/>
                  </a:moveTo>
                  <a:cubicBezTo>
                    <a:pt x="14242" y="1964"/>
                    <a:pt x="17075" y="3464"/>
                    <a:pt x="17492" y="5400"/>
                  </a:cubicBezTo>
                  <a:lnTo>
                    <a:pt x="4108" y="5400"/>
                  </a:lnTo>
                  <a:cubicBezTo>
                    <a:pt x="4525" y="3464"/>
                    <a:pt x="7358" y="1964"/>
                    <a:pt x="10800" y="1964"/>
                  </a:cubicBezTo>
                  <a:moveTo>
                    <a:pt x="2700" y="13745"/>
                  </a:moveTo>
                  <a:cubicBezTo>
                    <a:pt x="2700" y="14016"/>
                    <a:pt x="2398" y="14236"/>
                    <a:pt x="2025" y="14236"/>
                  </a:cubicBezTo>
                  <a:cubicBezTo>
                    <a:pt x="1652" y="14236"/>
                    <a:pt x="1350" y="14016"/>
                    <a:pt x="1350" y="13745"/>
                  </a:cubicBezTo>
                  <a:lnTo>
                    <a:pt x="1350" y="6873"/>
                  </a:lnTo>
                  <a:cubicBezTo>
                    <a:pt x="1350" y="6602"/>
                    <a:pt x="1652" y="6382"/>
                    <a:pt x="2025" y="6382"/>
                  </a:cubicBezTo>
                  <a:cubicBezTo>
                    <a:pt x="2398" y="6382"/>
                    <a:pt x="2700" y="6602"/>
                    <a:pt x="2700" y="6873"/>
                  </a:cubicBezTo>
                  <a:cubicBezTo>
                    <a:pt x="2700" y="6873"/>
                    <a:pt x="2700" y="13745"/>
                    <a:pt x="2700" y="13745"/>
                  </a:cubicBezTo>
                  <a:close/>
                  <a:moveTo>
                    <a:pt x="19575" y="5400"/>
                  </a:moveTo>
                  <a:cubicBezTo>
                    <a:pt x="19336" y="5400"/>
                    <a:pt x="19112" y="5435"/>
                    <a:pt x="18900" y="5491"/>
                  </a:cubicBezTo>
                  <a:lnTo>
                    <a:pt x="18900" y="5400"/>
                  </a:lnTo>
                  <a:lnTo>
                    <a:pt x="18847" y="5400"/>
                  </a:lnTo>
                  <a:cubicBezTo>
                    <a:pt x="18595" y="3873"/>
                    <a:pt x="17191" y="2553"/>
                    <a:pt x="15171" y="1763"/>
                  </a:cubicBezTo>
                  <a:lnTo>
                    <a:pt x="16087" y="763"/>
                  </a:lnTo>
                  <a:lnTo>
                    <a:pt x="16076" y="758"/>
                  </a:lnTo>
                  <a:cubicBezTo>
                    <a:pt x="16148" y="681"/>
                    <a:pt x="16200" y="592"/>
                    <a:pt x="16200" y="491"/>
                  </a:cubicBezTo>
                  <a:cubicBezTo>
                    <a:pt x="16200" y="220"/>
                    <a:pt x="15898" y="0"/>
                    <a:pt x="15525" y="0"/>
                  </a:cubicBezTo>
                  <a:cubicBezTo>
                    <a:pt x="15291" y="0"/>
                    <a:pt x="15095" y="93"/>
                    <a:pt x="14974" y="223"/>
                  </a:cubicBezTo>
                  <a:lnTo>
                    <a:pt x="14963" y="219"/>
                  </a:lnTo>
                  <a:lnTo>
                    <a:pt x="13915" y="1362"/>
                  </a:lnTo>
                  <a:cubicBezTo>
                    <a:pt x="12956" y="1119"/>
                    <a:pt x="11905" y="982"/>
                    <a:pt x="10800" y="982"/>
                  </a:cubicBezTo>
                  <a:cubicBezTo>
                    <a:pt x="9695" y="982"/>
                    <a:pt x="8644" y="1119"/>
                    <a:pt x="7685" y="1362"/>
                  </a:cubicBezTo>
                  <a:lnTo>
                    <a:pt x="6637" y="219"/>
                  </a:lnTo>
                  <a:lnTo>
                    <a:pt x="6626" y="223"/>
                  </a:lnTo>
                  <a:cubicBezTo>
                    <a:pt x="6505" y="93"/>
                    <a:pt x="6309" y="0"/>
                    <a:pt x="6075" y="0"/>
                  </a:cubicBezTo>
                  <a:cubicBezTo>
                    <a:pt x="5702" y="0"/>
                    <a:pt x="5400" y="220"/>
                    <a:pt x="5400" y="491"/>
                  </a:cubicBezTo>
                  <a:cubicBezTo>
                    <a:pt x="5400" y="592"/>
                    <a:pt x="5452" y="681"/>
                    <a:pt x="5524" y="758"/>
                  </a:cubicBezTo>
                  <a:lnTo>
                    <a:pt x="5513" y="763"/>
                  </a:lnTo>
                  <a:lnTo>
                    <a:pt x="6430" y="1763"/>
                  </a:lnTo>
                  <a:cubicBezTo>
                    <a:pt x="4409" y="2553"/>
                    <a:pt x="3005" y="3873"/>
                    <a:pt x="2753" y="5400"/>
                  </a:cubicBezTo>
                  <a:lnTo>
                    <a:pt x="2700" y="5400"/>
                  </a:lnTo>
                  <a:lnTo>
                    <a:pt x="2700" y="5491"/>
                  </a:lnTo>
                  <a:cubicBezTo>
                    <a:pt x="2488" y="5435"/>
                    <a:pt x="2263" y="5400"/>
                    <a:pt x="2025" y="5400"/>
                  </a:cubicBezTo>
                  <a:cubicBezTo>
                    <a:pt x="907" y="5400"/>
                    <a:pt x="0" y="6060"/>
                    <a:pt x="0" y="6873"/>
                  </a:cubicBezTo>
                  <a:lnTo>
                    <a:pt x="0" y="13745"/>
                  </a:lnTo>
                  <a:cubicBezTo>
                    <a:pt x="0" y="14559"/>
                    <a:pt x="907" y="15218"/>
                    <a:pt x="2025" y="15218"/>
                  </a:cubicBezTo>
                  <a:cubicBezTo>
                    <a:pt x="2263" y="15218"/>
                    <a:pt x="2488" y="15183"/>
                    <a:pt x="2700" y="15128"/>
                  </a:cubicBezTo>
                  <a:lnTo>
                    <a:pt x="2700" y="16691"/>
                  </a:lnTo>
                  <a:cubicBezTo>
                    <a:pt x="2700" y="17233"/>
                    <a:pt x="3305" y="17673"/>
                    <a:pt x="4050" y="17673"/>
                  </a:cubicBezTo>
                  <a:lnTo>
                    <a:pt x="5400" y="17673"/>
                  </a:lnTo>
                  <a:lnTo>
                    <a:pt x="5400" y="20127"/>
                  </a:lnTo>
                  <a:cubicBezTo>
                    <a:pt x="5400" y="20941"/>
                    <a:pt x="6307" y="21600"/>
                    <a:pt x="7425" y="21600"/>
                  </a:cubicBezTo>
                  <a:cubicBezTo>
                    <a:pt x="8543" y="21600"/>
                    <a:pt x="9450" y="20941"/>
                    <a:pt x="9450" y="20127"/>
                  </a:cubicBezTo>
                  <a:lnTo>
                    <a:pt x="9450" y="17673"/>
                  </a:lnTo>
                  <a:lnTo>
                    <a:pt x="12150" y="17673"/>
                  </a:lnTo>
                  <a:lnTo>
                    <a:pt x="12150" y="20127"/>
                  </a:lnTo>
                  <a:cubicBezTo>
                    <a:pt x="12150" y="20941"/>
                    <a:pt x="13056" y="21600"/>
                    <a:pt x="14175" y="21600"/>
                  </a:cubicBezTo>
                  <a:cubicBezTo>
                    <a:pt x="15294" y="21600"/>
                    <a:pt x="16200" y="20941"/>
                    <a:pt x="16200" y="20127"/>
                  </a:cubicBezTo>
                  <a:lnTo>
                    <a:pt x="16200" y="17673"/>
                  </a:lnTo>
                  <a:lnTo>
                    <a:pt x="17550" y="17673"/>
                  </a:lnTo>
                  <a:cubicBezTo>
                    <a:pt x="18295" y="17673"/>
                    <a:pt x="18900" y="17233"/>
                    <a:pt x="18900" y="16691"/>
                  </a:cubicBezTo>
                  <a:lnTo>
                    <a:pt x="18900" y="15128"/>
                  </a:lnTo>
                  <a:cubicBezTo>
                    <a:pt x="19112" y="15183"/>
                    <a:pt x="19336" y="15218"/>
                    <a:pt x="19575" y="15218"/>
                  </a:cubicBezTo>
                  <a:cubicBezTo>
                    <a:pt x="20694" y="15218"/>
                    <a:pt x="21600" y="14559"/>
                    <a:pt x="21600" y="13745"/>
                  </a:cubicBezTo>
                  <a:lnTo>
                    <a:pt x="21600" y="6873"/>
                  </a:lnTo>
                  <a:cubicBezTo>
                    <a:pt x="21600" y="6060"/>
                    <a:pt x="20694" y="5400"/>
                    <a:pt x="19575" y="5400"/>
                  </a:cubicBezTo>
                  <a:moveTo>
                    <a:pt x="12825" y="3436"/>
                  </a:moveTo>
                  <a:cubicBezTo>
                    <a:pt x="12452" y="3436"/>
                    <a:pt x="12150" y="3656"/>
                    <a:pt x="12150" y="3927"/>
                  </a:cubicBezTo>
                  <a:cubicBezTo>
                    <a:pt x="12150" y="4199"/>
                    <a:pt x="12452" y="4418"/>
                    <a:pt x="12825" y="4418"/>
                  </a:cubicBezTo>
                  <a:cubicBezTo>
                    <a:pt x="13198" y="4418"/>
                    <a:pt x="13500" y="4199"/>
                    <a:pt x="13500" y="3927"/>
                  </a:cubicBezTo>
                  <a:cubicBezTo>
                    <a:pt x="13500" y="3656"/>
                    <a:pt x="13198" y="3436"/>
                    <a:pt x="12825" y="3436"/>
                  </a:cubicBezTo>
                  <a:moveTo>
                    <a:pt x="8775" y="3436"/>
                  </a:moveTo>
                  <a:cubicBezTo>
                    <a:pt x="8402" y="3436"/>
                    <a:pt x="8100" y="3656"/>
                    <a:pt x="8100" y="3927"/>
                  </a:cubicBezTo>
                  <a:cubicBezTo>
                    <a:pt x="8100" y="4199"/>
                    <a:pt x="8402" y="4418"/>
                    <a:pt x="8775" y="4418"/>
                  </a:cubicBezTo>
                  <a:cubicBezTo>
                    <a:pt x="9148" y="4418"/>
                    <a:pt x="9450" y="4199"/>
                    <a:pt x="9450" y="3927"/>
                  </a:cubicBezTo>
                  <a:cubicBezTo>
                    <a:pt x="9450" y="3656"/>
                    <a:pt x="9148" y="3436"/>
                    <a:pt x="8775" y="34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Shape 2708">
              <a:extLst>
                <a:ext uri="{FF2B5EF4-FFF2-40B4-BE49-F238E27FC236}">
                  <a16:creationId xmlns:a16="http://schemas.microsoft.com/office/drawing/2014/main" id="{86DF1B89-D416-4046-87C5-46DEDFEF8232}"/>
                </a:ext>
              </a:extLst>
            </p:cNvPr>
            <p:cNvSpPr/>
            <p:nvPr/>
          </p:nvSpPr>
          <p:spPr bwMode="gray">
            <a:xfrm>
              <a:off x="617538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888"/>
                  </a:moveTo>
                  <a:lnTo>
                    <a:pt x="8836" y="7712"/>
                  </a:lnTo>
                  <a:lnTo>
                    <a:pt x="14241" y="10800"/>
                  </a:lnTo>
                  <a:cubicBezTo>
                    <a:pt x="14241" y="10800"/>
                    <a:pt x="8836" y="13888"/>
                    <a:pt x="8836" y="13888"/>
                  </a:cubicBezTo>
                  <a:close/>
                  <a:moveTo>
                    <a:pt x="15520" y="10422"/>
                  </a:moveTo>
                  <a:lnTo>
                    <a:pt x="15525" y="10416"/>
                  </a:lnTo>
                  <a:lnTo>
                    <a:pt x="15438" y="10367"/>
                  </a:lnTo>
                  <a:cubicBezTo>
                    <a:pt x="15425" y="10361"/>
                    <a:pt x="15414" y="10351"/>
                    <a:pt x="15401" y="10346"/>
                  </a:cubicBezTo>
                  <a:lnTo>
                    <a:pt x="8652" y="6489"/>
                  </a:lnTo>
                  <a:lnTo>
                    <a:pt x="8647" y="6495"/>
                  </a:lnTo>
                  <a:cubicBezTo>
                    <a:pt x="8563" y="6428"/>
                    <a:pt x="8461" y="6382"/>
                    <a:pt x="8345" y="6382"/>
                  </a:cubicBezTo>
                  <a:cubicBezTo>
                    <a:pt x="8075" y="6382"/>
                    <a:pt x="7855" y="6601"/>
                    <a:pt x="7855" y="6873"/>
                  </a:cubicBezTo>
                  <a:lnTo>
                    <a:pt x="7855" y="14727"/>
                  </a:lnTo>
                  <a:cubicBezTo>
                    <a:pt x="7855" y="14999"/>
                    <a:pt x="8075" y="15218"/>
                    <a:pt x="8345" y="15218"/>
                  </a:cubicBezTo>
                  <a:cubicBezTo>
                    <a:pt x="8461" y="15218"/>
                    <a:pt x="8563" y="15172"/>
                    <a:pt x="8647" y="15105"/>
                  </a:cubicBezTo>
                  <a:lnTo>
                    <a:pt x="8652" y="15111"/>
                  </a:lnTo>
                  <a:lnTo>
                    <a:pt x="15401" y="11254"/>
                  </a:lnTo>
                  <a:cubicBezTo>
                    <a:pt x="15414" y="11249"/>
                    <a:pt x="15425" y="11240"/>
                    <a:pt x="15438" y="11233"/>
                  </a:cubicBezTo>
                  <a:lnTo>
                    <a:pt x="15525" y="11184"/>
                  </a:lnTo>
                  <a:lnTo>
                    <a:pt x="15520" y="11178"/>
                  </a:lnTo>
                  <a:cubicBezTo>
                    <a:pt x="15632" y="11088"/>
                    <a:pt x="15709" y="10955"/>
                    <a:pt x="15709" y="10800"/>
                  </a:cubicBezTo>
                  <a:cubicBezTo>
                    <a:pt x="15709" y="10645"/>
                    <a:pt x="15632" y="10512"/>
                    <a:pt x="15520" y="1042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Shape 2709">
              <a:extLst>
                <a:ext uri="{FF2B5EF4-FFF2-40B4-BE49-F238E27FC236}">
                  <a16:creationId xmlns:a16="http://schemas.microsoft.com/office/drawing/2014/main" id="{10B84836-A0FF-4F7B-9DBB-0498CB689AD7}"/>
                </a:ext>
              </a:extLst>
            </p:cNvPr>
            <p:cNvSpPr/>
            <p:nvPr/>
          </p:nvSpPr>
          <p:spPr bwMode="gray">
            <a:xfrm>
              <a:off x="116925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12764" y="13745"/>
                  </a:lnTo>
                  <a:lnTo>
                    <a:pt x="12764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12273" y="6873"/>
                  </a:lnTo>
                  <a:cubicBezTo>
                    <a:pt x="12002" y="6873"/>
                    <a:pt x="11782" y="7092"/>
                    <a:pt x="11782" y="7364"/>
                  </a:cubicBezTo>
                  <a:lnTo>
                    <a:pt x="11782" y="14236"/>
                  </a:lnTo>
                  <a:cubicBezTo>
                    <a:pt x="11782" y="14508"/>
                    <a:pt x="12002" y="14727"/>
                    <a:pt x="12273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8836" y="7855"/>
                  </a:lnTo>
                  <a:cubicBezTo>
                    <a:pt x="8836" y="7855"/>
                    <a:pt x="8836" y="13745"/>
                    <a:pt x="8836" y="13745"/>
                  </a:cubicBezTo>
                  <a:close/>
                  <a:moveTo>
                    <a:pt x="9327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9327" y="14727"/>
                  </a:lnTo>
                  <a:cubicBezTo>
                    <a:pt x="9598" y="14727"/>
                    <a:pt x="9818" y="14508"/>
                    <a:pt x="9818" y="14236"/>
                  </a:cubicBezTo>
                  <a:lnTo>
                    <a:pt x="9818" y="7364"/>
                  </a:lnTo>
                  <a:cubicBezTo>
                    <a:pt x="9818" y="7092"/>
                    <a:pt x="9598" y="6873"/>
                    <a:pt x="9327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Shape 2710">
              <a:extLst>
                <a:ext uri="{FF2B5EF4-FFF2-40B4-BE49-F238E27FC236}">
                  <a16:creationId xmlns:a16="http://schemas.microsoft.com/office/drawing/2014/main" id="{7606074A-48DC-438F-8673-94FB77846262}"/>
                </a:ext>
              </a:extLst>
            </p:cNvPr>
            <p:cNvSpPr/>
            <p:nvPr/>
          </p:nvSpPr>
          <p:spPr bwMode="gray">
            <a:xfrm>
              <a:off x="1720965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Shape 2711">
              <a:extLst>
                <a:ext uri="{FF2B5EF4-FFF2-40B4-BE49-F238E27FC236}">
                  <a16:creationId xmlns:a16="http://schemas.microsoft.com/office/drawing/2014/main" id="{A180358A-2379-442B-B370-7799C165ACE8}"/>
                </a:ext>
              </a:extLst>
            </p:cNvPr>
            <p:cNvSpPr/>
            <p:nvPr/>
          </p:nvSpPr>
          <p:spPr bwMode="gray">
            <a:xfrm>
              <a:off x="2272679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0800" y="13745"/>
                  </a:moveTo>
                  <a:cubicBezTo>
                    <a:pt x="9173" y="13745"/>
                    <a:pt x="7855" y="12427"/>
                    <a:pt x="7855" y="10800"/>
                  </a:cubicBezTo>
                  <a:cubicBezTo>
                    <a:pt x="7855" y="9173"/>
                    <a:pt x="9173" y="7855"/>
                    <a:pt x="10800" y="7855"/>
                  </a:cubicBezTo>
                  <a:cubicBezTo>
                    <a:pt x="12427" y="7855"/>
                    <a:pt x="13745" y="9173"/>
                    <a:pt x="13745" y="10800"/>
                  </a:cubicBezTo>
                  <a:cubicBezTo>
                    <a:pt x="13745" y="12427"/>
                    <a:pt x="12427" y="13745"/>
                    <a:pt x="10800" y="13745"/>
                  </a:cubicBezTo>
                  <a:moveTo>
                    <a:pt x="10800" y="6873"/>
                  </a:move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2969"/>
                    <a:pt x="8631" y="14727"/>
                    <a:pt x="10800" y="14727"/>
                  </a:cubicBezTo>
                  <a:cubicBezTo>
                    <a:pt x="12969" y="14727"/>
                    <a:pt x="14727" y="12969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Shape 2712">
              <a:extLst>
                <a:ext uri="{FF2B5EF4-FFF2-40B4-BE49-F238E27FC236}">
                  <a16:creationId xmlns:a16="http://schemas.microsoft.com/office/drawing/2014/main" id="{5AD49A97-F754-4FD8-A6FE-5CE064FB890E}"/>
                </a:ext>
              </a:extLst>
            </p:cNvPr>
            <p:cNvSpPr/>
            <p:nvPr/>
          </p:nvSpPr>
          <p:spPr bwMode="gray">
            <a:xfrm>
              <a:off x="282439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3888"/>
                  </a:moveTo>
                  <a:lnTo>
                    <a:pt x="10800" y="7712"/>
                  </a:lnTo>
                  <a:lnTo>
                    <a:pt x="16204" y="10800"/>
                  </a:lnTo>
                  <a:cubicBezTo>
                    <a:pt x="16204" y="10800"/>
                    <a:pt x="10800" y="13888"/>
                    <a:pt x="10800" y="13888"/>
                  </a:cubicBezTo>
                  <a:close/>
                  <a:moveTo>
                    <a:pt x="17484" y="10422"/>
                  </a:moveTo>
                  <a:lnTo>
                    <a:pt x="17489" y="10416"/>
                  </a:lnTo>
                  <a:lnTo>
                    <a:pt x="17402" y="10367"/>
                  </a:lnTo>
                  <a:cubicBezTo>
                    <a:pt x="17389" y="10361"/>
                    <a:pt x="17378" y="10351"/>
                    <a:pt x="17365" y="10346"/>
                  </a:cubicBezTo>
                  <a:lnTo>
                    <a:pt x="10616" y="6489"/>
                  </a:lnTo>
                  <a:lnTo>
                    <a:pt x="10611" y="6495"/>
                  </a:lnTo>
                  <a:cubicBezTo>
                    <a:pt x="10527" y="6428"/>
                    <a:pt x="10425" y="6382"/>
                    <a:pt x="10309" y="6382"/>
                  </a:cubicBezTo>
                  <a:cubicBezTo>
                    <a:pt x="10038" y="6382"/>
                    <a:pt x="9818" y="6601"/>
                    <a:pt x="9818" y="6873"/>
                  </a:cubicBezTo>
                  <a:lnTo>
                    <a:pt x="9818" y="14727"/>
                  </a:lnTo>
                  <a:cubicBezTo>
                    <a:pt x="9818" y="14999"/>
                    <a:pt x="10038" y="15218"/>
                    <a:pt x="10309" y="15218"/>
                  </a:cubicBezTo>
                  <a:cubicBezTo>
                    <a:pt x="10425" y="15218"/>
                    <a:pt x="10527" y="15172"/>
                    <a:pt x="10611" y="15105"/>
                  </a:cubicBezTo>
                  <a:lnTo>
                    <a:pt x="10616" y="15111"/>
                  </a:lnTo>
                  <a:lnTo>
                    <a:pt x="17365" y="11254"/>
                  </a:lnTo>
                  <a:cubicBezTo>
                    <a:pt x="17378" y="11249"/>
                    <a:pt x="17388" y="11239"/>
                    <a:pt x="17401" y="11233"/>
                  </a:cubicBezTo>
                  <a:lnTo>
                    <a:pt x="17489" y="11184"/>
                  </a:lnTo>
                  <a:lnTo>
                    <a:pt x="17484" y="11178"/>
                  </a:lnTo>
                  <a:cubicBezTo>
                    <a:pt x="17596" y="11088"/>
                    <a:pt x="17673" y="10955"/>
                    <a:pt x="17673" y="10800"/>
                  </a:cubicBezTo>
                  <a:cubicBezTo>
                    <a:pt x="17673" y="10645"/>
                    <a:pt x="17596" y="10512"/>
                    <a:pt x="17484" y="10422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6684" y="6495"/>
                  </a:moveTo>
                  <a:cubicBezTo>
                    <a:pt x="6600" y="6428"/>
                    <a:pt x="6498" y="6382"/>
                    <a:pt x="6382" y="6382"/>
                  </a:cubicBezTo>
                  <a:cubicBezTo>
                    <a:pt x="6111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1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8836" y="13883"/>
                  </a:lnTo>
                  <a:lnTo>
                    <a:pt x="8836" y="12766"/>
                  </a:lnTo>
                  <a:lnTo>
                    <a:pt x="6873" y="13888"/>
                  </a:lnTo>
                  <a:lnTo>
                    <a:pt x="6873" y="7712"/>
                  </a:lnTo>
                  <a:lnTo>
                    <a:pt x="8836" y="8834"/>
                  </a:lnTo>
                  <a:lnTo>
                    <a:pt x="8836" y="7716"/>
                  </a:lnTo>
                  <a:lnTo>
                    <a:pt x="6689" y="6489"/>
                  </a:lnTo>
                  <a:cubicBezTo>
                    <a:pt x="6689" y="6489"/>
                    <a:pt x="6684" y="6495"/>
                    <a:pt x="6684" y="649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Shape 2713">
              <a:extLst>
                <a:ext uri="{FF2B5EF4-FFF2-40B4-BE49-F238E27FC236}">
                  <a16:creationId xmlns:a16="http://schemas.microsoft.com/office/drawing/2014/main" id="{8A564BBB-7DCB-4BCA-8B91-6086F7160D7A}"/>
                </a:ext>
              </a:extLst>
            </p:cNvPr>
            <p:cNvSpPr/>
            <p:nvPr/>
          </p:nvSpPr>
          <p:spPr bwMode="gray">
            <a:xfrm>
              <a:off x="3376106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4236"/>
                  </a:moveTo>
                  <a:lnTo>
                    <a:pt x="13745" y="14236"/>
                  </a:lnTo>
                  <a:lnTo>
                    <a:pt x="13745" y="7364"/>
                  </a:lnTo>
                  <a:lnTo>
                    <a:pt x="14727" y="7364"/>
                  </a:lnTo>
                  <a:cubicBezTo>
                    <a:pt x="14727" y="7364"/>
                    <a:pt x="14727" y="14236"/>
                    <a:pt x="14727" y="14236"/>
                  </a:cubicBezTo>
                  <a:close/>
                  <a:moveTo>
                    <a:pt x="6873" y="13888"/>
                  </a:moveTo>
                  <a:lnTo>
                    <a:pt x="6873" y="7712"/>
                  </a:lnTo>
                  <a:lnTo>
                    <a:pt x="12277" y="10800"/>
                  </a:lnTo>
                  <a:cubicBezTo>
                    <a:pt x="12277" y="10800"/>
                    <a:pt x="6873" y="13888"/>
                    <a:pt x="6873" y="13888"/>
                  </a:cubicBezTo>
                  <a:close/>
                  <a:moveTo>
                    <a:pt x="15218" y="6382"/>
                  </a:moveTo>
                  <a:lnTo>
                    <a:pt x="13255" y="6382"/>
                  </a:lnTo>
                  <a:cubicBezTo>
                    <a:pt x="12983" y="6382"/>
                    <a:pt x="12764" y="6601"/>
                    <a:pt x="12764" y="6873"/>
                  </a:cubicBezTo>
                  <a:lnTo>
                    <a:pt x="12764" y="9961"/>
                  </a:lnTo>
                  <a:lnTo>
                    <a:pt x="6689" y="6489"/>
                  </a:lnTo>
                  <a:lnTo>
                    <a:pt x="6684" y="6495"/>
                  </a:lnTo>
                  <a:cubicBezTo>
                    <a:pt x="6600" y="6428"/>
                    <a:pt x="6498" y="6382"/>
                    <a:pt x="6382" y="6382"/>
                  </a:cubicBezTo>
                  <a:cubicBezTo>
                    <a:pt x="6110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0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12764" y="11639"/>
                  </a:lnTo>
                  <a:lnTo>
                    <a:pt x="12764" y="14727"/>
                  </a:lnTo>
                  <a:cubicBezTo>
                    <a:pt x="12764" y="14999"/>
                    <a:pt x="12983" y="15218"/>
                    <a:pt x="13255" y="15218"/>
                  </a:cubicBezTo>
                  <a:lnTo>
                    <a:pt x="15218" y="15218"/>
                  </a:lnTo>
                  <a:cubicBezTo>
                    <a:pt x="15490" y="15218"/>
                    <a:pt x="15709" y="14999"/>
                    <a:pt x="15709" y="14727"/>
                  </a:cubicBezTo>
                  <a:lnTo>
                    <a:pt x="15709" y="6873"/>
                  </a:lnTo>
                  <a:cubicBezTo>
                    <a:pt x="15709" y="6601"/>
                    <a:pt x="15490" y="6382"/>
                    <a:pt x="15218" y="6382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Shape 2714">
              <a:extLst>
                <a:ext uri="{FF2B5EF4-FFF2-40B4-BE49-F238E27FC236}">
                  <a16:creationId xmlns:a16="http://schemas.microsoft.com/office/drawing/2014/main" id="{0079F722-B172-4FBA-AE1A-FCFE0A7E0F19}"/>
                </a:ext>
              </a:extLst>
            </p:cNvPr>
            <p:cNvSpPr/>
            <p:nvPr/>
          </p:nvSpPr>
          <p:spPr bwMode="gray">
            <a:xfrm>
              <a:off x="392782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8054" y="9818"/>
                  </a:moveTo>
                  <a:lnTo>
                    <a:pt x="10800" y="7072"/>
                  </a:lnTo>
                  <a:lnTo>
                    <a:pt x="13547" y="9818"/>
                  </a:lnTo>
                  <a:cubicBezTo>
                    <a:pt x="13547" y="9818"/>
                    <a:pt x="8054" y="9818"/>
                    <a:pt x="8054" y="9818"/>
                  </a:cubicBezTo>
                  <a:close/>
                  <a:moveTo>
                    <a:pt x="15111" y="10002"/>
                  </a:moveTo>
                  <a:lnTo>
                    <a:pt x="15083" y="9975"/>
                  </a:lnTo>
                  <a:cubicBezTo>
                    <a:pt x="15076" y="9968"/>
                    <a:pt x="15069" y="9960"/>
                    <a:pt x="15061" y="9953"/>
                  </a:cubicBezTo>
                  <a:lnTo>
                    <a:pt x="11184" y="6075"/>
                  </a:lnTo>
                  <a:lnTo>
                    <a:pt x="11177" y="6080"/>
                  </a:lnTo>
                  <a:cubicBezTo>
                    <a:pt x="11088" y="5968"/>
                    <a:pt x="10955" y="5891"/>
                    <a:pt x="10800" y="5891"/>
                  </a:cubicBezTo>
                  <a:cubicBezTo>
                    <a:pt x="10645" y="5891"/>
                    <a:pt x="10512" y="5968"/>
                    <a:pt x="10422" y="6080"/>
                  </a:cubicBezTo>
                  <a:lnTo>
                    <a:pt x="10416" y="6075"/>
                  </a:lnTo>
                  <a:lnTo>
                    <a:pt x="6539" y="9953"/>
                  </a:lnTo>
                  <a:cubicBezTo>
                    <a:pt x="6531" y="9960"/>
                    <a:pt x="6524" y="9968"/>
                    <a:pt x="6517" y="9975"/>
                  </a:cubicBezTo>
                  <a:lnTo>
                    <a:pt x="6489" y="10002"/>
                  </a:lnTo>
                  <a:lnTo>
                    <a:pt x="6495" y="10007"/>
                  </a:lnTo>
                  <a:cubicBezTo>
                    <a:pt x="6428" y="10091"/>
                    <a:pt x="6382" y="10193"/>
                    <a:pt x="6382" y="10309"/>
                  </a:cubicBezTo>
                  <a:cubicBezTo>
                    <a:pt x="6382" y="10580"/>
                    <a:pt x="6601" y="10800"/>
                    <a:pt x="6873" y="10800"/>
                  </a:cubicBezTo>
                  <a:lnTo>
                    <a:pt x="14727" y="10800"/>
                  </a:ln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193"/>
                    <a:pt x="15172" y="10091"/>
                    <a:pt x="15105" y="10007"/>
                  </a:cubicBezTo>
                  <a:cubicBezTo>
                    <a:pt x="15105" y="10007"/>
                    <a:pt x="15111" y="10002"/>
                    <a:pt x="15111" y="10002"/>
                  </a:cubicBezTo>
                  <a:close/>
                  <a:moveTo>
                    <a:pt x="14236" y="13745"/>
                  </a:moveTo>
                  <a:lnTo>
                    <a:pt x="7364" y="13745"/>
                  </a:lnTo>
                  <a:lnTo>
                    <a:pt x="7364" y="12764"/>
                  </a:lnTo>
                  <a:lnTo>
                    <a:pt x="14236" y="12764"/>
                  </a:lnTo>
                  <a:cubicBezTo>
                    <a:pt x="14236" y="12764"/>
                    <a:pt x="14236" y="13745"/>
                    <a:pt x="14236" y="13745"/>
                  </a:cubicBezTo>
                  <a:close/>
                  <a:moveTo>
                    <a:pt x="14727" y="11782"/>
                  </a:moveTo>
                  <a:lnTo>
                    <a:pt x="6873" y="11782"/>
                  </a:lnTo>
                  <a:cubicBezTo>
                    <a:pt x="6601" y="11782"/>
                    <a:pt x="6382" y="12001"/>
                    <a:pt x="6382" y="12273"/>
                  </a:cubicBezTo>
                  <a:lnTo>
                    <a:pt x="6382" y="14236"/>
                  </a:lnTo>
                  <a:cubicBezTo>
                    <a:pt x="6382" y="14508"/>
                    <a:pt x="6601" y="14727"/>
                    <a:pt x="6873" y="14727"/>
                  </a:cubicBezTo>
                  <a:lnTo>
                    <a:pt x="14727" y="14727"/>
                  </a:lnTo>
                  <a:cubicBezTo>
                    <a:pt x="14999" y="14727"/>
                    <a:pt x="15218" y="14508"/>
                    <a:pt x="15218" y="14236"/>
                  </a:cubicBezTo>
                  <a:lnTo>
                    <a:pt x="15218" y="12273"/>
                  </a:lnTo>
                  <a:cubicBezTo>
                    <a:pt x="15218" y="12001"/>
                    <a:pt x="14999" y="11782"/>
                    <a:pt x="147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Shape 2715">
              <a:extLst>
                <a:ext uri="{FF2B5EF4-FFF2-40B4-BE49-F238E27FC236}">
                  <a16:creationId xmlns:a16="http://schemas.microsoft.com/office/drawing/2014/main" id="{F4AE0226-9021-4041-A697-B76DA5871928}"/>
                </a:ext>
              </a:extLst>
            </p:cNvPr>
            <p:cNvSpPr/>
            <p:nvPr/>
          </p:nvSpPr>
          <p:spPr bwMode="gray">
            <a:xfrm>
              <a:off x="4479533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982"/>
                  </a:moveTo>
                  <a:lnTo>
                    <a:pt x="9818" y="982"/>
                  </a:lnTo>
                  <a:lnTo>
                    <a:pt x="9818" y="0"/>
                  </a:lnTo>
                  <a:lnTo>
                    <a:pt x="7855" y="0"/>
                  </a:lnTo>
                  <a:cubicBezTo>
                    <a:pt x="7855" y="0"/>
                    <a:pt x="7855" y="982"/>
                    <a:pt x="7855" y="982"/>
                  </a:cubicBezTo>
                  <a:close/>
                  <a:moveTo>
                    <a:pt x="11782" y="982"/>
                  </a:moveTo>
                  <a:lnTo>
                    <a:pt x="13745" y="982"/>
                  </a:lnTo>
                  <a:lnTo>
                    <a:pt x="13745" y="0"/>
                  </a:lnTo>
                  <a:lnTo>
                    <a:pt x="11782" y="0"/>
                  </a:lnTo>
                  <a:cubicBezTo>
                    <a:pt x="11782" y="0"/>
                    <a:pt x="11782" y="982"/>
                    <a:pt x="11782" y="982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Shape 2716">
              <a:extLst>
                <a:ext uri="{FF2B5EF4-FFF2-40B4-BE49-F238E27FC236}">
                  <a16:creationId xmlns:a16="http://schemas.microsoft.com/office/drawing/2014/main" id="{8E6ADBB1-52E8-4B61-B5AB-F1FC0433356C}"/>
                </a:ext>
              </a:extLst>
            </p:cNvPr>
            <p:cNvSpPr/>
            <p:nvPr/>
          </p:nvSpPr>
          <p:spPr bwMode="gray">
            <a:xfrm>
              <a:off x="5031247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2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2" y="14727"/>
                    <a:pt x="7364" y="14727"/>
                  </a:cubicBezTo>
                  <a:lnTo>
                    <a:pt x="14236" y="14727"/>
                  </a:lnTo>
                  <a:cubicBezTo>
                    <a:pt x="14508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8" y="6873"/>
                    <a:pt x="14236" y="6873"/>
                  </a:cubicBezTo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Shape 2717">
              <a:extLst>
                <a:ext uri="{FF2B5EF4-FFF2-40B4-BE49-F238E27FC236}">
                  <a16:creationId xmlns:a16="http://schemas.microsoft.com/office/drawing/2014/main" id="{B92ED1DF-49A7-4A89-B94C-AEDF395C1507}"/>
                </a:ext>
              </a:extLst>
            </p:cNvPr>
            <p:cNvSpPr/>
            <p:nvPr/>
          </p:nvSpPr>
          <p:spPr bwMode="gray">
            <a:xfrm>
              <a:off x="558296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1782"/>
                  </a:moveTo>
                  <a:cubicBezTo>
                    <a:pt x="14592" y="11782"/>
                    <a:pt x="14469" y="11837"/>
                    <a:pt x="14380" y="11926"/>
                  </a:cubicBezTo>
                  <a:lnTo>
                    <a:pt x="11291" y="15015"/>
                  </a:lnTo>
                  <a:lnTo>
                    <a:pt x="11291" y="5400"/>
                  </a:lnTo>
                  <a:cubicBezTo>
                    <a:pt x="11291" y="5129"/>
                    <a:pt x="11071" y="4909"/>
                    <a:pt x="10800" y="4909"/>
                  </a:cubicBezTo>
                  <a:cubicBezTo>
                    <a:pt x="10529" y="4909"/>
                    <a:pt x="10309" y="5129"/>
                    <a:pt x="10309" y="5400"/>
                  </a:cubicBezTo>
                  <a:lnTo>
                    <a:pt x="10309" y="15015"/>
                  </a:lnTo>
                  <a:lnTo>
                    <a:pt x="7220" y="11926"/>
                  </a:lnTo>
                  <a:cubicBezTo>
                    <a:pt x="7131" y="11837"/>
                    <a:pt x="7008" y="11782"/>
                    <a:pt x="6873" y="11782"/>
                  </a:cubicBezTo>
                  <a:cubicBezTo>
                    <a:pt x="6601" y="11782"/>
                    <a:pt x="6382" y="12001"/>
                    <a:pt x="6382" y="12273"/>
                  </a:cubicBezTo>
                  <a:cubicBezTo>
                    <a:pt x="6382" y="12408"/>
                    <a:pt x="6437" y="12531"/>
                    <a:pt x="6526" y="12620"/>
                  </a:cubicBezTo>
                  <a:lnTo>
                    <a:pt x="10453" y="16547"/>
                  </a:lnTo>
                  <a:cubicBezTo>
                    <a:pt x="10542" y="16636"/>
                    <a:pt x="10664" y="16691"/>
                    <a:pt x="10800" y="16691"/>
                  </a:cubicBezTo>
                  <a:cubicBezTo>
                    <a:pt x="10936" y="16691"/>
                    <a:pt x="11058" y="16636"/>
                    <a:pt x="11147" y="16547"/>
                  </a:cubicBezTo>
                  <a:lnTo>
                    <a:pt x="15074" y="12620"/>
                  </a:lnTo>
                  <a:cubicBezTo>
                    <a:pt x="15163" y="12531"/>
                    <a:pt x="15218" y="12408"/>
                    <a:pt x="15218" y="12273"/>
                  </a:cubicBezTo>
                  <a:cubicBezTo>
                    <a:pt x="15218" y="12001"/>
                    <a:pt x="14999" y="11782"/>
                    <a:pt x="14727" y="11782"/>
                  </a:cubicBezTo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718">
              <a:extLst>
                <a:ext uri="{FF2B5EF4-FFF2-40B4-BE49-F238E27FC236}">
                  <a16:creationId xmlns:a16="http://schemas.microsoft.com/office/drawing/2014/main" id="{084FDCF6-07BB-4B7E-8AAC-AA44929F33C7}"/>
                </a:ext>
              </a:extLst>
            </p:cNvPr>
            <p:cNvSpPr/>
            <p:nvPr/>
          </p:nvSpPr>
          <p:spPr bwMode="gray">
            <a:xfrm>
              <a:off x="617538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11147" y="5053"/>
                  </a:moveTo>
                  <a:cubicBezTo>
                    <a:pt x="11058" y="4964"/>
                    <a:pt x="10935" y="4909"/>
                    <a:pt x="10800" y="4909"/>
                  </a:cubicBezTo>
                  <a:cubicBezTo>
                    <a:pt x="10665" y="4909"/>
                    <a:pt x="10542" y="4964"/>
                    <a:pt x="10453" y="5053"/>
                  </a:cubicBezTo>
                  <a:lnTo>
                    <a:pt x="6526" y="8980"/>
                  </a:lnTo>
                  <a:cubicBezTo>
                    <a:pt x="6437" y="9069"/>
                    <a:pt x="6382" y="9192"/>
                    <a:pt x="6382" y="9327"/>
                  </a:cubicBezTo>
                  <a:cubicBezTo>
                    <a:pt x="6382" y="9599"/>
                    <a:pt x="6602" y="9818"/>
                    <a:pt x="6873" y="9818"/>
                  </a:cubicBezTo>
                  <a:cubicBezTo>
                    <a:pt x="7008" y="9818"/>
                    <a:pt x="7131" y="9764"/>
                    <a:pt x="7220" y="9674"/>
                  </a:cubicBezTo>
                  <a:lnTo>
                    <a:pt x="10309" y="6585"/>
                  </a:lnTo>
                  <a:lnTo>
                    <a:pt x="10309" y="16200"/>
                  </a:lnTo>
                  <a:cubicBezTo>
                    <a:pt x="10309" y="16471"/>
                    <a:pt x="10529" y="16691"/>
                    <a:pt x="10800" y="16691"/>
                  </a:cubicBezTo>
                  <a:cubicBezTo>
                    <a:pt x="11071" y="16691"/>
                    <a:pt x="11291" y="16471"/>
                    <a:pt x="11291" y="16200"/>
                  </a:cubicBezTo>
                  <a:lnTo>
                    <a:pt x="11291" y="6585"/>
                  </a:lnTo>
                  <a:lnTo>
                    <a:pt x="14380" y="9674"/>
                  </a:lnTo>
                  <a:cubicBezTo>
                    <a:pt x="14469" y="9764"/>
                    <a:pt x="14592" y="9818"/>
                    <a:pt x="14727" y="9818"/>
                  </a:cubicBezTo>
                  <a:cubicBezTo>
                    <a:pt x="14998" y="9818"/>
                    <a:pt x="15218" y="9599"/>
                    <a:pt x="15218" y="9327"/>
                  </a:cubicBezTo>
                  <a:cubicBezTo>
                    <a:pt x="15218" y="9192"/>
                    <a:pt x="15163" y="9069"/>
                    <a:pt x="15074" y="8980"/>
                  </a:cubicBezTo>
                  <a:cubicBezTo>
                    <a:pt x="15074" y="8980"/>
                    <a:pt x="11147" y="5053"/>
                    <a:pt x="11147" y="505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69" y="21123"/>
                    <a:pt x="21129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9" y="1133"/>
                    <a:pt x="20469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174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1" y="477"/>
                    <a:pt x="472" y="1133"/>
                    <a:pt x="174" y="1964"/>
                  </a:cubicBezTo>
                  <a:moveTo>
                    <a:pt x="1250" y="19636"/>
                  </a:moveTo>
                  <a:lnTo>
                    <a:pt x="174" y="19636"/>
                  </a:lnTo>
                  <a:cubicBezTo>
                    <a:pt x="472" y="20467"/>
                    <a:pt x="1131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719">
              <a:extLst>
                <a:ext uri="{FF2B5EF4-FFF2-40B4-BE49-F238E27FC236}">
                  <a16:creationId xmlns:a16="http://schemas.microsoft.com/office/drawing/2014/main" id="{98D0B244-9722-4635-A288-24110D3B9804}"/>
                </a:ext>
              </a:extLst>
            </p:cNvPr>
            <p:cNvSpPr/>
            <p:nvPr/>
          </p:nvSpPr>
          <p:spPr bwMode="gray">
            <a:xfrm>
              <a:off x="1169252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765" y="182"/>
                  </a:move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cubicBezTo>
                    <a:pt x="12594" y="1105"/>
                    <a:pt x="12765" y="182"/>
                    <a:pt x="12765" y="182"/>
                  </a:cubicBezTo>
                  <a:close/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720">
              <a:extLst>
                <a:ext uri="{FF2B5EF4-FFF2-40B4-BE49-F238E27FC236}">
                  <a16:creationId xmlns:a16="http://schemas.microsoft.com/office/drawing/2014/main" id="{F41E2DD6-95A6-4881-B36A-5DEF11AF4B16}"/>
                </a:ext>
              </a:extLst>
            </p:cNvPr>
            <p:cNvSpPr/>
            <p:nvPr/>
          </p:nvSpPr>
          <p:spPr bwMode="gray">
            <a:xfrm>
              <a:off x="1720965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14735"/>
                  </a:moveTo>
                  <a:cubicBezTo>
                    <a:pt x="8622" y="14735"/>
                    <a:pt x="6857" y="12973"/>
                    <a:pt x="6857" y="10800"/>
                  </a:cubicBezTo>
                  <a:cubicBezTo>
                    <a:pt x="6857" y="8627"/>
                    <a:pt x="8622" y="6865"/>
                    <a:pt x="10800" y="6865"/>
                  </a:cubicBezTo>
                  <a:cubicBezTo>
                    <a:pt x="12978" y="6865"/>
                    <a:pt x="14743" y="8627"/>
                    <a:pt x="14743" y="10800"/>
                  </a:cubicBezTo>
                  <a:cubicBezTo>
                    <a:pt x="14743" y="12973"/>
                    <a:pt x="12978" y="14735"/>
                    <a:pt x="10800" y="14735"/>
                  </a:cubicBezTo>
                  <a:moveTo>
                    <a:pt x="10800" y="5881"/>
                  </a:moveTo>
                  <a:cubicBezTo>
                    <a:pt x="8078" y="5881"/>
                    <a:pt x="5871" y="8083"/>
                    <a:pt x="5871" y="10800"/>
                  </a:cubicBezTo>
                  <a:cubicBezTo>
                    <a:pt x="5871" y="13517"/>
                    <a:pt x="8078" y="15719"/>
                    <a:pt x="10800" y="15719"/>
                  </a:cubicBezTo>
                  <a:cubicBezTo>
                    <a:pt x="13522" y="15719"/>
                    <a:pt x="15729" y="13517"/>
                    <a:pt x="15729" y="10800"/>
                  </a:cubicBezTo>
                  <a:cubicBezTo>
                    <a:pt x="15729" y="8083"/>
                    <a:pt x="13522" y="5881"/>
                    <a:pt x="10800" y="588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721">
              <a:extLst>
                <a:ext uri="{FF2B5EF4-FFF2-40B4-BE49-F238E27FC236}">
                  <a16:creationId xmlns:a16="http://schemas.microsoft.com/office/drawing/2014/main" id="{7AAF2EC2-EE86-476B-AA46-68854753966D}"/>
                </a:ext>
              </a:extLst>
            </p:cNvPr>
            <p:cNvSpPr/>
            <p:nvPr/>
          </p:nvSpPr>
          <p:spPr bwMode="gray">
            <a:xfrm>
              <a:off x="2272679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1148" y="16559"/>
                  </a:moveTo>
                  <a:lnTo>
                    <a:pt x="15092" y="12624"/>
                  </a:lnTo>
                  <a:cubicBezTo>
                    <a:pt x="15181" y="12535"/>
                    <a:pt x="15236" y="12412"/>
                    <a:pt x="15236" y="12276"/>
                  </a:cubicBezTo>
                  <a:cubicBezTo>
                    <a:pt x="15236" y="12004"/>
                    <a:pt x="15015" y="11784"/>
                    <a:pt x="14743" y="11784"/>
                  </a:cubicBezTo>
                  <a:cubicBezTo>
                    <a:pt x="14607" y="11784"/>
                    <a:pt x="14483" y="11839"/>
                    <a:pt x="14395" y="11928"/>
                  </a:cubicBezTo>
                  <a:lnTo>
                    <a:pt x="11293" y="15024"/>
                  </a:lnTo>
                  <a:lnTo>
                    <a:pt x="11293" y="5389"/>
                  </a:lnTo>
                  <a:cubicBezTo>
                    <a:pt x="11293" y="5117"/>
                    <a:pt x="11072" y="4897"/>
                    <a:pt x="10800" y="4897"/>
                  </a:cubicBezTo>
                  <a:cubicBezTo>
                    <a:pt x="10528" y="4897"/>
                    <a:pt x="10307" y="5117"/>
                    <a:pt x="10307" y="5389"/>
                  </a:cubicBezTo>
                  <a:lnTo>
                    <a:pt x="10307" y="15024"/>
                  </a:lnTo>
                  <a:lnTo>
                    <a:pt x="7206" y="11928"/>
                  </a:lnTo>
                  <a:cubicBezTo>
                    <a:pt x="7117" y="11839"/>
                    <a:pt x="6993" y="11784"/>
                    <a:pt x="6857" y="11784"/>
                  </a:cubicBezTo>
                  <a:cubicBezTo>
                    <a:pt x="6585" y="11784"/>
                    <a:pt x="6364" y="12004"/>
                    <a:pt x="6364" y="12276"/>
                  </a:cubicBezTo>
                  <a:cubicBezTo>
                    <a:pt x="6364" y="12412"/>
                    <a:pt x="6419" y="12535"/>
                    <a:pt x="6508" y="12624"/>
                  </a:cubicBezTo>
                  <a:lnTo>
                    <a:pt x="10452" y="16559"/>
                  </a:lnTo>
                  <a:cubicBezTo>
                    <a:pt x="10541" y="16648"/>
                    <a:pt x="10664" y="16703"/>
                    <a:pt x="10800" y="16703"/>
                  </a:cubicBezTo>
                  <a:cubicBezTo>
                    <a:pt x="10936" y="16703"/>
                    <a:pt x="11059" y="16648"/>
                    <a:pt x="11148" y="16559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722">
              <a:extLst>
                <a:ext uri="{FF2B5EF4-FFF2-40B4-BE49-F238E27FC236}">
                  <a16:creationId xmlns:a16="http://schemas.microsoft.com/office/drawing/2014/main" id="{3EC9010D-4F4C-4950-AF6A-7BF3EB2BF665}"/>
                </a:ext>
              </a:extLst>
            </p:cNvPr>
            <p:cNvSpPr/>
            <p:nvPr/>
          </p:nvSpPr>
          <p:spPr bwMode="gray">
            <a:xfrm>
              <a:off x="2824392" y="4493072"/>
              <a:ext cx="287832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61"/>
                  </a:moveTo>
                  <a:lnTo>
                    <a:pt x="10802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5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2" y="19771"/>
                    <a:pt x="14365" y="19991"/>
                  </a:cubicBezTo>
                  <a:moveTo>
                    <a:pt x="11293" y="16211"/>
                  </a:moveTo>
                  <a:lnTo>
                    <a:pt x="11293" y="6576"/>
                  </a:lnTo>
                  <a:lnTo>
                    <a:pt x="14395" y="9672"/>
                  </a:lnTo>
                  <a:cubicBezTo>
                    <a:pt x="14484" y="9761"/>
                    <a:pt x="14607" y="9816"/>
                    <a:pt x="14743" y="9816"/>
                  </a:cubicBezTo>
                  <a:cubicBezTo>
                    <a:pt x="15016" y="9816"/>
                    <a:pt x="15236" y="9596"/>
                    <a:pt x="15236" y="9324"/>
                  </a:cubicBezTo>
                  <a:cubicBezTo>
                    <a:pt x="15236" y="9189"/>
                    <a:pt x="15181" y="9065"/>
                    <a:pt x="15092" y="8976"/>
                  </a:cubicBezTo>
                  <a:lnTo>
                    <a:pt x="11149" y="5041"/>
                  </a:lnTo>
                  <a:cubicBezTo>
                    <a:pt x="11059" y="4952"/>
                    <a:pt x="10936" y="4897"/>
                    <a:pt x="10800" y="4897"/>
                  </a:cubicBezTo>
                  <a:cubicBezTo>
                    <a:pt x="10664" y="4897"/>
                    <a:pt x="10541" y="4952"/>
                    <a:pt x="10452" y="5041"/>
                  </a:cubicBezTo>
                  <a:lnTo>
                    <a:pt x="6509" y="8976"/>
                  </a:lnTo>
                  <a:cubicBezTo>
                    <a:pt x="6419" y="9065"/>
                    <a:pt x="6364" y="9189"/>
                    <a:pt x="6364" y="9324"/>
                  </a:cubicBezTo>
                  <a:cubicBezTo>
                    <a:pt x="6364" y="9596"/>
                    <a:pt x="6584" y="9816"/>
                    <a:pt x="6857" y="9816"/>
                  </a:cubicBezTo>
                  <a:cubicBezTo>
                    <a:pt x="6993" y="9816"/>
                    <a:pt x="7116" y="9761"/>
                    <a:pt x="7206" y="9672"/>
                  </a:cubicBezTo>
                  <a:lnTo>
                    <a:pt x="10307" y="6576"/>
                  </a:lnTo>
                  <a:lnTo>
                    <a:pt x="10307" y="16211"/>
                  </a:lnTo>
                  <a:cubicBezTo>
                    <a:pt x="10307" y="16483"/>
                    <a:pt x="10528" y="16703"/>
                    <a:pt x="10800" y="16703"/>
                  </a:cubicBezTo>
                  <a:cubicBezTo>
                    <a:pt x="11072" y="16703"/>
                    <a:pt x="11293" y="16483"/>
                    <a:pt x="11293" y="16211"/>
                  </a:cubicBezTo>
                  <a:moveTo>
                    <a:pt x="17446" y="18078"/>
                  </a:moveTo>
                  <a:lnTo>
                    <a:pt x="18081" y="18770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3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21553" y="9794"/>
                  </a:moveTo>
                  <a:lnTo>
                    <a:pt x="20617" y="9880"/>
                  </a:lnTo>
                  <a:cubicBezTo>
                    <a:pt x="20645" y="10182"/>
                    <a:pt x="20659" y="10492"/>
                    <a:pt x="20659" y="10800"/>
                  </a:cubicBezTo>
                  <a:cubicBezTo>
                    <a:pt x="20659" y="11099"/>
                    <a:pt x="20646" y="11401"/>
                    <a:pt x="20619" y="11699"/>
                  </a:cubicBezTo>
                  <a:lnTo>
                    <a:pt x="21556" y="11784"/>
                  </a:lnTo>
                  <a:cubicBezTo>
                    <a:pt x="21586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18660" y="4853"/>
                  </a:moveTo>
                  <a:lnTo>
                    <a:pt x="19412" y="4287"/>
                  </a:lnTo>
                  <a:cubicBezTo>
                    <a:pt x="19011" y="3759"/>
                    <a:pt x="18558" y="3264"/>
                    <a:pt x="18066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3"/>
                  </a:cubicBezTo>
                  <a:moveTo>
                    <a:pt x="6893" y="20882"/>
                  </a:moveTo>
                  <a:cubicBezTo>
                    <a:pt x="7513" y="21121"/>
                    <a:pt x="8160" y="21302"/>
                    <a:pt x="8814" y="21422"/>
                  </a:cubicBezTo>
                  <a:lnTo>
                    <a:pt x="8984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3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2" y="14642"/>
                    <a:pt x="19632" y="1518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4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8923" y="1113"/>
                  </a:moveTo>
                  <a:lnTo>
                    <a:pt x="8747" y="190"/>
                  </a:lnTo>
                  <a:cubicBezTo>
                    <a:pt x="8093" y="315"/>
                    <a:pt x="7448" y="501"/>
                    <a:pt x="6829" y="743"/>
                  </a:cubicBezTo>
                  <a:lnTo>
                    <a:pt x="7174" y="1617"/>
                  </a:lnTo>
                  <a:cubicBezTo>
                    <a:pt x="7737" y="1396"/>
                    <a:pt x="8326" y="1226"/>
                    <a:pt x="8923" y="1113"/>
                  </a:cubicBezTo>
                  <a:moveTo>
                    <a:pt x="16474" y="1615"/>
                  </a:moveTo>
                  <a:cubicBezTo>
                    <a:pt x="15907" y="1264"/>
                    <a:pt x="15307" y="966"/>
                    <a:pt x="14687" y="726"/>
                  </a:cubicBezTo>
                  <a:lnTo>
                    <a:pt x="14346" y="1602"/>
                  </a:lnTo>
                  <a:cubicBezTo>
                    <a:pt x="14913" y="1821"/>
                    <a:pt x="15462" y="2094"/>
                    <a:pt x="15978" y="2413"/>
                  </a:cubicBezTo>
                  <a:cubicBezTo>
                    <a:pt x="15978" y="2413"/>
                    <a:pt x="16474" y="1615"/>
                    <a:pt x="16474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0" y="4853"/>
                    <a:pt x="1368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09" y="18800"/>
                  </a:moveTo>
                  <a:cubicBezTo>
                    <a:pt x="4003" y="19247"/>
                    <a:pt x="4539" y="19650"/>
                    <a:pt x="5104" y="19997"/>
                  </a:cubicBezTo>
                  <a:lnTo>
                    <a:pt x="5598" y="19198"/>
                  </a:lnTo>
                  <a:cubicBezTo>
                    <a:pt x="5082" y="18881"/>
                    <a:pt x="4592" y="18513"/>
                    <a:pt x="4142" y="18105"/>
                  </a:cubicBezTo>
                  <a:cubicBezTo>
                    <a:pt x="4142" y="18105"/>
                    <a:pt x="3509" y="18800"/>
                    <a:pt x="3509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6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4" y="15642"/>
                  </a:moveTo>
                  <a:cubicBezTo>
                    <a:pt x="1403" y="16235"/>
                    <a:pt x="1758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4" y="15642"/>
                    <a:pt x="1104" y="15642"/>
                  </a:cubicBezTo>
                  <a:close/>
                  <a:moveTo>
                    <a:pt x="5546" y="2435"/>
                  </a:moveTo>
                  <a:lnTo>
                    <a:pt x="5047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1" y="2756"/>
                    <a:pt x="5546" y="2435"/>
                  </a:cubicBezTo>
                  <a:moveTo>
                    <a:pt x="1264" y="8133"/>
                  </a:moveTo>
                  <a:lnTo>
                    <a:pt x="358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7"/>
                    <a:pt x="1101" y="8714"/>
                    <a:pt x="1264" y="8133"/>
                  </a:cubicBezTo>
                  <a:moveTo>
                    <a:pt x="942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2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723">
              <a:extLst>
                <a:ext uri="{FF2B5EF4-FFF2-40B4-BE49-F238E27FC236}">
                  <a16:creationId xmlns:a16="http://schemas.microsoft.com/office/drawing/2014/main" id="{20642893-B5F7-4464-8C94-E16F47D9B813}"/>
                </a:ext>
              </a:extLst>
            </p:cNvPr>
            <p:cNvSpPr/>
            <p:nvPr/>
          </p:nvSpPr>
          <p:spPr bwMode="gray">
            <a:xfrm>
              <a:off x="3376106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345" y="10309"/>
                  </a:moveTo>
                  <a:lnTo>
                    <a:pt x="7899" y="10309"/>
                  </a:lnTo>
                  <a:cubicBezTo>
                    <a:pt x="7974" y="9863"/>
                    <a:pt x="8153" y="9453"/>
                    <a:pt x="8405" y="9099"/>
                  </a:cubicBezTo>
                  <a:lnTo>
                    <a:pt x="8717" y="9412"/>
                  </a:lnTo>
                  <a:cubicBezTo>
                    <a:pt x="8909" y="9604"/>
                    <a:pt x="9220" y="9604"/>
                    <a:pt x="9412" y="9412"/>
                  </a:cubicBezTo>
                  <a:cubicBezTo>
                    <a:pt x="9603" y="9220"/>
                    <a:pt x="9603" y="8909"/>
                    <a:pt x="9412" y="8717"/>
                  </a:cubicBezTo>
                  <a:lnTo>
                    <a:pt x="9101" y="8407"/>
                  </a:lnTo>
                  <a:cubicBezTo>
                    <a:pt x="9454" y="8157"/>
                    <a:pt x="9864" y="7979"/>
                    <a:pt x="10309" y="7904"/>
                  </a:cubicBezTo>
                  <a:lnTo>
                    <a:pt x="10309" y="8345"/>
                  </a:lnTo>
                  <a:cubicBezTo>
                    <a:pt x="10309" y="8617"/>
                    <a:pt x="10529" y="8836"/>
                    <a:pt x="10800" y="8836"/>
                  </a:cubicBezTo>
                  <a:cubicBezTo>
                    <a:pt x="11071" y="8836"/>
                    <a:pt x="11291" y="8617"/>
                    <a:pt x="11291" y="8345"/>
                  </a:cubicBezTo>
                  <a:lnTo>
                    <a:pt x="11291" y="7904"/>
                  </a:lnTo>
                  <a:cubicBezTo>
                    <a:pt x="11737" y="7979"/>
                    <a:pt x="12146" y="8157"/>
                    <a:pt x="12499" y="8407"/>
                  </a:cubicBezTo>
                  <a:lnTo>
                    <a:pt x="12188" y="8717"/>
                  </a:lnTo>
                  <a:cubicBezTo>
                    <a:pt x="11997" y="8909"/>
                    <a:pt x="11997" y="9220"/>
                    <a:pt x="12188" y="9412"/>
                  </a:cubicBezTo>
                  <a:cubicBezTo>
                    <a:pt x="12380" y="9604"/>
                    <a:pt x="12691" y="9604"/>
                    <a:pt x="12883" y="9412"/>
                  </a:cubicBezTo>
                  <a:lnTo>
                    <a:pt x="13195" y="9099"/>
                  </a:lnTo>
                  <a:cubicBezTo>
                    <a:pt x="13447" y="9453"/>
                    <a:pt x="13626" y="9863"/>
                    <a:pt x="13701" y="10309"/>
                  </a:cubicBezTo>
                  <a:lnTo>
                    <a:pt x="13255" y="10309"/>
                  </a:lnTo>
                  <a:cubicBezTo>
                    <a:pt x="12983" y="10309"/>
                    <a:pt x="12764" y="10529"/>
                    <a:pt x="12764" y="10800"/>
                  </a:cubicBezTo>
                  <a:cubicBezTo>
                    <a:pt x="12764" y="11071"/>
                    <a:pt x="12983" y="11291"/>
                    <a:pt x="13255" y="11291"/>
                  </a:cubicBezTo>
                  <a:lnTo>
                    <a:pt x="13701" y="11291"/>
                  </a:lnTo>
                  <a:cubicBezTo>
                    <a:pt x="13626" y="11738"/>
                    <a:pt x="13447" y="12147"/>
                    <a:pt x="13195" y="12501"/>
                  </a:cubicBezTo>
                  <a:lnTo>
                    <a:pt x="12883" y="12188"/>
                  </a:lnTo>
                  <a:cubicBezTo>
                    <a:pt x="12691" y="11997"/>
                    <a:pt x="12380" y="11997"/>
                    <a:pt x="12188" y="12188"/>
                  </a:cubicBezTo>
                  <a:cubicBezTo>
                    <a:pt x="11997" y="12380"/>
                    <a:pt x="11997" y="12691"/>
                    <a:pt x="12188" y="12883"/>
                  </a:cubicBezTo>
                  <a:lnTo>
                    <a:pt x="12499" y="13193"/>
                  </a:lnTo>
                  <a:cubicBezTo>
                    <a:pt x="12146" y="13444"/>
                    <a:pt x="11737" y="13621"/>
                    <a:pt x="11291" y="13696"/>
                  </a:cubicBezTo>
                  <a:lnTo>
                    <a:pt x="11291" y="13255"/>
                  </a:lnTo>
                  <a:cubicBezTo>
                    <a:pt x="11291" y="12983"/>
                    <a:pt x="11071" y="12764"/>
                    <a:pt x="10800" y="12764"/>
                  </a:cubicBezTo>
                  <a:cubicBezTo>
                    <a:pt x="10529" y="12764"/>
                    <a:pt x="10309" y="12983"/>
                    <a:pt x="10309" y="13255"/>
                  </a:cubicBezTo>
                  <a:lnTo>
                    <a:pt x="10309" y="13696"/>
                  </a:lnTo>
                  <a:cubicBezTo>
                    <a:pt x="9864" y="13621"/>
                    <a:pt x="9454" y="13444"/>
                    <a:pt x="9101" y="13193"/>
                  </a:cubicBezTo>
                  <a:lnTo>
                    <a:pt x="9412" y="12883"/>
                  </a:lnTo>
                  <a:cubicBezTo>
                    <a:pt x="9603" y="12691"/>
                    <a:pt x="9603" y="12380"/>
                    <a:pt x="9412" y="12188"/>
                  </a:cubicBezTo>
                  <a:cubicBezTo>
                    <a:pt x="9220" y="11997"/>
                    <a:pt x="8909" y="11997"/>
                    <a:pt x="8717" y="12188"/>
                  </a:cubicBezTo>
                  <a:lnTo>
                    <a:pt x="8405" y="12501"/>
                  </a:lnTo>
                  <a:cubicBezTo>
                    <a:pt x="8153" y="12147"/>
                    <a:pt x="7974" y="11738"/>
                    <a:pt x="7899" y="11291"/>
                  </a:cubicBezTo>
                  <a:lnTo>
                    <a:pt x="8345" y="11291"/>
                  </a:lnTo>
                  <a:cubicBezTo>
                    <a:pt x="8617" y="11291"/>
                    <a:pt x="8836" y="11071"/>
                    <a:pt x="8836" y="10800"/>
                  </a:cubicBezTo>
                  <a:cubicBezTo>
                    <a:pt x="8836" y="10529"/>
                    <a:pt x="8617" y="10309"/>
                    <a:pt x="8345" y="10309"/>
                  </a:cubicBezTo>
                  <a:moveTo>
                    <a:pt x="8023" y="13577"/>
                  </a:moveTo>
                  <a:lnTo>
                    <a:pt x="8023" y="13578"/>
                  </a:lnTo>
                  <a:cubicBezTo>
                    <a:pt x="8734" y="14288"/>
                    <a:pt x="9716" y="14727"/>
                    <a:pt x="10800" y="14727"/>
                  </a:cubicBezTo>
                  <a:cubicBezTo>
                    <a:pt x="11884" y="14727"/>
                    <a:pt x="12866" y="14288"/>
                    <a:pt x="13577" y="13578"/>
                  </a:cubicBezTo>
                  <a:lnTo>
                    <a:pt x="13577" y="13577"/>
                  </a:lnTo>
                  <a:lnTo>
                    <a:pt x="13577" y="13577"/>
                  </a:lnTo>
                  <a:cubicBezTo>
                    <a:pt x="14288" y="12866"/>
                    <a:pt x="14727" y="11884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1884"/>
                    <a:pt x="7311" y="12866"/>
                    <a:pt x="8023" y="13577"/>
                  </a:cubicBezTo>
                  <a:cubicBezTo>
                    <a:pt x="8023" y="13577"/>
                    <a:pt x="8023" y="13577"/>
                    <a:pt x="8023" y="13577"/>
                  </a:cubicBezTo>
                  <a:close/>
                  <a:moveTo>
                    <a:pt x="10800" y="11782"/>
                  </a:move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moveTo>
                    <a:pt x="17673" y="5891"/>
                  </a:moveTo>
                  <a:cubicBezTo>
                    <a:pt x="17131" y="5891"/>
                    <a:pt x="16691" y="6331"/>
                    <a:pt x="16691" y="6873"/>
                  </a:cubicBezTo>
                  <a:lnTo>
                    <a:pt x="16691" y="7855"/>
                  </a:lnTo>
                  <a:cubicBezTo>
                    <a:pt x="16691" y="8396"/>
                    <a:pt x="17131" y="8836"/>
                    <a:pt x="17673" y="8836"/>
                  </a:cubicBezTo>
                  <a:lnTo>
                    <a:pt x="17673" y="12764"/>
                  </a:lnTo>
                  <a:cubicBezTo>
                    <a:pt x="17131" y="12764"/>
                    <a:pt x="16691" y="13204"/>
                    <a:pt x="16691" y="13745"/>
                  </a:cubicBezTo>
                  <a:lnTo>
                    <a:pt x="16691" y="14727"/>
                  </a:lnTo>
                  <a:cubicBezTo>
                    <a:pt x="16691" y="15270"/>
                    <a:pt x="17131" y="15709"/>
                    <a:pt x="17673" y="15709"/>
                  </a:cubicBezTo>
                  <a:lnTo>
                    <a:pt x="17673" y="17673"/>
                  </a:lnTo>
                  <a:lnTo>
                    <a:pt x="3927" y="17673"/>
                  </a:lnTo>
                  <a:lnTo>
                    <a:pt x="3927" y="3927"/>
                  </a:lnTo>
                  <a:lnTo>
                    <a:pt x="17673" y="3927"/>
                  </a:lnTo>
                  <a:cubicBezTo>
                    <a:pt x="17673" y="3927"/>
                    <a:pt x="17673" y="5891"/>
                    <a:pt x="17673" y="5891"/>
                  </a:cubicBezTo>
                  <a:close/>
                  <a:moveTo>
                    <a:pt x="18655" y="5891"/>
                  </a:moveTo>
                  <a:lnTo>
                    <a:pt x="18655" y="2945"/>
                  </a:lnTo>
                  <a:lnTo>
                    <a:pt x="2945" y="2945"/>
                  </a:lnTo>
                  <a:lnTo>
                    <a:pt x="2945" y="18655"/>
                  </a:lnTo>
                  <a:lnTo>
                    <a:pt x="18655" y="18655"/>
                  </a:lnTo>
                  <a:lnTo>
                    <a:pt x="18655" y="15709"/>
                  </a:lnTo>
                  <a:cubicBezTo>
                    <a:pt x="19196" y="15709"/>
                    <a:pt x="19636" y="15270"/>
                    <a:pt x="19636" y="14727"/>
                  </a:cubicBezTo>
                  <a:lnTo>
                    <a:pt x="19636" y="13745"/>
                  </a:lnTo>
                  <a:cubicBezTo>
                    <a:pt x="19636" y="13204"/>
                    <a:pt x="19196" y="12764"/>
                    <a:pt x="18655" y="12764"/>
                  </a:cubicBezTo>
                  <a:lnTo>
                    <a:pt x="18655" y="8836"/>
                  </a:lnTo>
                  <a:cubicBezTo>
                    <a:pt x="19196" y="8836"/>
                    <a:pt x="19636" y="8396"/>
                    <a:pt x="19636" y="7855"/>
                  </a:cubicBezTo>
                  <a:lnTo>
                    <a:pt x="19636" y="6873"/>
                  </a:lnTo>
                  <a:cubicBezTo>
                    <a:pt x="19636" y="6331"/>
                    <a:pt x="19196" y="5891"/>
                    <a:pt x="18655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724">
              <a:extLst>
                <a:ext uri="{FF2B5EF4-FFF2-40B4-BE49-F238E27FC236}">
                  <a16:creationId xmlns:a16="http://schemas.microsoft.com/office/drawing/2014/main" id="{75E2A4C3-131B-4E1B-A69A-5E663E82649B}"/>
                </a:ext>
              </a:extLst>
            </p:cNvPr>
            <p:cNvSpPr/>
            <p:nvPr/>
          </p:nvSpPr>
          <p:spPr bwMode="gray">
            <a:xfrm>
              <a:off x="392782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1782"/>
                  </a:lnTo>
                  <a:lnTo>
                    <a:pt x="15709" y="11782"/>
                  </a:lnTo>
                  <a:cubicBezTo>
                    <a:pt x="15709" y="11782"/>
                    <a:pt x="15709" y="15709"/>
                    <a:pt x="15709" y="15709"/>
                  </a:cubicBezTo>
                  <a:close/>
                  <a:moveTo>
                    <a:pt x="16691" y="10800"/>
                  </a:moveTo>
                  <a:lnTo>
                    <a:pt x="4909" y="10800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0800"/>
                    <a:pt x="16691" y="10800"/>
                  </a:cubicBezTo>
                  <a:close/>
                  <a:moveTo>
                    <a:pt x="11782" y="13745"/>
                  </a:moveTo>
                  <a:lnTo>
                    <a:pt x="9818" y="13745"/>
                  </a:lnTo>
                  <a:lnTo>
                    <a:pt x="9818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1782" y="5891"/>
                  </a:moveTo>
                  <a:lnTo>
                    <a:pt x="9818" y="5891"/>
                  </a:lnTo>
                  <a:lnTo>
                    <a:pt x="9818" y="6873"/>
                  </a:lnTo>
                  <a:lnTo>
                    <a:pt x="11782" y="6873"/>
                  </a:lnTo>
                  <a:cubicBezTo>
                    <a:pt x="11782" y="6873"/>
                    <a:pt x="11782" y="5891"/>
                    <a:pt x="11782" y="5891"/>
                  </a:cubicBezTo>
                  <a:close/>
                  <a:moveTo>
                    <a:pt x="15709" y="7855"/>
                  </a:moveTo>
                  <a:lnTo>
                    <a:pt x="5891" y="7855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7855"/>
                    <a:pt x="15709" y="7855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8836"/>
                  </a:lnTo>
                  <a:lnTo>
                    <a:pt x="16691" y="8836"/>
                  </a:lnTo>
                  <a:cubicBezTo>
                    <a:pt x="16691" y="8836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725">
              <a:extLst>
                <a:ext uri="{FF2B5EF4-FFF2-40B4-BE49-F238E27FC236}">
                  <a16:creationId xmlns:a16="http://schemas.microsoft.com/office/drawing/2014/main" id="{1CBC0A8D-FE88-447C-BECC-B008602ED072}"/>
                </a:ext>
              </a:extLst>
            </p:cNvPr>
            <p:cNvSpPr/>
            <p:nvPr/>
          </p:nvSpPr>
          <p:spPr bwMode="gray">
            <a:xfrm>
              <a:off x="4479533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5709" y="10800"/>
                  </a:moveTo>
                  <a:lnTo>
                    <a:pt x="11782" y="10800"/>
                  </a:lnTo>
                  <a:lnTo>
                    <a:pt x="11782" y="9818"/>
                  </a:lnTo>
                  <a:lnTo>
                    <a:pt x="9818" y="9818"/>
                  </a:lnTo>
                  <a:lnTo>
                    <a:pt x="9818" y="10800"/>
                  </a:lnTo>
                  <a:lnTo>
                    <a:pt x="5891" y="10800"/>
                  </a:lnTo>
                  <a:lnTo>
                    <a:pt x="5891" y="8836"/>
                  </a:lnTo>
                  <a:lnTo>
                    <a:pt x="15709" y="8836"/>
                  </a:lnTo>
                  <a:cubicBezTo>
                    <a:pt x="15709" y="8836"/>
                    <a:pt x="15709" y="10800"/>
                    <a:pt x="15709" y="10800"/>
                  </a:cubicBezTo>
                  <a:close/>
                  <a:moveTo>
                    <a:pt x="16691" y="7855"/>
                  </a:moveTo>
                  <a:lnTo>
                    <a:pt x="4909" y="7855"/>
                  </a:lnTo>
                  <a:lnTo>
                    <a:pt x="4909" y="11782"/>
                  </a:lnTo>
                  <a:lnTo>
                    <a:pt x="16691" y="11782"/>
                  </a:lnTo>
                  <a:cubicBezTo>
                    <a:pt x="16691" y="11782"/>
                    <a:pt x="16691" y="7855"/>
                    <a:pt x="16691" y="7855"/>
                  </a:cubicBezTo>
                  <a:close/>
                  <a:moveTo>
                    <a:pt x="15709" y="15709"/>
                  </a:moveTo>
                  <a:lnTo>
                    <a:pt x="11782" y="15709"/>
                  </a:lnTo>
                  <a:lnTo>
                    <a:pt x="11782" y="14727"/>
                  </a:lnTo>
                  <a:lnTo>
                    <a:pt x="9818" y="14727"/>
                  </a:lnTo>
                  <a:lnTo>
                    <a:pt x="9818" y="15709"/>
                  </a:lnTo>
                  <a:lnTo>
                    <a:pt x="5891" y="15709"/>
                  </a:lnTo>
                  <a:lnTo>
                    <a:pt x="5891" y="13745"/>
                  </a:lnTo>
                  <a:lnTo>
                    <a:pt x="15709" y="13745"/>
                  </a:lnTo>
                  <a:cubicBezTo>
                    <a:pt x="15709" y="13745"/>
                    <a:pt x="15709" y="15709"/>
                    <a:pt x="15709" y="15709"/>
                  </a:cubicBezTo>
                  <a:close/>
                  <a:moveTo>
                    <a:pt x="16691" y="12764"/>
                  </a:moveTo>
                  <a:lnTo>
                    <a:pt x="4909" y="12764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2764"/>
                    <a:pt x="16691" y="12764"/>
                  </a:cubicBezTo>
                  <a:close/>
                  <a:moveTo>
                    <a:pt x="15709" y="5891"/>
                  </a:moveTo>
                  <a:lnTo>
                    <a:pt x="11782" y="5891"/>
                  </a:lnTo>
                  <a:lnTo>
                    <a:pt x="11782" y="4909"/>
                  </a:lnTo>
                  <a:lnTo>
                    <a:pt x="9818" y="4909"/>
                  </a:lnTo>
                  <a:lnTo>
                    <a:pt x="9818" y="5891"/>
                  </a:lnTo>
                  <a:lnTo>
                    <a:pt x="5891" y="5891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5891"/>
                    <a:pt x="15709" y="5891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6873"/>
                  </a:lnTo>
                  <a:lnTo>
                    <a:pt x="16691" y="6873"/>
                  </a:lnTo>
                  <a:cubicBezTo>
                    <a:pt x="16691" y="6873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726">
              <a:extLst>
                <a:ext uri="{FF2B5EF4-FFF2-40B4-BE49-F238E27FC236}">
                  <a16:creationId xmlns:a16="http://schemas.microsoft.com/office/drawing/2014/main" id="{EB4F95D5-5CB3-4716-9268-334723575C90}"/>
                </a:ext>
              </a:extLst>
            </p:cNvPr>
            <p:cNvSpPr/>
            <p:nvPr/>
          </p:nvSpPr>
          <p:spPr bwMode="gray">
            <a:xfrm>
              <a:off x="5057519" y="4493072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800" y="13745"/>
                  </a:moveTo>
                  <a:lnTo>
                    <a:pt x="16800" y="13745"/>
                  </a:lnTo>
                  <a:lnTo>
                    <a:pt x="16800" y="17673"/>
                  </a:lnTo>
                  <a:lnTo>
                    <a:pt x="4800" y="17673"/>
                  </a:lnTo>
                  <a:cubicBezTo>
                    <a:pt x="4800" y="17673"/>
                    <a:pt x="4800" y="13745"/>
                    <a:pt x="4800" y="13745"/>
                  </a:cubicBezTo>
                  <a:close/>
                  <a:moveTo>
                    <a:pt x="4800" y="8836"/>
                  </a:moveTo>
                  <a:lnTo>
                    <a:pt x="16800" y="8836"/>
                  </a:lnTo>
                  <a:lnTo>
                    <a:pt x="16800" y="12764"/>
                  </a:lnTo>
                  <a:lnTo>
                    <a:pt x="4800" y="12764"/>
                  </a:lnTo>
                  <a:cubicBezTo>
                    <a:pt x="4800" y="12764"/>
                    <a:pt x="4800" y="8836"/>
                    <a:pt x="4800" y="8836"/>
                  </a:cubicBezTo>
                  <a:close/>
                  <a:moveTo>
                    <a:pt x="4800" y="3927"/>
                  </a:moveTo>
                  <a:lnTo>
                    <a:pt x="16800" y="3927"/>
                  </a:lnTo>
                  <a:lnTo>
                    <a:pt x="16800" y="7855"/>
                  </a:lnTo>
                  <a:lnTo>
                    <a:pt x="4800" y="7855"/>
                  </a:lnTo>
                  <a:cubicBezTo>
                    <a:pt x="4800" y="7855"/>
                    <a:pt x="4800" y="3927"/>
                    <a:pt x="4800" y="3927"/>
                  </a:cubicBezTo>
                  <a:close/>
                  <a:moveTo>
                    <a:pt x="3600" y="18655"/>
                  </a:moveTo>
                  <a:lnTo>
                    <a:pt x="18000" y="18655"/>
                  </a:lnTo>
                  <a:lnTo>
                    <a:pt x="18000" y="2945"/>
                  </a:lnTo>
                  <a:lnTo>
                    <a:pt x="3600" y="2945"/>
                  </a:lnTo>
                  <a:cubicBezTo>
                    <a:pt x="3600" y="2945"/>
                    <a:pt x="3600" y="18655"/>
                    <a:pt x="3600" y="18655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9600" y="16691"/>
                  </a:moveTo>
                  <a:lnTo>
                    <a:pt x="12000" y="16691"/>
                  </a:lnTo>
                  <a:lnTo>
                    <a:pt x="12000" y="15709"/>
                  </a:lnTo>
                  <a:lnTo>
                    <a:pt x="9600" y="15709"/>
                  </a:lnTo>
                  <a:cubicBezTo>
                    <a:pt x="9600" y="15709"/>
                    <a:pt x="9600" y="16691"/>
                    <a:pt x="9600" y="16691"/>
                  </a:cubicBezTo>
                  <a:close/>
                  <a:moveTo>
                    <a:pt x="9600" y="6873"/>
                  </a:moveTo>
                  <a:lnTo>
                    <a:pt x="12000" y="6873"/>
                  </a:lnTo>
                  <a:lnTo>
                    <a:pt x="12000" y="5891"/>
                  </a:lnTo>
                  <a:lnTo>
                    <a:pt x="9600" y="5891"/>
                  </a:lnTo>
                  <a:cubicBezTo>
                    <a:pt x="9600" y="5891"/>
                    <a:pt x="9600" y="6873"/>
                    <a:pt x="9600" y="6873"/>
                  </a:cubicBezTo>
                  <a:close/>
                  <a:moveTo>
                    <a:pt x="9600" y="11782"/>
                  </a:moveTo>
                  <a:lnTo>
                    <a:pt x="12000" y="11782"/>
                  </a:lnTo>
                  <a:lnTo>
                    <a:pt x="12000" y="10800"/>
                  </a:lnTo>
                  <a:lnTo>
                    <a:pt x="9600" y="10800"/>
                  </a:lnTo>
                  <a:cubicBezTo>
                    <a:pt x="9600" y="10800"/>
                    <a:pt x="9600" y="11782"/>
                    <a:pt x="9600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727">
              <a:extLst>
                <a:ext uri="{FF2B5EF4-FFF2-40B4-BE49-F238E27FC236}">
                  <a16:creationId xmlns:a16="http://schemas.microsoft.com/office/drawing/2014/main" id="{1FB922DA-E9A8-48BE-AD8D-2B6E50C14336}"/>
                </a:ext>
              </a:extLst>
            </p:cNvPr>
            <p:cNvSpPr/>
            <p:nvPr/>
          </p:nvSpPr>
          <p:spPr bwMode="gray">
            <a:xfrm>
              <a:off x="558296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5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0" y="13745"/>
                    <a:pt x="10800" y="14405"/>
                    <a:pt x="10800" y="15218"/>
                  </a:cubicBezTo>
                  <a:cubicBezTo>
                    <a:pt x="10800" y="16031"/>
                    <a:pt x="10140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3" y="4424"/>
                  </a:lnTo>
                  <a:lnTo>
                    <a:pt x="11483" y="3967"/>
                  </a:lnTo>
                  <a:cubicBezTo>
                    <a:pt x="11424" y="3942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6" y="8306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2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90" y="4418"/>
                    <a:pt x="15218" y="4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728">
              <a:extLst>
                <a:ext uri="{FF2B5EF4-FFF2-40B4-BE49-F238E27FC236}">
                  <a16:creationId xmlns:a16="http://schemas.microsoft.com/office/drawing/2014/main" id="{C32E3FDE-D2E1-42B3-B6F8-AE14578E7C9F}"/>
                </a:ext>
              </a:extLst>
            </p:cNvPr>
            <p:cNvSpPr/>
            <p:nvPr/>
          </p:nvSpPr>
          <p:spPr bwMode="gray">
            <a:xfrm>
              <a:off x="617538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6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1" y="13745"/>
                    <a:pt x="10800" y="14406"/>
                    <a:pt x="10800" y="15218"/>
                  </a:cubicBezTo>
                  <a:cubicBezTo>
                    <a:pt x="10800" y="16031"/>
                    <a:pt x="10141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4" y="4424"/>
                  </a:lnTo>
                  <a:lnTo>
                    <a:pt x="11483" y="3967"/>
                  </a:lnTo>
                  <a:cubicBezTo>
                    <a:pt x="11424" y="3941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7" y="8307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1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89" y="4418"/>
                    <a:pt x="15218" y="4418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729">
              <a:extLst>
                <a:ext uri="{FF2B5EF4-FFF2-40B4-BE49-F238E27FC236}">
                  <a16:creationId xmlns:a16="http://schemas.microsoft.com/office/drawing/2014/main" id="{63AEC6E3-4841-4851-BBA1-0886724B5C8C}"/>
                </a:ext>
              </a:extLst>
            </p:cNvPr>
            <p:cNvSpPr/>
            <p:nvPr/>
          </p:nvSpPr>
          <p:spPr bwMode="gray">
            <a:xfrm>
              <a:off x="1169252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7318"/>
                  </a:moveTo>
                  <a:lnTo>
                    <a:pt x="14727" y="6949"/>
                  </a:lnTo>
                  <a:lnTo>
                    <a:pt x="14727" y="4956"/>
                  </a:lnTo>
                  <a:lnTo>
                    <a:pt x="17673" y="5324"/>
                  </a:lnTo>
                  <a:cubicBezTo>
                    <a:pt x="17673" y="5324"/>
                    <a:pt x="17673" y="7318"/>
                    <a:pt x="17673" y="7318"/>
                  </a:cubicBezTo>
                  <a:close/>
                  <a:moveTo>
                    <a:pt x="12273" y="16691"/>
                  </a:moveTo>
                  <a:lnTo>
                    <a:pt x="11291" y="16691"/>
                  </a:lnTo>
                  <a:cubicBezTo>
                    <a:pt x="10477" y="16691"/>
                    <a:pt x="9818" y="16031"/>
                    <a:pt x="9818" y="15218"/>
                  </a:cubicBezTo>
                  <a:cubicBezTo>
                    <a:pt x="9818" y="14406"/>
                    <a:pt x="10477" y="13745"/>
                    <a:pt x="11291" y="13745"/>
                  </a:cubicBezTo>
                  <a:lnTo>
                    <a:pt x="12273" y="13745"/>
                  </a:lnTo>
                  <a:cubicBezTo>
                    <a:pt x="13086" y="13745"/>
                    <a:pt x="13745" y="14406"/>
                    <a:pt x="13745" y="15218"/>
                  </a:cubicBezTo>
                  <a:cubicBezTo>
                    <a:pt x="13745" y="16031"/>
                    <a:pt x="13086" y="16691"/>
                    <a:pt x="12273" y="16691"/>
                  </a:cubicBezTo>
                  <a:moveTo>
                    <a:pt x="18164" y="4418"/>
                  </a:moveTo>
                  <a:cubicBezTo>
                    <a:pt x="18138" y="4418"/>
                    <a:pt x="18115" y="4429"/>
                    <a:pt x="18091" y="4433"/>
                  </a:cubicBezTo>
                  <a:lnTo>
                    <a:pt x="18089" y="4424"/>
                  </a:lnTo>
                  <a:lnTo>
                    <a:pt x="14428" y="3967"/>
                  </a:lnTo>
                  <a:cubicBezTo>
                    <a:pt x="14369" y="3941"/>
                    <a:pt x="14305" y="3927"/>
                    <a:pt x="14236" y="3927"/>
                  </a:cubicBezTo>
                  <a:cubicBezTo>
                    <a:pt x="14220" y="3927"/>
                    <a:pt x="14206" y="3935"/>
                    <a:pt x="14191" y="3937"/>
                  </a:cubicBezTo>
                  <a:lnTo>
                    <a:pt x="14162" y="3933"/>
                  </a:lnTo>
                  <a:lnTo>
                    <a:pt x="14163" y="3942"/>
                  </a:lnTo>
                  <a:cubicBezTo>
                    <a:pt x="13929" y="3979"/>
                    <a:pt x="13745" y="4173"/>
                    <a:pt x="13745" y="4418"/>
                  </a:cubicBezTo>
                  <a:lnTo>
                    <a:pt x="13745" y="13266"/>
                  </a:lnTo>
                  <a:cubicBezTo>
                    <a:pt x="13335" y="12955"/>
                    <a:pt x="12828" y="12764"/>
                    <a:pt x="12273" y="12764"/>
                  </a:cubicBezTo>
                  <a:lnTo>
                    <a:pt x="11291" y="12764"/>
                  </a:lnTo>
                  <a:cubicBezTo>
                    <a:pt x="9935" y="12764"/>
                    <a:pt x="8836" y="13862"/>
                    <a:pt x="8836" y="15218"/>
                  </a:cubicBezTo>
                  <a:cubicBezTo>
                    <a:pt x="8836" y="16574"/>
                    <a:pt x="9935" y="17673"/>
                    <a:pt x="11291" y="17673"/>
                  </a:cubicBezTo>
                  <a:lnTo>
                    <a:pt x="12273" y="17673"/>
                  </a:lnTo>
                  <a:cubicBezTo>
                    <a:pt x="13629" y="17673"/>
                    <a:pt x="14727" y="16574"/>
                    <a:pt x="14727" y="15218"/>
                  </a:cubicBezTo>
                  <a:lnTo>
                    <a:pt x="14727" y="7901"/>
                  </a:lnTo>
                  <a:lnTo>
                    <a:pt x="17972" y="8307"/>
                  </a:lnTo>
                  <a:cubicBezTo>
                    <a:pt x="18031" y="8332"/>
                    <a:pt x="18095" y="8345"/>
                    <a:pt x="18164" y="8345"/>
                  </a:cubicBezTo>
                  <a:cubicBezTo>
                    <a:pt x="18180" y="8345"/>
                    <a:pt x="18194" y="8338"/>
                    <a:pt x="18210" y="8336"/>
                  </a:cubicBezTo>
                  <a:lnTo>
                    <a:pt x="18238" y="8340"/>
                  </a:lnTo>
                  <a:lnTo>
                    <a:pt x="18237" y="8331"/>
                  </a:lnTo>
                  <a:cubicBezTo>
                    <a:pt x="18471" y="8294"/>
                    <a:pt x="18655" y="8100"/>
                    <a:pt x="18655" y="7855"/>
                  </a:cubicBezTo>
                  <a:lnTo>
                    <a:pt x="18655" y="4909"/>
                  </a:lnTo>
                  <a:cubicBezTo>
                    <a:pt x="18655" y="4638"/>
                    <a:pt x="18434" y="4418"/>
                    <a:pt x="18164" y="4418"/>
                  </a:cubicBezTo>
                  <a:moveTo>
                    <a:pt x="10800" y="10309"/>
                  </a:moveTo>
                  <a:cubicBezTo>
                    <a:pt x="10800" y="10038"/>
                    <a:pt x="10580" y="9818"/>
                    <a:pt x="10309" y="9818"/>
                  </a:cubicBezTo>
                  <a:lnTo>
                    <a:pt x="4418" y="9818"/>
                  </a:lnTo>
                  <a:cubicBezTo>
                    <a:pt x="4147" y="9818"/>
                    <a:pt x="3927" y="1003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lnTo>
                    <a:pt x="10309" y="10800"/>
                  </a:lnTo>
                  <a:cubicBezTo>
                    <a:pt x="10580" y="10800"/>
                    <a:pt x="10800" y="10580"/>
                    <a:pt x="10800" y="10309"/>
                  </a:cubicBezTo>
                  <a:moveTo>
                    <a:pt x="4418" y="6873"/>
                  </a:moveTo>
                  <a:lnTo>
                    <a:pt x="10309" y="6873"/>
                  </a:lnTo>
                  <a:cubicBezTo>
                    <a:pt x="10580" y="6873"/>
                    <a:pt x="10800" y="6653"/>
                    <a:pt x="10800" y="6382"/>
                  </a:cubicBezTo>
                  <a:cubicBezTo>
                    <a:pt x="10800" y="6110"/>
                    <a:pt x="10580" y="5891"/>
                    <a:pt x="10309" y="5891"/>
                  </a:cubicBezTo>
                  <a:lnTo>
                    <a:pt x="4418" y="5891"/>
                  </a:lnTo>
                  <a:cubicBezTo>
                    <a:pt x="4147" y="5891"/>
                    <a:pt x="3927" y="6110"/>
                    <a:pt x="3927" y="6382"/>
                  </a:cubicBezTo>
                  <a:cubicBezTo>
                    <a:pt x="3927" y="6653"/>
                    <a:pt x="4147" y="6873"/>
                    <a:pt x="4418" y="6873"/>
                  </a:cubicBezTo>
                  <a:moveTo>
                    <a:pt x="4418" y="8836"/>
                  </a:moveTo>
                  <a:lnTo>
                    <a:pt x="10309" y="8836"/>
                  </a:lnTo>
                  <a:cubicBezTo>
                    <a:pt x="10580" y="8836"/>
                    <a:pt x="10800" y="8617"/>
                    <a:pt x="10800" y="8345"/>
                  </a:cubicBezTo>
                  <a:cubicBezTo>
                    <a:pt x="10800" y="8074"/>
                    <a:pt x="10580" y="7855"/>
                    <a:pt x="10309" y="7855"/>
                  </a:cubicBezTo>
                  <a:lnTo>
                    <a:pt x="4418" y="7855"/>
                  </a:lnTo>
                  <a:cubicBezTo>
                    <a:pt x="4147" y="7855"/>
                    <a:pt x="3927" y="8074"/>
                    <a:pt x="3927" y="8345"/>
                  </a:cubicBezTo>
                  <a:cubicBezTo>
                    <a:pt x="3927" y="8617"/>
                    <a:pt x="4147" y="8836"/>
                    <a:pt x="4418" y="8836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730">
              <a:extLst>
                <a:ext uri="{FF2B5EF4-FFF2-40B4-BE49-F238E27FC236}">
                  <a16:creationId xmlns:a16="http://schemas.microsoft.com/office/drawing/2014/main" id="{C275BC26-B3F4-45D3-B4E0-2EE5EFA54917}"/>
                </a:ext>
              </a:extLst>
            </p:cNvPr>
            <p:cNvSpPr/>
            <p:nvPr/>
          </p:nvSpPr>
          <p:spPr bwMode="gray">
            <a:xfrm>
              <a:off x="1720965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691" y="5988"/>
                  </a:moveTo>
                  <a:lnTo>
                    <a:pt x="8836" y="7734"/>
                  </a:lnTo>
                  <a:lnTo>
                    <a:pt x="8836" y="5794"/>
                  </a:lnTo>
                  <a:lnTo>
                    <a:pt x="16691" y="4048"/>
                  </a:lnTo>
                  <a:cubicBezTo>
                    <a:pt x="16691" y="4048"/>
                    <a:pt x="16691" y="5988"/>
                    <a:pt x="16691" y="5988"/>
                  </a:cubicBezTo>
                  <a:close/>
                  <a:moveTo>
                    <a:pt x="15218" y="15709"/>
                  </a:moveTo>
                  <a:lnTo>
                    <a:pt x="14236" y="15709"/>
                  </a:lnTo>
                  <a:cubicBezTo>
                    <a:pt x="13423" y="15709"/>
                    <a:pt x="12764" y="15050"/>
                    <a:pt x="12764" y="14236"/>
                  </a:cubicBezTo>
                  <a:cubicBezTo>
                    <a:pt x="12764" y="13423"/>
                    <a:pt x="13423" y="12764"/>
                    <a:pt x="14236" y="12764"/>
                  </a:cubicBezTo>
                  <a:lnTo>
                    <a:pt x="15218" y="12764"/>
                  </a:lnTo>
                  <a:cubicBezTo>
                    <a:pt x="16032" y="12764"/>
                    <a:pt x="16691" y="13423"/>
                    <a:pt x="16691" y="14236"/>
                  </a:cubicBezTo>
                  <a:cubicBezTo>
                    <a:pt x="16691" y="15050"/>
                    <a:pt x="16032" y="15709"/>
                    <a:pt x="15218" y="15709"/>
                  </a:cubicBezTo>
                  <a:moveTo>
                    <a:pt x="6382" y="17673"/>
                  </a:moveTo>
                  <a:lnTo>
                    <a:pt x="5400" y="17673"/>
                  </a:lnTo>
                  <a:cubicBezTo>
                    <a:pt x="4586" y="17673"/>
                    <a:pt x="3927" y="17014"/>
                    <a:pt x="3927" y="16200"/>
                  </a:cubicBezTo>
                  <a:cubicBezTo>
                    <a:pt x="3927" y="15387"/>
                    <a:pt x="4586" y="14727"/>
                    <a:pt x="5400" y="14727"/>
                  </a:cubicBezTo>
                  <a:lnTo>
                    <a:pt x="6382" y="14727"/>
                  </a:lnTo>
                  <a:cubicBezTo>
                    <a:pt x="7195" y="14727"/>
                    <a:pt x="7855" y="15387"/>
                    <a:pt x="7855" y="16200"/>
                  </a:cubicBezTo>
                  <a:cubicBezTo>
                    <a:pt x="7855" y="17014"/>
                    <a:pt x="7195" y="17673"/>
                    <a:pt x="6382" y="17673"/>
                  </a:cubicBezTo>
                  <a:moveTo>
                    <a:pt x="17182" y="2945"/>
                  </a:moveTo>
                  <a:cubicBezTo>
                    <a:pt x="17148" y="2945"/>
                    <a:pt x="17119" y="2958"/>
                    <a:pt x="17088" y="2965"/>
                  </a:cubicBezTo>
                  <a:lnTo>
                    <a:pt x="17086" y="2955"/>
                  </a:lnTo>
                  <a:lnTo>
                    <a:pt x="8249" y="4919"/>
                  </a:lnTo>
                  <a:lnTo>
                    <a:pt x="8251" y="4928"/>
                  </a:lnTo>
                  <a:cubicBezTo>
                    <a:pt x="8027" y="4973"/>
                    <a:pt x="7855" y="5162"/>
                    <a:pt x="7855" y="5400"/>
                  </a:cubicBezTo>
                  <a:lnTo>
                    <a:pt x="7855" y="14248"/>
                  </a:lnTo>
                  <a:cubicBezTo>
                    <a:pt x="7444" y="13937"/>
                    <a:pt x="6937" y="13745"/>
                    <a:pt x="6382" y="13745"/>
                  </a:cubicBezTo>
                  <a:lnTo>
                    <a:pt x="5400" y="13745"/>
                  </a:lnTo>
                  <a:cubicBezTo>
                    <a:pt x="4044" y="13745"/>
                    <a:pt x="2945" y="14844"/>
                    <a:pt x="2945" y="16200"/>
                  </a:cubicBezTo>
                  <a:cubicBezTo>
                    <a:pt x="2945" y="17556"/>
                    <a:pt x="4044" y="18655"/>
                    <a:pt x="5400" y="18655"/>
                  </a:cubicBezTo>
                  <a:lnTo>
                    <a:pt x="6382" y="18655"/>
                  </a:lnTo>
                  <a:cubicBezTo>
                    <a:pt x="7737" y="18655"/>
                    <a:pt x="8836" y="17556"/>
                    <a:pt x="8836" y="16200"/>
                  </a:cubicBezTo>
                  <a:lnTo>
                    <a:pt x="8836" y="8739"/>
                  </a:lnTo>
                  <a:lnTo>
                    <a:pt x="16691" y="6994"/>
                  </a:lnTo>
                  <a:lnTo>
                    <a:pt x="16691" y="12284"/>
                  </a:lnTo>
                  <a:cubicBezTo>
                    <a:pt x="16280" y="11974"/>
                    <a:pt x="15773" y="11782"/>
                    <a:pt x="15218" y="11782"/>
                  </a:cubicBezTo>
                  <a:lnTo>
                    <a:pt x="14236" y="11782"/>
                  </a:lnTo>
                  <a:cubicBezTo>
                    <a:pt x="12881" y="11782"/>
                    <a:pt x="11782" y="12881"/>
                    <a:pt x="11782" y="14236"/>
                  </a:cubicBezTo>
                  <a:cubicBezTo>
                    <a:pt x="11782" y="15592"/>
                    <a:pt x="12881" y="16691"/>
                    <a:pt x="14236" y="16691"/>
                  </a:cubicBezTo>
                  <a:lnTo>
                    <a:pt x="15218" y="16691"/>
                  </a:lnTo>
                  <a:cubicBezTo>
                    <a:pt x="16573" y="16691"/>
                    <a:pt x="17673" y="15592"/>
                    <a:pt x="17673" y="14236"/>
                  </a:cubicBezTo>
                  <a:lnTo>
                    <a:pt x="17673" y="3436"/>
                  </a:lnTo>
                  <a:cubicBezTo>
                    <a:pt x="17673" y="3165"/>
                    <a:pt x="17453" y="2945"/>
                    <a:pt x="17182" y="29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731">
              <a:extLst>
                <a:ext uri="{FF2B5EF4-FFF2-40B4-BE49-F238E27FC236}">
                  <a16:creationId xmlns:a16="http://schemas.microsoft.com/office/drawing/2014/main" id="{E6A83AB9-74E7-4572-8D4F-952F1C84B4CA}"/>
                </a:ext>
              </a:extLst>
            </p:cNvPr>
            <p:cNvSpPr/>
            <p:nvPr/>
          </p:nvSpPr>
          <p:spPr bwMode="gray">
            <a:xfrm>
              <a:off x="2272679" y="505792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74" y="6862"/>
                  </a:moveTo>
                  <a:lnTo>
                    <a:pt x="18121" y="9450"/>
                  </a:lnTo>
                  <a:lnTo>
                    <a:pt x="17427" y="8686"/>
                  </a:lnTo>
                  <a:lnTo>
                    <a:pt x="19780" y="6098"/>
                  </a:lnTo>
                  <a:cubicBezTo>
                    <a:pt x="19869" y="6000"/>
                    <a:pt x="19992" y="5940"/>
                    <a:pt x="20127" y="5940"/>
                  </a:cubicBezTo>
                  <a:cubicBezTo>
                    <a:pt x="20398" y="5940"/>
                    <a:pt x="20618" y="6182"/>
                    <a:pt x="20618" y="6480"/>
                  </a:cubicBezTo>
                  <a:cubicBezTo>
                    <a:pt x="20618" y="6629"/>
                    <a:pt x="20563" y="6764"/>
                    <a:pt x="20474" y="6862"/>
                  </a:cubicBezTo>
                  <a:moveTo>
                    <a:pt x="21600" y="6480"/>
                  </a:moveTo>
                  <a:cubicBezTo>
                    <a:pt x="21600" y="5586"/>
                    <a:pt x="20941" y="4860"/>
                    <a:pt x="20127" y="4860"/>
                  </a:cubicBezTo>
                  <a:cubicBezTo>
                    <a:pt x="19720" y="4860"/>
                    <a:pt x="19352" y="5041"/>
                    <a:pt x="19086" y="5335"/>
                  </a:cubicBezTo>
                  <a:lnTo>
                    <a:pt x="6813" y="18835"/>
                  </a:lnTo>
                  <a:cubicBezTo>
                    <a:pt x="6547" y="19128"/>
                    <a:pt x="6382" y="19533"/>
                    <a:pt x="6382" y="19980"/>
                  </a:cubicBezTo>
                  <a:cubicBezTo>
                    <a:pt x="6382" y="20874"/>
                    <a:pt x="7041" y="21600"/>
                    <a:pt x="7855" y="21600"/>
                  </a:cubicBezTo>
                  <a:cubicBezTo>
                    <a:pt x="8262" y="21600"/>
                    <a:pt x="8630" y="21419"/>
                    <a:pt x="8896" y="21125"/>
                  </a:cubicBezTo>
                  <a:lnTo>
                    <a:pt x="21169" y="7625"/>
                  </a:lnTo>
                  <a:cubicBezTo>
                    <a:pt x="21435" y="7332"/>
                    <a:pt x="21600" y="6927"/>
                    <a:pt x="21600" y="6480"/>
                  </a:cubicBezTo>
                  <a:moveTo>
                    <a:pt x="20127" y="14040"/>
                  </a:moveTo>
                  <a:lnTo>
                    <a:pt x="18655" y="14040"/>
                  </a:lnTo>
                  <a:lnTo>
                    <a:pt x="18655" y="11918"/>
                  </a:lnTo>
                  <a:lnTo>
                    <a:pt x="15744" y="15120"/>
                  </a:lnTo>
                  <a:lnTo>
                    <a:pt x="20127" y="15120"/>
                  </a:lnTo>
                  <a:cubicBezTo>
                    <a:pt x="20398" y="15120"/>
                    <a:pt x="20618" y="15362"/>
                    <a:pt x="20618" y="15660"/>
                  </a:cubicBezTo>
                  <a:cubicBezTo>
                    <a:pt x="20618" y="15958"/>
                    <a:pt x="20398" y="16200"/>
                    <a:pt x="20127" y="16200"/>
                  </a:cubicBezTo>
                  <a:lnTo>
                    <a:pt x="14762" y="16200"/>
                  </a:lnTo>
                  <a:lnTo>
                    <a:pt x="13780" y="17280"/>
                  </a:lnTo>
                  <a:lnTo>
                    <a:pt x="20127" y="17280"/>
                  </a:lnTo>
                  <a:cubicBezTo>
                    <a:pt x="20941" y="17280"/>
                    <a:pt x="21600" y="16554"/>
                    <a:pt x="21600" y="15660"/>
                  </a:cubicBezTo>
                  <a:cubicBezTo>
                    <a:pt x="21600" y="14766"/>
                    <a:pt x="20941" y="14040"/>
                    <a:pt x="20127" y="14040"/>
                  </a:cubicBezTo>
                  <a:moveTo>
                    <a:pt x="7820" y="16200"/>
                  </a:moveTo>
                  <a:lnTo>
                    <a:pt x="1473" y="16200"/>
                  </a:lnTo>
                  <a:cubicBezTo>
                    <a:pt x="1202" y="16200"/>
                    <a:pt x="982" y="15958"/>
                    <a:pt x="982" y="15660"/>
                  </a:cubicBezTo>
                  <a:cubicBezTo>
                    <a:pt x="982" y="15362"/>
                    <a:pt x="1202" y="15120"/>
                    <a:pt x="1473" y="15120"/>
                  </a:cubicBezTo>
                  <a:lnTo>
                    <a:pt x="8802" y="15120"/>
                  </a:lnTo>
                  <a:lnTo>
                    <a:pt x="12729" y="10800"/>
                  </a:lnTo>
                  <a:lnTo>
                    <a:pt x="3927" y="10800"/>
                  </a:lnTo>
                  <a:lnTo>
                    <a:pt x="3927" y="1080"/>
                  </a:lnTo>
                  <a:lnTo>
                    <a:pt x="17673" y="1080"/>
                  </a:lnTo>
                  <a:lnTo>
                    <a:pt x="17673" y="5362"/>
                  </a:lnTo>
                  <a:lnTo>
                    <a:pt x="18655" y="4282"/>
                  </a:lnTo>
                  <a:lnTo>
                    <a:pt x="18655" y="540"/>
                  </a:lnTo>
                  <a:cubicBezTo>
                    <a:pt x="18655" y="242"/>
                    <a:pt x="18434" y="0"/>
                    <a:pt x="18164" y="0"/>
                  </a:cubicBezTo>
                  <a:lnTo>
                    <a:pt x="3436" y="0"/>
                  </a:lnTo>
                  <a:cubicBezTo>
                    <a:pt x="3166" y="0"/>
                    <a:pt x="2945" y="242"/>
                    <a:pt x="2945" y="540"/>
                  </a:cubicBezTo>
                  <a:lnTo>
                    <a:pt x="2945" y="14040"/>
                  </a:lnTo>
                  <a:lnTo>
                    <a:pt x="1473" y="14040"/>
                  </a:lnTo>
                  <a:cubicBezTo>
                    <a:pt x="659" y="14040"/>
                    <a:pt x="0" y="14766"/>
                    <a:pt x="0" y="15660"/>
                  </a:cubicBezTo>
                  <a:cubicBezTo>
                    <a:pt x="0" y="16554"/>
                    <a:pt x="659" y="17280"/>
                    <a:pt x="1473" y="17280"/>
                  </a:cubicBezTo>
                  <a:lnTo>
                    <a:pt x="6838" y="17280"/>
                  </a:lnTo>
                  <a:cubicBezTo>
                    <a:pt x="6838" y="17280"/>
                    <a:pt x="7820" y="16200"/>
                    <a:pt x="7820" y="162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732">
              <a:extLst>
                <a:ext uri="{FF2B5EF4-FFF2-40B4-BE49-F238E27FC236}">
                  <a16:creationId xmlns:a16="http://schemas.microsoft.com/office/drawing/2014/main" id="{9D02509D-4BA7-46A8-9C7B-E4AD920CD0DA}"/>
                </a:ext>
              </a:extLst>
            </p:cNvPr>
            <p:cNvSpPr/>
            <p:nvPr/>
          </p:nvSpPr>
          <p:spPr bwMode="gray">
            <a:xfrm>
              <a:off x="2824392" y="512360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236" y="19413"/>
                  </a:moveTo>
                  <a:lnTo>
                    <a:pt x="13945" y="13593"/>
                  </a:lnTo>
                  <a:cubicBezTo>
                    <a:pt x="14130" y="12747"/>
                    <a:pt x="14236" y="11802"/>
                    <a:pt x="14236" y="10800"/>
                  </a:cubicBezTo>
                  <a:cubicBezTo>
                    <a:pt x="14236" y="9799"/>
                    <a:pt x="14130" y="8854"/>
                    <a:pt x="13945" y="8007"/>
                  </a:cubicBezTo>
                  <a:lnTo>
                    <a:pt x="19236" y="2187"/>
                  </a:lnTo>
                  <a:cubicBezTo>
                    <a:pt x="20007" y="2465"/>
                    <a:pt x="20618" y="6209"/>
                    <a:pt x="20618" y="10800"/>
                  </a:cubicBezTo>
                  <a:cubicBezTo>
                    <a:pt x="20618" y="15392"/>
                    <a:pt x="20007" y="19136"/>
                    <a:pt x="19236" y="19413"/>
                  </a:cubicBezTo>
                  <a:moveTo>
                    <a:pt x="11291" y="15120"/>
                  </a:moveTo>
                  <a:lnTo>
                    <a:pt x="10309" y="15120"/>
                  </a:lnTo>
                  <a:cubicBezTo>
                    <a:pt x="9225" y="15120"/>
                    <a:pt x="8345" y="13186"/>
                    <a:pt x="8345" y="10800"/>
                  </a:cubicBezTo>
                  <a:cubicBezTo>
                    <a:pt x="8345" y="8414"/>
                    <a:pt x="9225" y="6480"/>
                    <a:pt x="10309" y="6480"/>
                  </a:cubicBezTo>
                  <a:lnTo>
                    <a:pt x="11291" y="6480"/>
                  </a:lnTo>
                  <a:cubicBezTo>
                    <a:pt x="12375" y="6480"/>
                    <a:pt x="13255" y="8414"/>
                    <a:pt x="13255" y="10800"/>
                  </a:cubicBezTo>
                  <a:cubicBezTo>
                    <a:pt x="13255" y="13186"/>
                    <a:pt x="12375" y="15120"/>
                    <a:pt x="11291" y="15120"/>
                  </a:cubicBezTo>
                  <a:moveTo>
                    <a:pt x="7654" y="13593"/>
                  </a:moveTo>
                  <a:lnTo>
                    <a:pt x="2363" y="19413"/>
                  </a:lnTo>
                  <a:cubicBezTo>
                    <a:pt x="1593" y="19135"/>
                    <a:pt x="982" y="15391"/>
                    <a:pt x="982" y="10800"/>
                  </a:cubicBezTo>
                  <a:cubicBezTo>
                    <a:pt x="982" y="6209"/>
                    <a:pt x="1593" y="2465"/>
                    <a:pt x="2363" y="2187"/>
                  </a:cubicBezTo>
                  <a:lnTo>
                    <a:pt x="7654" y="8007"/>
                  </a:lnTo>
                  <a:cubicBezTo>
                    <a:pt x="7470" y="8854"/>
                    <a:pt x="7364" y="9799"/>
                    <a:pt x="7364" y="10800"/>
                  </a:cubicBezTo>
                  <a:cubicBezTo>
                    <a:pt x="7364" y="11802"/>
                    <a:pt x="7470" y="12747"/>
                    <a:pt x="7654" y="13593"/>
                  </a:cubicBezTo>
                  <a:moveTo>
                    <a:pt x="19145" y="0"/>
                  </a:moveTo>
                  <a:cubicBezTo>
                    <a:pt x="19066" y="0"/>
                    <a:pt x="18994" y="51"/>
                    <a:pt x="18928" y="124"/>
                  </a:cubicBezTo>
                  <a:lnTo>
                    <a:pt x="18925" y="114"/>
                  </a:lnTo>
                  <a:lnTo>
                    <a:pt x="13374" y="6221"/>
                  </a:lnTo>
                  <a:cubicBezTo>
                    <a:pt x="12841" y="5047"/>
                    <a:pt x="12105" y="4320"/>
                    <a:pt x="11291" y="4320"/>
                  </a:cubicBezTo>
                  <a:lnTo>
                    <a:pt x="10309" y="4320"/>
                  </a:lnTo>
                  <a:cubicBezTo>
                    <a:pt x="9495" y="4320"/>
                    <a:pt x="8758" y="5047"/>
                    <a:pt x="8225" y="6221"/>
                  </a:cubicBezTo>
                  <a:lnTo>
                    <a:pt x="2674" y="114"/>
                  </a:lnTo>
                  <a:lnTo>
                    <a:pt x="2671" y="124"/>
                  </a:lnTo>
                  <a:cubicBezTo>
                    <a:pt x="2606" y="51"/>
                    <a:pt x="2534" y="0"/>
                    <a:pt x="2455" y="0"/>
                  </a:cubicBezTo>
                  <a:cubicBezTo>
                    <a:pt x="1099" y="0"/>
                    <a:pt x="0" y="4835"/>
                    <a:pt x="0" y="10800"/>
                  </a:cubicBezTo>
                  <a:cubicBezTo>
                    <a:pt x="0" y="16765"/>
                    <a:pt x="1099" y="21600"/>
                    <a:pt x="2455" y="21600"/>
                  </a:cubicBezTo>
                  <a:cubicBezTo>
                    <a:pt x="2534" y="21600"/>
                    <a:pt x="2605" y="21549"/>
                    <a:pt x="2671" y="21477"/>
                  </a:cubicBezTo>
                  <a:lnTo>
                    <a:pt x="2674" y="21486"/>
                  </a:lnTo>
                  <a:lnTo>
                    <a:pt x="8225" y="15379"/>
                  </a:lnTo>
                  <a:cubicBezTo>
                    <a:pt x="8758" y="16554"/>
                    <a:pt x="9495" y="17280"/>
                    <a:pt x="10309" y="17280"/>
                  </a:cubicBezTo>
                  <a:lnTo>
                    <a:pt x="11291" y="17280"/>
                  </a:lnTo>
                  <a:cubicBezTo>
                    <a:pt x="12105" y="17280"/>
                    <a:pt x="12842" y="16554"/>
                    <a:pt x="13375" y="15379"/>
                  </a:cubicBezTo>
                  <a:lnTo>
                    <a:pt x="18940" y="21501"/>
                  </a:lnTo>
                  <a:lnTo>
                    <a:pt x="18941" y="21496"/>
                  </a:lnTo>
                  <a:cubicBezTo>
                    <a:pt x="19003" y="21560"/>
                    <a:pt x="19072" y="21600"/>
                    <a:pt x="19145" y="21600"/>
                  </a:cubicBezTo>
                  <a:cubicBezTo>
                    <a:pt x="20501" y="21600"/>
                    <a:pt x="21600" y="16765"/>
                    <a:pt x="21600" y="10800"/>
                  </a:cubicBezTo>
                  <a:cubicBezTo>
                    <a:pt x="21600" y="4835"/>
                    <a:pt x="20501" y="0"/>
                    <a:pt x="19145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733">
              <a:extLst>
                <a:ext uri="{FF2B5EF4-FFF2-40B4-BE49-F238E27FC236}">
                  <a16:creationId xmlns:a16="http://schemas.microsoft.com/office/drawing/2014/main" id="{2139128F-D6A0-4578-ABF1-E0E80CCA7BBE}"/>
                </a:ext>
              </a:extLst>
            </p:cNvPr>
            <p:cNvSpPr/>
            <p:nvPr/>
          </p:nvSpPr>
          <p:spPr bwMode="gray">
            <a:xfrm>
              <a:off x="3468058" y="5044785"/>
              <a:ext cx="10508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364"/>
                  </a:moveTo>
                  <a:lnTo>
                    <a:pt x="2804" y="17041"/>
                  </a:lnTo>
                  <a:lnTo>
                    <a:pt x="9142" y="5518"/>
                  </a:lnTo>
                  <a:lnTo>
                    <a:pt x="9803" y="5724"/>
                  </a:lnTo>
                  <a:cubicBezTo>
                    <a:pt x="9859" y="5747"/>
                    <a:pt x="9925" y="5764"/>
                    <a:pt x="9991" y="5783"/>
                  </a:cubicBezTo>
                  <a:lnTo>
                    <a:pt x="10130" y="5826"/>
                  </a:lnTo>
                  <a:lnTo>
                    <a:pt x="10141" y="5820"/>
                  </a:lnTo>
                  <a:cubicBezTo>
                    <a:pt x="10339" y="5861"/>
                    <a:pt x="10555" y="5891"/>
                    <a:pt x="10800" y="5891"/>
                  </a:cubicBezTo>
                  <a:cubicBezTo>
                    <a:pt x="11045" y="5891"/>
                    <a:pt x="11261" y="5861"/>
                    <a:pt x="11459" y="5820"/>
                  </a:cubicBezTo>
                  <a:lnTo>
                    <a:pt x="11470" y="5826"/>
                  </a:lnTo>
                  <a:lnTo>
                    <a:pt x="11609" y="5783"/>
                  </a:lnTo>
                  <a:cubicBezTo>
                    <a:pt x="11675" y="5764"/>
                    <a:pt x="11741" y="5747"/>
                    <a:pt x="11797" y="5724"/>
                  </a:cubicBezTo>
                  <a:lnTo>
                    <a:pt x="12457" y="5518"/>
                  </a:lnTo>
                  <a:lnTo>
                    <a:pt x="14283" y="8836"/>
                  </a:lnTo>
                  <a:lnTo>
                    <a:pt x="10800" y="8836"/>
                  </a:lnTo>
                  <a:cubicBezTo>
                    <a:pt x="10054" y="8836"/>
                    <a:pt x="9450" y="9056"/>
                    <a:pt x="9450" y="9327"/>
                  </a:cubicBezTo>
                  <a:cubicBezTo>
                    <a:pt x="9450" y="9599"/>
                    <a:pt x="10054" y="9818"/>
                    <a:pt x="10800" y="9818"/>
                  </a:cubicBezTo>
                  <a:lnTo>
                    <a:pt x="14824" y="9818"/>
                  </a:lnTo>
                  <a:lnTo>
                    <a:pt x="18796" y="17041"/>
                  </a:lnTo>
                  <a:cubicBezTo>
                    <a:pt x="18796" y="17041"/>
                    <a:pt x="10800" y="20364"/>
                    <a:pt x="10800" y="20364"/>
                  </a:cubicBezTo>
                  <a:close/>
                  <a:moveTo>
                    <a:pt x="2776" y="2264"/>
                  </a:moveTo>
                  <a:cubicBezTo>
                    <a:pt x="3291" y="1541"/>
                    <a:pt x="6683" y="982"/>
                    <a:pt x="10800" y="982"/>
                  </a:cubicBezTo>
                  <a:cubicBezTo>
                    <a:pt x="14917" y="982"/>
                    <a:pt x="18308" y="1541"/>
                    <a:pt x="18825" y="2264"/>
                  </a:cubicBezTo>
                  <a:lnTo>
                    <a:pt x="10800" y="4765"/>
                  </a:lnTo>
                  <a:cubicBezTo>
                    <a:pt x="10800" y="4765"/>
                    <a:pt x="2776" y="2264"/>
                    <a:pt x="2776" y="2264"/>
                  </a:cubicBezTo>
                  <a:close/>
                  <a:moveTo>
                    <a:pt x="21551" y="17094"/>
                  </a:moveTo>
                  <a:lnTo>
                    <a:pt x="21578" y="17093"/>
                  </a:lnTo>
                  <a:lnTo>
                    <a:pt x="17575" y="9818"/>
                  </a:lnTo>
                  <a:lnTo>
                    <a:pt x="18900" y="9818"/>
                  </a:lnTo>
                  <a:cubicBezTo>
                    <a:pt x="19646" y="9818"/>
                    <a:pt x="20250" y="9599"/>
                    <a:pt x="20250" y="9327"/>
                  </a:cubicBezTo>
                  <a:cubicBezTo>
                    <a:pt x="20250" y="9056"/>
                    <a:pt x="19646" y="8836"/>
                    <a:pt x="18900" y="8836"/>
                  </a:cubicBezTo>
                  <a:lnTo>
                    <a:pt x="17036" y="8836"/>
                  </a:lnTo>
                  <a:lnTo>
                    <a:pt x="14828" y="4820"/>
                  </a:lnTo>
                  <a:lnTo>
                    <a:pt x="14801" y="4822"/>
                  </a:lnTo>
                  <a:cubicBezTo>
                    <a:pt x="14795" y="4812"/>
                    <a:pt x="14792" y="4803"/>
                    <a:pt x="14785" y="4793"/>
                  </a:cubicBezTo>
                  <a:lnTo>
                    <a:pt x="20920" y="2881"/>
                  </a:lnTo>
                  <a:lnTo>
                    <a:pt x="20909" y="2874"/>
                  </a:lnTo>
                  <a:cubicBezTo>
                    <a:pt x="21315" y="2789"/>
                    <a:pt x="21600" y="2637"/>
                    <a:pt x="21600" y="2455"/>
                  </a:cubicBezTo>
                  <a:cubicBezTo>
                    <a:pt x="21600" y="1099"/>
                    <a:pt x="16764" y="0"/>
                    <a:pt x="10800" y="0"/>
                  </a:cubicBezTo>
                  <a:cubicBezTo>
                    <a:pt x="4836" y="0"/>
                    <a:pt x="0" y="1099"/>
                    <a:pt x="0" y="2455"/>
                  </a:cubicBezTo>
                  <a:cubicBezTo>
                    <a:pt x="0" y="2637"/>
                    <a:pt x="285" y="2789"/>
                    <a:pt x="691" y="2874"/>
                  </a:cubicBezTo>
                  <a:lnTo>
                    <a:pt x="680" y="2881"/>
                  </a:lnTo>
                  <a:lnTo>
                    <a:pt x="6815" y="4793"/>
                  </a:lnTo>
                  <a:cubicBezTo>
                    <a:pt x="6808" y="4802"/>
                    <a:pt x="6805" y="4812"/>
                    <a:pt x="6799" y="4822"/>
                  </a:cubicBezTo>
                  <a:lnTo>
                    <a:pt x="6772" y="4820"/>
                  </a:lnTo>
                  <a:lnTo>
                    <a:pt x="22" y="17093"/>
                  </a:lnTo>
                  <a:lnTo>
                    <a:pt x="49" y="17094"/>
                  </a:lnTo>
                  <a:cubicBezTo>
                    <a:pt x="34" y="17123"/>
                    <a:pt x="0" y="17151"/>
                    <a:pt x="0" y="17182"/>
                  </a:cubicBezTo>
                  <a:cubicBezTo>
                    <a:pt x="0" y="17306"/>
                    <a:pt x="137" y="17416"/>
                    <a:pt x="345" y="17502"/>
                  </a:cubicBezTo>
                  <a:lnTo>
                    <a:pt x="335" y="17505"/>
                  </a:lnTo>
                  <a:lnTo>
                    <a:pt x="9785" y="21432"/>
                  </a:lnTo>
                  <a:lnTo>
                    <a:pt x="9795" y="21429"/>
                  </a:lnTo>
                  <a:cubicBezTo>
                    <a:pt x="10041" y="21532"/>
                    <a:pt x="10394" y="21600"/>
                    <a:pt x="10800" y="21600"/>
                  </a:cubicBezTo>
                  <a:cubicBezTo>
                    <a:pt x="11206" y="21600"/>
                    <a:pt x="11557" y="21532"/>
                    <a:pt x="11805" y="21429"/>
                  </a:cubicBezTo>
                  <a:lnTo>
                    <a:pt x="11815" y="21432"/>
                  </a:lnTo>
                  <a:lnTo>
                    <a:pt x="21265" y="17505"/>
                  </a:lnTo>
                  <a:lnTo>
                    <a:pt x="21255" y="17502"/>
                  </a:lnTo>
                  <a:cubicBezTo>
                    <a:pt x="21463" y="17416"/>
                    <a:pt x="21600" y="17306"/>
                    <a:pt x="21600" y="17182"/>
                  </a:cubicBezTo>
                  <a:cubicBezTo>
                    <a:pt x="21600" y="17151"/>
                    <a:pt x="21566" y="17123"/>
                    <a:pt x="21551" y="170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734">
              <a:extLst>
                <a:ext uri="{FF2B5EF4-FFF2-40B4-BE49-F238E27FC236}">
                  <a16:creationId xmlns:a16="http://schemas.microsoft.com/office/drawing/2014/main" id="{6BC4DCD5-86B9-4BC0-A455-55CAC1D669CE}"/>
                </a:ext>
              </a:extLst>
            </p:cNvPr>
            <p:cNvSpPr/>
            <p:nvPr/>
          </p:nvSpPr>
          <p:spPr bwMode="gray">
            <a:xfrm>
              <a:off x="3927820" y="508419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9450"/>
                  </a:moveTo>
                  <a:lnTo>
                    <a:pt x="9140" y="9450"/>
                  </a:lnTo>
                  <a:lnTo>
                    <a:pt x="8293" y="7123"/>
                  </a:lnTo>
                  <a:lnTo>
                    <a:pt x="8289" y="7126"/>
                  </a:lnTo>
                  <a:cubicBezTo>
                    <a:pt x="8208" y="6906"/>
                    <a:pt x="8046" y="6750"/>
                    <a:pt x="7855" y="6750"/>
                  </a:cubicBezTo>
                  <a:cubicBezTo>
                    <a:pt x="7663" y="6750"/>
                    <a:pt x="7501" y="6906"/>
                    <a:pt x="7420" y="7126"/>
                  </a:cubicBezTo>
                  <a:lnTo>
                    <a:pt x="7415" y="7123"/>
                  </a:lnTo>
                  <a:lnTo>
                    <a:pt x="6569" y="9450"/>
                  </a:lnTo>
                  <a:lnTo>
                    <a:pt x="5400" y="9450"/>
                  </a:lnTo>
                  <a:cubicBezTo>
                    <a:pt x="5129" y="9450"/>
                    <a:pt x="4909" y="9752"/>
                    <a:pt x="4909" y="10125"/>
                  </a:cubicBezTo>
                  <a:cubicBezTo>
                    <a:pt x="4909" y="10571"/>
                    <a:pt x="5128" y="10687"/>
                    <a:pt x="5128" y="10687"/>
                  </a:cubicBezTo>
                  <a:lnTo>
                    <a:pt x="6405" y="11857"/>
                  </a:lnTo>
                  <a:lnTo>
                    <a:pt x="5914" y="14014"/>
                  </a:lnTo>
                  <a:cubicBezTo>
                    <a:pt x="5905" y="14067"/>
                    <a:pt x="5891" y="14118"/>
                    <a:pt x="5891" y="14175"/>
                  </a:cubicBezTo>
                  <a:cubicBezTo>
                    <a:pt x="5891" y="14548"/>
                    <a:pt x="6110" y="14850"/>
                    <a:pt x="6382" y="14850"/>
                  </a:cubicBezTo>
                  <a:cubicBezTo>
                    <a:pt x="6483" y="14850"/>
                    <a:pt x="6574" y="14801"/>
                    <a:pt x="6650" y="14727"/>
                  </a:cubicBezTo>
                  <a:lnTo>
                    <a:pt x="7855" y="13636"/>
                  </a:lnTo>
                  <a:lnTo>
                    <a:pt x="9055" y="14737"/>
                  </a:lnTo>
                  <a:cubicBezTo>
                    <a:pt x="9055" y="14737"/>
                    <a:pt x="9127" y="14850"/>
                    <a:pt x="9327" y="14850"/>
                  </a:cubicBezTo>
                  <a:cubicBezTo>
                    <a:pt x="9599" y="14850"/>
                    <a:pt x="9818" y="14548"/>
                    <a:pt x="9818" y="14175"/>
                  </a:cubicBezTo>
                  <a:cubicBezTo>
                    <a:pt x="9818" y="14117"/>
                    <a:pt x="9798" y="14070"/>
                    <a:pt x="9787" y="14017"/>
                  </a:cubicBezTo>
                  <a:lnTo>
                    <a:pt x="9304" y="11857"/>
                  </a:lnTo>
                  <a:lnTo>
                    <a:pt x="10581" y="10687"/>
                  </a:lnTo>
                  <a:cubicBezTo>
                    <a:pt x="10581" y="10687"/>
                    <a:pt x="10800" y="10571"/>
                    <a:pt x="10800" y="10125"/>
                  </a:cubicBezTo>
                  <a:cubicBezTo>
                    <a:pt x="10800" y="9752"/>
                    <a:pt x="10580" y="9450"/>
                    <a:pt x="10309" y="9450"/>
                  </a:cubicBezTo>
                  <a:moveTo>
                    <a:pt x="13255" y="11475"/>
                  </a:moveTo>
                  <a:lnTo>
                    <a:pt x="15218" y="11475"/>
                  </a:lnTo>
                  <a:cubicBezTo>
                    <a:pt x="15490" y="11475"/>
                    <a:pt x="15709" y="11173"/>
                    <a:pt x="15709" y="10800"/>
                  </a:cubicBezTo>
                  <a:cubicBezTo>
                    <a:pt x="15709" y="10427"/>
                    <a:pt x="15490" y="10125"/>
                    <a:pt x="15218" y="10125"/>
                  </a:cubicBezTo>
                  <a:lnTo>
                    <a:pt x="13255" y="10125"/>
                  </a:lnTo>
                  <a:cubicBezTo>
                    <a:pt x="12983" y="10125"/>
                    <a:pt x="12764" y="10427"/>
                    <a:pt x="12764" y="10800"/>
                  </a:cubicBezTo>
                  <a:cubicBezTo>
                    <a:pt x="12764" y="11173"/>
                    <a:pt x="12983" y="11475"/>
                    <a:pt x="13255" y="11475"/>
                  </a:cubicBezTo>
                  <a:moveTo>
                    <a:pt x="16200" y="12150"/>
                  </a:moveTo>
                  <a:lnTo>
                    <a:pt x="13255" y="12150"/>
                  </a:lnTo>
                  <a:cubicBezTo>
                    <a:pt x="12983" y="12150"/>
                    <a:pt x="12764" y="12452"/>
                    <a:pt x="12764" y="12825"/>
                  </a:cubicBezTo>
                  <a:cubicBezTo>
                    <a:pt x="12764" y="13198"/>
                    <a:pt x="12983" y="13500"/>
                    <a:pt x="13255" y="13500"/>
                  </a:cubicBezTo>
                  <a:lnTo>
                    <a:pt x="16200" y="13500"/>
                  </a:lnTo>
                  <a:cubicBezTo>
                    <a:pt x="16471" y="13500"/>
                    <a:pt x="16691" y="13198"/>
                    <a:pt x="16691" y="12825"/>
                  </a:cubicBezTo>
                  <a:cubicBezTo>
                    <a:pt x="16691" y="12452"/>
                    <a:pt x="16471" y="12150"/>
                    <a:pt x="16200" y="12150"/>
                  </a:cubicBezTo>
                  <a:moveTo>
                    <a:pt x="20618" y="14768"/>
                  </a:moveTo>
                  <a:lnTo>
                    <a:pt x="20618" y="17550"/>
                  </a:lnTo>
                  <a:lnTo>
                    <a:pt x="982" y="17550"/>
                  </a:lnTo>
                  <a:lnTo>
                    <a:pt x="982" y="14768"/>
                  </a:lnTo>
                  <a:cubicBezTo>
                    <a:pt x="2102" y="14393"/>
                    <a:pt x="2945" y="12759"/>
                    <a:pt x="2945" y="10800"/>
                  </a:cubicBezTo>
                  <a:cubicBezTo>
                    <a:pt x="2945" y="8841"/>
                    <a:pt x="2102" y="7207"/>
                    <a:pt x="982" y="6832"/>
                  </a:cubicBezTo>
                  <a:lnTo>
                    <a:pt x="982" y="4050"/>
                  </a:lnTo>
                  <a:lnTo>
                    <a:pt x="20618" y="4050"/>
                  </a:lnTo>
                  <a:lnTo>
                    <a:pt x="20618" y="6832"/>
                  </a:lnTo>
                  <a:cubicBezTo>
                    <a:pt x="19498" y="7207"/>
                    <a:pt x="18655" y="8841"/>
                    <a:pt x="18655" y="10800"/>
                  </a:cubicBezTo>
                  <a:cubicBezTo>
                    <a:pt x="18655" y="12759"/>
                    <a:pt x="19498" y="14393"/>
                    <a:pt x="20618" y="14768"/>
                  </a:cubicBezTo>
                  <a:moveTo>
                    <a:pt x="20618" y="20250"/>
                  </a:moveTo>
                  <a:lnTo>
                    <a:pt x="18655" y="20250"/>
                  </a:lnTo>
                  <a:lnTo>
                    <a:pt x="18655" y="18900"/>
                  </a:lnTo>
                  <a:lnTo>
                    <a:pt x="20618" y="18900"/>
                  </a:lnTo>
                  <a:cubicBezTo>
                    <a:pt x="20618" y="18900"/>
                    <a:pt x="20618" y="20250"/>
                    <a:pt x="20618" y="20250"/>
                  </a:cubicBezTo>
                  <a:close/>
                  <a:moveTo>
                    <a:pt x="17673" y="20250"/>
                  </a:moveTo>
                  <a:lnTo>
                    <a:pt x="982" y="20250"/>
                  </a:lnTo>
                  <a:lnTo>
                    <a:pt x="982" y="18900"/>
                  </a:lnTo>
                  <a:lnTo>
                    <a:pt x="17673" y="18900"/>
                  </a:lnTo>
                  <a:cubicBezTo>
                    <a:pt x="17673" y="18900"/>
                    <a:pt x="17673" y="20250"/>
                    <a:pt x="17673" y="20250"/>
                  </a:cubicBezTo>
                  <a:close/>
                  <a:moveTo>
                    <a:pt x="982" y="1350"/>
                  </a:moveTo>
                  <a:lnTo>
                    <a:pt x="17673" y="1350"/>
                  </a:lnTo>
                  <a:lnTo>
                    <a:pt x="17673" y="2700"/>
                  </a:lnTo>
                  <a:lnTo>
                    <a:pt x="982" y="2700"/>
                  </a:lnTo>
                  <a:cubicBezTo>
                    <a:pt x="982" y="2700"/>
                    <a:pt x="982" y="1350"/>
                    <a:pt x="982" y="1350"/>
                  </a:cubicBezTo>
                  <a:close/>
                  <a:moveTo>
                    <a:pt x="18655" y="1350"/>
                  </a:moveTo>
                  <a:lnTo>
                    <a:pt x="20618" y="1350"/>
                  </a:lnTo>
                  <a:lnTo>
                    <a:pt x="20618" y="2700"/>
                  </a:lnTo>
                  <a:lnTo>
                    <a:pt x="18655" y="2700"/>
                  </a:lnTo>
                  <a:cubicBezTo>
                    <a:pt x="18655" y="2700"/>
                    <a:pt x="18655" y="1350"/>
                    <a:pt x="18655" y="1350"/>
                  </a:cubicBezTo>
                  <a:close/>
                  <a:moveTo>
                    <a:pt x="21109" y="8100"/>
                  </a:moveTo>
                  <a:cubicBezTo>
                    <a:pt x="21380" y="8100"/>
                    <a:pt x="21600" y="7798"/>
                    <a:pt x="21600" y="7425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lnTo>
                    <a:pt x="982" y="0"/>
                  </a:lnTo>
                  <a:cubicBezTo>
                    <a:pt x="439" y="0"/>
                    <a:pt x="0" y="605"/>
                    <a:pt x="0" y="1350"/>
                  </a:cubicBezTo>
                  <a:lnTo>
                    <a:pt x="0" y="7425"/>
                  </a:lnTo>
                  <a:cubicBezTo>
                    <a:pt x="0" y="7798"/>
                    <a:pt x="220" y="8100"/>
                    <a:pt x="491" y="8100"/>
                  </a:cubicBezTo>
                  <a:cubicBezTo>
                    <a:pt x="1304" y="8100"/>
                    <a:pt x="1964" y="9309"/>
                    <a:pt x="1964" y="10800"/>
                  </a:cubicBezTo>
                  <a:cubicBezTo>
                    <a:pt x="1964" y="12291"/>
                    <a:pt x="1304" y="13500"/>
                    <a:pt x="491" y="13500"/>
                  </a:cubicBezTo>
                  <a:cubicBezTo>
                    <a:pt x="220" y="13500"/>
                    <a:pt x="0" y="13802"/>
                    <a:pt x="0" y="14175"/>
                  </a:cubicBezTo>
                  <a:lnTo>
                    <a:pt x="0" y="20250"/>
                  </a:lnTo>
                  <a:cubicBezTo>
                    <a:pt x="0" y="20995"/>
                    <a:pt x="439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0995"/>
                    <a:pt x="21600" y="20250"/>
                  </a:cubicBezTo>
                  <a:lnTo>
                    <a:pt x="21600" y="14175"/>
                  </a:lnTo>
                  <a:cubicBezTo>
                    <a:pt x="21600" y="13802"/>
                    <a:pt x="21380" y="13500"/>
                    <a:pt x="21109" y="13500"/>
                  </a:cubicBezTo>
                  <a:cubicBezTo>
                    <a:pt x="20296" y="13500"/>
                    <a:pt x="19636" y="12291"/>
                    <a:pt x="19636" y="10800"/>
                  </a:cubicBezTo>
                  <a:cubicBezTo>
                    <a:pt x="19636" y="9309"/>
                    <a:pt x="20296" y="8100"/>
                    <a:pt x="21109" y="8100"/>
                  </a:cubicBezTo>
                  <a:moveTo>
                    <a:pt x="16200" y="8100"/>
                  </a:moveTo>
                  <a:lnTo>
                    <a:pt x="13255" y="8100"/>
                  </a:lnTo>
                  <a:cubicBezTo>
                    <a:pt x="12983" y="8100"/>
                    <a:pt x="12764" y="8402"/>
                    <a:pt x="12764" y="8775"/>
                  </a:cubicBezTo>
                  <a:cubicBezTo>
                    <a:pt x="12764" y="9148"/>
                    <a:pt x="12983" y="9450"/>
                    <a:pt x="13255" y="9450"/>
                  </a:cubicBezTo>
                  <a:lnTo>
                    <a:pt x="16200" y="9450"/>
                  </a:lnTo>
                  <a:cubicBezTo>
                    <a:pt x="16471" y="9450"/>
                    <a:pt x="16691" y="9148"/>
                    <a:pt x="16691" y="8775"/>
                  </a:cubicBezTo>
                  <a:cubicBezTo>
                    <a:pt x="16691" y="8402"/>
                    <a:pt x="16471" y="8100"/>
                    <a:pt x="16200" y="81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735">
              <a:extLst>
                <a:ext uri="{FF2B5EF4-FFF2-40B4-BE49-F238E27FC236}">
                  <a16:creationId xmlns:a16="http://schemas.microsoft.com/office/drawing/2014/main" id="{D89D0D18-68DE-4404-80CB-2E8AFC3BDE99}"/>
                </a:ext>
              </a:extLst>
            </p:cNvPr>
            <p:cNvSpPr/>
            <p:nvPr/>
          </p:nvSpPr>
          <p:spPr bwMode="gray">
            <a:xfrm>
              <a:off x="4479533" y="50710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12000"/>
                  </a:moveTo>
                  <a:lnTo>
                    <a:pt x="13255" y="12000"/>
                  </a:lnTo>
                  <a:cubicBezTo>
                    <a:pt x="13526" y="12000"/>
                    <a:pt x="13745" y="11732"/>
                    <a:pt x="13745" y="11400"/>
                  </a:cubicBezTo>
                  <a:cubicBezTo>
                    <a:pt x="13745" y="11068"/>
                    <a:pt x="13526" y="10800"/>
                    <a:pt x="13255" y="10800"/>
                  </a:cubicBezTo>
                  <a:lnTo>
                    <a:pt x="11291" y="10800"/>
                  </a:lnTo>
                  <a:cubicBezTo>
                    <a:pt x="11020" y="10800"/>
                    <a:pt x="10800" y="11068"/>
                    <a:pt x="10800" y="11400"/>
                  </a:cubicBezTo>
                  <a:cubicBezTo>
                    <a:pt x="10800" y="11732"/>
                    <a:pt x="11020" y="12000"/>
                    <a:pt x="11291" y="12000"/>
                  </a:cubicBezTo>
                  <a:moveTo>
                    <a:pt x="11291" y="13800"/>
                  </a:moveTo>
                  <a:lnTo>
                    <a:pt x="12273" y="13800"/>
                  </a:lnTo>
                  <a:cubicBezTo>
                    <a:pt x="12544" y="13800"/>
                    <a:pt x="12764" y="13532"/>
                    <a:pt x="12764" y="13200"/>
                  </a:cubicBezTo>
                  <a:cubicBezTo>
                    <a:pt x="12764" y="12868"/>
                    <a:pt x="12544" y="12600"/>
                    <a:pt x="12273" y="12600"/>
                  </a:cubicBezTo>
                  <a:lnTo>
                    <a:pt x="11291" y="12600"/>
                  </a:lnTo>
                  <a:cubicBezTo>
                    <a:pt x="11020" y="12600"/>
                    <a:pt x="10800" y="12868"/>
                    <a:pt x="10800" y="13200"/>
                  </a:cubicBezTo>
                  <a:cubicBezTo>
                    <a:pt x="10800" y="13532"/>
                    <a:pt x="11020" y="13800"/>
                    <a:pt x="11291" y="13800"/>
                  </a:cubicBezTo>
                  <a:moveTo>
                    <a:pt x="11291" y="15600"/>
                  </a:moveTo>
                  <a:lnTo>
                    <a:pt x="13255" y="15600"/>
                  </a:lnTo>
                  <a:cubicBezTo>
                    <a:pt x="13526" y="15600"/>
                    <a:pt x="13745" y="15332"/>
                    <a:pt x="13745" y="15000"/>
                  </a:cubicBezTo>
                  <a:cubicBezTo>
                    <a:pt x="13745" y="14668"/>
                    <a:pt x="13526" y="14400"/>
                    <a:pt x="13255" y="14400"/>
                  </a:cubicBezTo>
                  <a:lnTo>
                    <a:pt x="11291" y="14400"/>
                  </a:lnTo>
                  <a:cubicBezTo>
                    <a:pt x="11020" y="14400"/>
                    <a:pt x="10800" y="14668"/>
                    <a:pt x="10800" y="15000"/>
                  </a:cubicBezTo>
                  <a:cubicBezTo>
                    <a:pt x="10800" y="15332"/>
                    <a:pt x="11020" y="15600"/>
                    <a:pt x="11291" y="15600"/>
                  </a:cubicBezTo>
                  <a:moveTo>
                    <a:pt x="20618" y="0"/>
                  </a:moveTo>
                  <a:lnTo>
                    <a:pt x="3927" y="0"/>
                  </a:lnTo>
                  <a:cubicBezTo>
                    <a:pt x="3385" y="0"/>
                    <a:pt x="2945" y="538"/>
                    <a:pt x="2945" y="1200"/>
                  </a:cubicBezTo>
                  <a:lnTo>
                    <a:pt x="2945" y="3000"/>
                  </a:lnTo>
                  <a:cubicBezTo>
                    <a:pt x="2945" y="3332"/>
                    <a:pt x="3165" y="3600"/>
                    <a:pt x="3436" y="3600"/>
                  </a:cubicBezTo>
                  <a:cubicBezTo>
                    <a:pt x="3708" y="3600"/>
                    <a:pt x="3927" y="3332"/>
                    <a:pt x="3927" y="3000"/>
                  </a:cubicBezTo>
                  <a:lnTo>
                    <a:pt x="3927" y="1200"/>
                  </a:lnTo>
                  <a:lnTo>
                    <a:pt x="20618" y="1200"/>
                  </a:lnTo>
                  <a:lnTo>
                    <a:pt x="20618" y="15600"/>
                  </a:lnTo>
                  <a:lnTo>
                    <a:pt x="20127" y="15600"/>
                  </a:lnTo>
                  <a:cubicBezTo>
                    <a:pt x="19856" y="15600"/>
                    <a:pt x="19636" y="15868"/>
                    <a:pt x="19636" y="16200"/>
                  </a:cubicBezTo>
                  <a:cubicBezTo>
                    <a:pt x="19636" y="16532"/>
                    <a:pt x="19856" y="16800"/>
                    <a:pt x="20127" y="16800"/>
                  </a:cubicBezTo>
                  <a:lnTo>
                    <a:pt x="20618" y="16800"/>
                  </a:lnTo>
                  <a:cubicBezTo>
                    <a:pt x="21160" y="16800"/>
                    <a:pt x="21600" y="16263"/>
                    <a:pt x="21600" y="15600"/>
                  </a:cubicBezTo>
                  <a:lnTo>
                    <a:pt x="21600" y="1200"/>
                  </a:lnTo>
                  <a:cubicBezTo>
                    <a:pt x="21600" y="538"/>
                    <a:pt x="21160" y="0"/>
                    <a:pt x="20618" y="0"/>
                  </a:cubicBezTo>
                  <a:moveTo>
                    <a:pt x="5091" y="13116"/>
                  </a:moveTo>
                  <a:lnTo>
                    <a:pt x="6156" y="13983"/>
                  </a:lnTo>
                  <a:lnTo>
                    <a:pt x="5747" y="15581"/>
                  </a:lnTo>
                  <a:cubicBezTo>
                    <a:pt x="5738" y="15620"/>
                    <a:pt x="5727" y="15657"/>
                    <a:pt x="5727" y="15700"/>
                  </a:cubicBezTo>
                  <a:cubicBezTo>
                    <a:pt x="5727" y="15976"/>
                    <a:pt x="5911" y="16200"/>
                    <a:pt x="6136" y="16200"/>
                  </a:cubicBezTo>
                  <a:cubicBezTo>
                    <a:pt x="6221" y="16200"/>
                    <a:pt x="6296" y="16164"/>
                    <a:pt x="6360" y="16110"/>
                  </a:cubicBezTo>
                  <a:lnTo>
                    <a:pt x="7364" y="15301"/>
                  </a:lnTo>
                  <a:lnTo>
                    <a:pt x="8364" y="16116"/>
                  </a:lnTo>
                  <a:cubicBezTo>
                    <a:pt x="8364" y="16116"/>
                    <a:pt x="8424" y="16200"/>
                    <a:pt x="8591" y="16200"/>
                  </a:cubicBezTo>
                  <a:cubicBezTo>
                    <a:pt x="8817" y="16200"/>
                    <a:pt x="9000" y="15976"/>
                    <a:pt x="9000" y="15700"/>
                  </a:cubicBezTo>
                  <a:cubicBezTo>
                    <a:pt x="9000" y="15657"/>
                    <a:pt x="8983" y="15622"/>
                    <a:pt x="8974" y="15583"/>
                  </a:cubicBezTo>
                  <a:lnTo>
                    <a:pt x="8572" y="13983"/>
                  </a:lnTo>
                  <a:lnTo>
                    <a:pt x="9636" y="13116"/>
                  </a:lnTo>
                  <a:cubicBezTo>
                    <a:pt x="9636" y="13116"/>
                    <a:pt x="9818" y="13030"/>
                    <a:pt x="9818" y="12700"/>
                  </a:cubicBezTo>
                  <a:cubicBezTo>
                    <a:pt x="9818" y="12424"/>
                    <a:pt x="9635" y="12200"/>
                    <a:pt x="9409" y="12200"/>
                  </a:cubicBezTo>
                  <a:lnTo>
                    <a:pt x="8435" y="12200"/>
                  </a:lnTo>
                  <a:lnTo>
                    <a:pt x="7730" y="10477"/>
                  </a:lnTo>
                  <a:lnTo>
                    <a:pt x="7726" y="10479"/>
                  </a:lnTo>
                  <a:cubicBezTo>
                    <a:pt x="7658" y="10315"/>
                    <a:pt x="7524" y="10200"/>
                    <a:pt x="7364" y="10200"/>
                  </a:cubicBezTo>
                  <a:cubicBezTo>
                    <a:pt x="7204" y="10200"/>
                    <a:pt x="7069" y="10315"/>
                    <a:pt x="7001" y="10479"/>
                  </a:cubicBezTo>
                  <a:lnTo>
                    <a:pt x="6998" y="10477"/>
                  </a:lnTo>
                  <a:lnTo>
                    <a:pt x="6293" y="12200"/>
                  </a:lnTo>
                  <a:lnTo>
                    <a:pt x="5319" y="12200"/>
                  </a:lnTo>
                  <a:cubicBezTo>
                    <a:pt x="5092" y="12200"/>
                    <a:pt x="4909" y="12424"/>
                    <a:pt x="4909" y="12700"/>
                  </a:cubicBezTo>
                  <a:cubicBezTo>
                    <a:pt x="4909" y="13030"/>
                    <a:pt x="5091" y="13116"/>
                    <a:pt x="5091" y="13116"/>
                  </a:cubicBezTo>
                  <a:moveTo>
                    <a:pt x="17673" y="7200"/>
                  </a:moveTo>
                  <a:lnTo>
                    <a:pt x="16691" y="7200"/>
                  </a:lnTo>
                  <a:lnTo>
                    <a:pt x="16691" y="6000"/>
                  </a:lnTo>
                  <a:lnTo>
                    <a:pt x="17673" y="6000"/>
                  </a:lnTo>
                  <a:cubicBezTo>
                    <a:pt x="17673" y="6000"/>
                    <a:pt x="17673" y="7200"/>
                    <a:pt x="17673" y="7200"/>
                  </a:cubicBezTo>
                  <a:close/>
                  <a:moveTo>
                    <a:pt x="17673" y="10947"/>
                  </a:moveTo>
                  <a:cubicBezTo>
                    <a:pt x="17102" y="11278"/>
                    <a:pt x="16691" y="12157"/>
                    <a:pt x="16691" y="13200"/>
                  </a:cubicBezTo>
                  <a:cubicBezTo>
                    <a:pt x="16691" y="14244"/>
                    <a:pt x="17102" y="15122"/>
                    <a:pt x="17673" y="15453"/>
                  </a:cubicBezTo>
                  <a:lnTo>
                    <a:pt x="17673" y="18000"/>
                  </a:lnTo>
                  <a:lnTo>
                    <a:pt x="982" y="18000"/>
                  </a:lnTo>
                  <a:lnTo>
                    <a:pt x="982" y="15453"/>
                  </a:lnTo>
                  <a:cubicBezTo>
                    <a:pt x="1552" y="15122"/>
                    <a:pt x="1964" y="14244"/>
                    <a:pt x="1964" y="13200"/>
                  </a:cubicBezTo>
                  <a:cubicBezTo>
                    <a:pt x="1964" y="12157"/>
                    <a:pt x="1552" y="11278"/>
                    <a:pt x="982" y="10947"/>
                  </a:cubicBezTo>
                  <a:lnTo>
                    <a:pt x="982" y="8400"/>
                  </a:lnTo>
                  <a:lnTo>
                    <a:pt x="17673" y="8400"/>
                  </a:lnTo>
                  <a:cubicBezTo>
                    <a:pt x="17673" y="8400"/>
                    <a:pt x="17673" y="10947"/>
                    <a:pt x="17673" y="10947"/>
                  </a:cubicBezTo>
                  <a:close/>
                  <a:moveTo>
                    <a:pt x="17673" y="20400"/>
                  </a:moveTo>
                  <a:lnTo>
                    <a:pt x="16691" y="20400"/>
                  </a:lnTo>
                  <a:lnTo>
                    <a:pt x="16691" y="19200"/>
                  </a:lnTo>
                  <a:lnTo>
                    <a:pt x="17673" y="19200"/>
                  </a:lnTo>
                  <a:cubicBezTo>
                    <a:pt x="17673" y="19200"/>
                    <a:pt x="17673" y="20400"/>
                    <a:pt x="17673" y="20400"/>
                  </a:cubicBezTo>
                  <a:close/>
                  <a:moveTo>
                    <a:pt x="15709" y="20400"/>
                  </a:moveTo>
                  <a:lnTo>
                    <a:pt x="982" y="20400"/>
                  </a:lnTo>
                  <a:lnTo>
                    <a:pt x="982" y="19200"/>
                  </a:lnTo>
                  <a:lnTo>
                    <a:pt x="15709" y="19200"/>
                  </a:lnTo>
                  <a:cubicBezTo>
                    <a:pt x="15709" y="19200"/>
                    <a:pt x="15709" y="20400"/>
                    <a:pt x="15709" y="20400"/>
                  </a:cubicBezTo>
                  <a:close/>
                  <a:moveTo>
                    <a:pt x="982" y="6000"/>
                  </a:moveTo>
                  <a:lnTo>
                    <a:pt x="15709" y="6000"/>
                  </a:lnTo>
                  <a:lnTo>
                    <a:pt x="15709" y="7200"/>
                  </a:lnTo>
                  <a:lnTo>
                    <a:pt x="982" y="7200"/>
                  </a:lnTo>
                  <a:cubicBezTo>
                    <a:pt x="982" y="7200"/>
                    <a:pt x="982" y="6000"/>
                    <a:pt x="982" y="6000"/>
                  </a:cubicBezTo>
                  <a:close/>
                  <a:moveTo>
                    <a:pt x="17673" y="4800"/>
                  </a:moveTo>
                  <a:lnTo>
                    <a:pt x="982" y="4800"/>
                  </a:lnTo>
                  <a:cubicBezTo>
                    <a:pt x="439" y="4800"/>
                    <a:pt x="0" y="5338"/>
                    <a:pt x="0" y="6000"/>
                  </a:cubicBezTo>
                  <a:lnTo>
                    <a:pt x="0" y="11400"/>
                  </a:lnTo>
                  <a:cubicBezTo>
                    <a:pt x="0" y="11732"/>
                    <a:pt x="220" y="12000"/>
                    <a:pt x="491" y="12000"/>
                  </a:cubicBezTo>
                  <a:cubicBezTo>
                    <a:pt x="762" y="12000"/>
                    <a:pt x="982" y="12538"/>
                    <a:pt x="982" y="13200"/>
                  </a:cubicBezTo>
                  <a:cubicBezTo>
                    <a:pt x="982" y="13862"/>
                    <a:pt x="762" y="14400"/>
                    <a:pt x="491" y="14400"/>
                  </a:cubicBezTo>
                  <a:cubicBezTo>
                    <a:pt x="220" y="14400"/>
                    <a:pt x="0" y="14668"/>
                    <a:pt x="0" y="15000"/>
                  </a:cubicBezTo>
                  <a:lnTo>
                    <a:pt x="0" y="20400"/>
                  </a:lnTo>
                  <a:cubicBezTo>
                    <a:pt x="0" y="21063"/>
                    <a:pt x="439" y="21600"/>
                    <a:pt x="982" y="21600"/>
                  </a:cubicBezTo>
                  <a:lnTo>
                    <a:pt x="17673" y="21600"/>
                  </a:lnTo>
                  <a:cubicBezTo>
                    <a:pt x="18214" y="21600"/>
                    <a:pt x="18655" y="21063"/>
                    <a:pt x="18655" y="20400"/>
                  </a:cubicBezTo>
                  <a:lnTo>
                    <a:pt x="18655" y="15000"/>
                  </a:lnTo>
                  <a:cubicBezTo>
                    <a:pt x="18655" y="14668"/>
                    <a:pt x="18435" y="14400"/>
                    <a:pt x="18164" y="14400"/>
                  </a:cubicBezTo>
                  <a:cubicBezTo>
                    <a:pt x="17892" y="14400"/>
                    <a:pt x="17673" y="13862"/>
                    <a:pt x="17673" y="13200"/>
                  </a:cubicBezTo>
                  <a:cubicBezTo>
                    <a:pt x="17673" y="12538"/>
                    <a:pt x="17892" y="12000"/>
                    <a:pt x="18164" y="12000"/>
                  </a:cubicBezTo>
                  <a:cubicBezTo>
                    <a:pt x="18435" y="12000"/>
                    <a:pt x="18655" y="11732"/>
                    <a:pt x="18655" y="11400"/>
                  </a:cubicBezTo>
                  <a:lnTo>
                    <a:pt x="18655" y="6000"/>
                  </a:lnTo>
                  <a:cubicBezTo>
                    <a:pt x="18655" y="5338"/>
                    <a:pt x="18214" y="4800"/>
                    <a:pt x="17673" y="4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736">
              <a:extLst>
                <a:ext uri="{FF2B5EF4-FFF2-40B4-BE49-F238E27FC236}">
                  <a16:creationId xmlns:a16="http://schemas.microsoft.com/office/drawing/2014/main" id="{698B28A4-EB78-470D-8B45-E11FA2E9D1F5}"/>
                </a:ext>
              </a:extLst>
            </p:cNvPr>
            <p:cNvSpPr/>
            <p:nvPr/>
          </p:nvSpPr>
          <p:spPr bwMode="gray">
            <a:xfrm>
              <a:off x="5031247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737">
              <a:extLst>
                <a:ext uri="{FF2B5EF4-FFF2-40B4-BE49-F238E27FC236}">
                  <a16:creationId xmlns:a16="http://schemas.microsoft.com/office/drawing/2014/main" id="{179382F9-F20D-4066-9340-79738B80EA3E}"/>
                </a:ext>
              </a:extLst>
            </p:cNvPr>
            <p:cNvSpPr/>
            <p:nvPr/>
          </p:nvSpPr>
          <p:spPr bwMode="gray">
            <a:xfrm>
              <a:off x="5582960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738">
              <a:extLst>
                <a:ext uri="{FF2B5EF4-FFF2-40B4-BE49-F238E27FC236}">
                  <a16:creationId xmlns:a16="http://schemas.microsoft.com/office/drawing/2014/main" id="{063CAE6B-95B2-4992-818F-F777053CFACB}"/>
                </a:ext>
              </a:extLst>
            </p:cNvPr>
            <p:cNvSpPr/>
            <p:nvPr/>
          </p:nvSpPr>
          <p:spPr bwMode="gray">
            <a:xfrm>
              <a:off x="617538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739">
              <a:extLst>
                <a:ext uri="{FF2B5EF4-FFF2-40B4-BE49-F238E27FC236}">
                  <a16:creationId xmlns:a16="http://schemas.microsoft.com/office/drawing/2014/main" id="{0A2E2D51-FF17-4059-A5E9-0573024BFA26}"/>
                </a:ext>
              </a:extLst>
            </p:cNvPr>
            <p:cNvSpPr/>
            <p:nvPr/>
          </p:nvSpPr>
          <p:spPr bwMode="gray">
            <a:xfrm>
              <a:off x="116925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740">
              <a:extLst>
                <a:ext uri="{FF2B5EF4-FFF2-40B4-BE49-F238E27FC236}">
                  <a16:creationId xmlns:a16="http://schemas.microsoft.com/office/drawing/2014/main" id="{56EEECAA-7732-4191-A105-EBF2DBD262DC}"/>
                </a:ext>
              </a:extLst>
            </p:cNvPr>
            <p:cNvSpPr/>
            <p:nvPr/>
          </p:nvSpPr>
          <p:spPr bwMode="gray">
            <a:xfrm>
              <a:off x="1720965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741">
              <a:extLst>
                <a:ext uri="{FF2B5EF4-FFF2-40B4-BE49-F238E27FC236}">
                  <a16:creationId xmlns:a16="http://schemas.microsoft.com/office/drawing/2014/main" id="{8F2560D4-E242-418E-9CFF-06D7D235B6B9}"/>
                </a:ext>
              </a:extLst>
            </p:cNvPr>
            <p:cNvSpPr/>
            <p:nvPr/>
          </p:nvSpPr>
          <p:spPr bwMode="gray">
            <a:xfrm>
              <a:off x="2272679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9327" y="9327"/>
                  </a:moveTo>
                  <a:lnTo>
                    <a:pt x="2945" y="9327"/>
                  </a:lnTo>
                  <a:lnTo>
                    <a:pt x="2945" y="2945"/>
                  </a:lnTo>
                  <a:lnTo>
                    <a:pt x="9327" y="2945"/>
                  </a:lnTo>
                  <a:cubicBezTo>
                    <a:pt x="9327" y="2945"/>
                    <a:pt x="9327" y="9327"/>
                    <a:pt x="9327" y="9327"/>
                  </a:cubicBezTo>
                  <a:close/>
                  <a:moveTo>
                    <a:pt x="10309" y="1964"/>
                  </a:moveTo>
                  <a:lnTo>
                    <a:pt x="1964" y="1964"/>
                  </a:lnTo>
                  <a:lnTo>
                    <a:pt x="1964" y="10309"/>
                  </a:lnTo>
                  <a:lnTo>
                    <a:pt x="10309" y="10309"/>
                  </a:lnTo>
                  <a:cubicBezTo>
                    <a:pt x="10309" y="10309"/>
                    <a:pt x="10309" y="1964"/>
                    <a:pt x="10309" y="196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742">
              <a:extLst>
                <a:ext uri="{FF2B5EF4-FFF2-40B4-BE49-F238E27FC236}">
                  <a16:creationId xmlns:a16="http://schemas.microsoft.com/office/drawing/2014/main" id="{BC91DBAD-D7B0-4EE5-8F27-9DF3819851B8}"/>
                </a:ext>
              </a:extLst>
            </p:cNvPr>
            <p:cNvSpPr/>
            <p:nvPr/>
          </p:nvSpPr>
          <p:spPr bwMode="gray">
            <a:xfrm>
              <a:off x="282439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743">
              <a:extLst>
                <a:ext uri="{FF2B5EF4-FFF2-40B4-BE49-F238E27FC236}">
                  <a16:creationId xmlns:a16="http://schemas.microsoft.com/office/drawing/2014/main" id="{C3E1BE71-6D85-4FF2-9114-112B4F03E4A6}"/>
                </a:ext>
              </a:extLst>
            </p:cNvPr>
            <p:cNvSpPr/>
            <p:nvPr/>
          </p:nvSpPr>
          <p:spPr bwMode="gray">
            <a:xfrm>
              <a:off x="3376106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744">
              <a:extLst>
                <a:ext uri="{FF2B5EF4-FFF2-40B4-BE49-F238E27FC236}">
                  <a16:creationId xmlns:a16="http://schemas.microsoft.com/office/drawing/2014/main" id="{80CADE8A-799F-4210-9541-A5F5738C58B9}"/>
                </a:ext>
              </a:extLst>
            </p:cNvPr>
            <p:cNvSpPr/>
            <p:nvPr/>
          </p:nvSpPr>
          <p:spPr bwMode="gray">
            <a:xfrm>
              <a:off x="392782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327" y="9327"/>
                  </a:moveTo>
                  <a:lnTo>
                    <a:pt x="12273" y="9327"/>
                  </a:lnTo>
                  <a:lnTo>
                    <a:pt x="12273" y="12273"/>
                  </a:lnTo>
                  <a:lnTo>
                    <a:pt x="9327" y="12273"/>
                  </a:lnTo>
                  <a:cubicBezTo>
                    <a:pt x="9327" y="12273"/>
                    <a:pt x="9327" y="9327"/>
                    <a:pt x="9327" y="9327"/>
                  </a:cubicBezTo>
                  <a:close/>
                  <a:moveTo>
                    <a:pt x="8345" y="13255"/>
                  </a:moveTo>
                  <a:lnTo>
                    <a:pt x="13255" y="13255"/>
                  </a:lnTo>
                  <a:lnTo>
                    <a:pt x="13255" y="8345"/>
                  </a:lnTo>
                  <a:lnTo>
                    <a:pt x="8345" y="8345"/>
                  </a:lnTo>
                  <a:cubicBezTo>
                    <a:pt x="8345" y="8345"/>
                    <a:pt x="8345" y="13255"/>
                    <a:pt x="8345" y="13255"/>
                  </a:cubicBezTo>
                  <a:close/>
                  <a:moveTo>
                    <a:pt x="9327" y="15709"/>
                  </a:moveTo>
                  <a:lnTo>
                    <a:pt x="12273" y="15709"/>
                  </a:lnTo>
                  <a:lnTo>
                    <a:pt x="12273" y="18655"/>
                  </a:lnTo>
                  <a:lnTo>
                    <a:pt x="9327" y="18655"/>
                  </a:lnTo>
                  <a:cubicBezTo>
                    <a:pt x="9327" y="18655"/>
                    <a:pt x="9327" y="15709"/>
                    <a:pt x="9327" y="15709"/>
                  </a:cubicBezTo>
                  <a:close/>
                  <a:moveTo>
                    <a:pt x="8345" y="19636"/>
                  </a:moveTo>
                  <a:lnTo>
                    <a:pt x="13255" y="19636"/>
                  </a:lnTo>
                  <a:lnTo>
                    <a:pt x="13255" y="14727"/>
                  </a:lnTo>
                  <a:lnTo>
                    <a:pt x="8345" y="14727"/>
                  </a:lnTo>
                  <a:cubicBezTo>
                    <a:pt x="8345" y="14727"/>
                    <a:pt x="8345" y="19636"/>
                    <a:pt x="8345" y="19636"/>
                  </a:cubicBezTo>
                  <a:close/>
                  <a:moveTo>
                    <a:pt x="15709" y="2945"/>
                  </a:moveTo>
                  <a:lnTo>
                    <a:pt x="18655" y="2945"/>
                  </a:lnTo>
                  <a:lnTo>
                    <a:pt x="18655" y="5891"/>
                  </a:lnTo>
                  <a:lnTo>
                    <a:pt x="15709" y="5891"/>
                  </a:lnTo>
                  <a:cubicBezTo>
                    <a:pt x="15709" y="5891"/>
                    <a:pt x="15709" y="2945"/>
                    <a:pt x="15709" y="2945"/>
                  </a:cubicBezTo>
                  <a:close/>
                  <a:moveTo>
                    <a:pt x="14727" y="6873"/>
                  </a:moveTo>
                  <a:lnTo>
                    <a:pt x="19636" y="6873"/>
                  </a:lnTo>
                  <a:lnTo>
                    <a:pt x="19636" y="1964"/>
                  </a:lnTo>
                  <a:lnTo>
                    <a:pt x="14727" y="1964"/>
                  </a:lnTo>
                  <a:cubicBezTo>
                    <a:pt x="14727" y="1964"/>
                    <a:pt x="14727" y="6873"/>
                    <a:pt x="14727" y="6873"/>
                  </a:cubicBezTo>
                  <a:close/>
                  <a:moveTo>
                    <a:pt x="15709" y="9327"/>
                  </a:moveTo>
                  <a:lnTo>
                    <a:pt x="18655" y="9327"/>
                  </a:lnTo>
                  <a:lnTo>
                    <a:pt x="18655" y="12273"/>
                  </a:lnTo>
                  <a:lnTo>
                    <a:pt x="15709" y="12273"/>
                  </a:lnTo>
                  <a:cubicBezTo>
                    <a:pt x="15709" y="12273"/>
                    <a:pt x="15709" y="9327"/>
                    <a:pt x="15709" y="9327"/>
                  </a:cubicBezTo>
                  <a:close/>
                  <a:moveTo>
                    <a:pt x="14727" y="13255"/>
                  </a:moveTo>
                  <a:lnTo>
                    <a:pt x="19636" y="13255"/>
                  </a:lnTo>
                  <a:lnTo>
                    <a:pt x="19636" y="8345"/>
                  </a:lnTo>
                  <a:lnTo>
                    <a:pt x="14727" y="8345"/>
                  </a:lnTo>
                  <a:cubicBezTo>
                    <a:pt x="14727" y="8345"/>
                    <a:pt x="14727" y="13255"/>
                    <a:pt x="14727" y="13255"/>
                  </a:cubicBezTo>
                  <a:close/>
                  <a:moveTo>
                    <a:pt x="9327" y="2945"/>
                  </a:moveTo>
                  <a:lnTo>
                    <a:pt x="12273" y="2945"/>
                  </a:lnTo>
                  <a:lnTo>
                    <a:pt x="12273" y="5891"/>
                  </a:lnTo>
                  <a:lnTo>
                    <a:pt x="9327" y="5891"/>
                  </a:lnTo>
                  <a:cubicBezTo>
                    <a:pt x="9327" y="5891"/>
                    <a:pt x="9327" y="2945"/>
                    <a:pt x="9327" y="2945"/>
                  </a:cubicBezTo>
                  <a:close/>
                  <a:moveTo>
                    <a:pt x="8345" y="6873"/>
                  </a:moveTo>
                  <a:lnTo>
                    <a:pt x="13255" y="6873"/>
                  </a:lnTo>
                  <a:lnTo>
                    <a:pt x="13255" y="1964"/>
                  </a:lnTo>
                  <a:lnTo>
                    <a:pt x="8345" y="1964"/>
                  </a:lnTo>
                  <a:cubicBezTo>
                    <a:pt x="8345" y="1964"/>
                    <a:pt x="8345" y="6873"/>
                    <a:pt x="8345" y="6873"/>
                  </a:cubicBezTo>
                  <a:close/>
                  <a:moveTo>
                    <a:pt x="2945" y="9327"/>
                  </a:moveTo>
                  <a:lnTo>
                    <a:pt x="5891" y="9327"/>
                  </a:lnTo>
                  <a:lnTo>
                    <a:pt x="5891" y="12273"/>
                  </a:lnTo>
                  <a:lnTo>
                    <a:pt x="2945" y="12273"/>
                  </a:lnTo>
                  <a:cubicBezTo>
                    <a:pt x="2945" y="12273"/>
                    <a:pt x="2945" y="9327"/>
                    <a:pt x="2945" y="9327"/>
                  </a:cubicBezTo>
                  <a:close/>
                  <a:moveTo>
                    <a:pt x="1964" y="13255"/>
                  </a:moveTo>
                  <a:lnTo>
                    <a:pt x="6873" y="13255"/>
                  </a:lnTo>
                  <a:lnTo>
                    <a:pt x="6873" y="8345"/>
                  </a:lnTo>
                  <a:lnTo>
                    <a:pt x="1964" y="8345"/>
                  </a:lnTo>
                  <a:cubicBezTo>
                    <a:pt x="1964" y="8345"/>
                    <a:pt x="1964" y="13255"/>
                    <a:pt x="1964" y="13255"/>
                  </a:cubicBezTo>
                  <a:close/>
                  <a:moveTo>
                    <a:pt x="2945" y="2945"/>
                  </a:moveTo>
                  <a:lnTo>
                    <a:pt x="5891" y="2945"/>
                  </a:lnTo>
                  <a:lnTo>
                    <a:pt x="5891" y="5891"/>
                  </a:lnTo>
                  <a:lnTo>
                    <a:pt x="2945" y="5891"/>
                  </a:lnTo>
                  <a:cubicBezTo>
                    <a:pt x="2945" y="5891"/>
                    <a:pt x="2945" y="2945"/>
                    <a:pt x="2945" y="2945"/>
                  </a:cubicBezTo>
                  <a:close/>
                  <a:moveTo>
                    <a:pt x="1964" y="6873"/>
                  </a:moveTo>
                  <a:lnTo>
                    <a:pt x="6873" y="6873"/>
                  </a:lnTo>
                  <a:lnTo>
                    <a:pt x="6873" y="1964"/>
                  </a:lnTo>
                  <a:lnTo>
                    <a:pt x="1964" y="1964"/>
                  </a:lnTo>
                  <a:cubicBezTo>
                    <a:pt x="1964" y="1964"/>
                    <a:pt x="1964" y="6873"/>
                    <a:pt x="1964" y="6873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15709"/>
                  </a:moveTo>
                  <a:lnTo>
                    <a:pt x="5891" y="15709"/>
                  </a:lnTo>
                  <a:lnTo>
                    <a:pt x="5891" y="18655"/>
                  </a:lnTo>
                  <a:lnTo>
                    <a:pt x="2945" y="18655"/>
                  </a:lnTo>
                  <a:cubicBezTo>
                    <a:pt x="2945" y="18655"/>
                    <a:pt x="2945" y="15709"/>
                    <a:pt x="2945" y="15709"/>
                  </a:cubicBezTo>
                  <a:close/>
                  <a:moveTo>
                    <a:pt x="1964" y="19636"/>
                  </a:moveTo>
                  <a:lnTo>
                    <a:pt x="6873" y="19636"/>
                  </a:lnTo>
                  <a:lnTo>
                    <a:pt x="6873" y="14727"/>
                  </a:lnTo>
                  <a:lnTo>
                    <a:pt x="1964" y="14727"/>
                  </a:lnTo>
                  <a:cubicBezTo>
                    <a:pt x="1964" y="14727"/>
                    <a:pt x="1964" y="19636"/>
                    <a:pt x="1964" y="19636"/>
                  </a:cubicBezTo>
                  <a:close/>
                  <a:moveTo>
                    <a:pt x="15709" y="15709"/>
                  </a:moveTo>
                  <a:lnTo>
                    <a:pt x="18655" y="15709"/>
                  </a:lnTo>
                  <a:lnTo>
                    <a:pt x="18655" y="18655"/>
                  </a:lnTo>
                  <a:lnTo>
                    <a:pt x="15709" y="18655"/>
                  </a:lnTo>
                  <a:cubicBezTo>
                    <a:pt x="15709" y="18655"/>
                    <a:pt x="15709" y="15709"/>
                    <a:pt x="15709" y="15709"/>
                  </a:cubicBezTo>
                  <a:close/>
                  <a:moveTo>
                    <a:pt x="14727" y="19636"/>
                  </a:moveTo>
                  <a:lnTo>
                    <a:pt x="19636" y="19636"/>
                  </a:lnTo>
                  <a:lnTo>
                    <a:pt x="19636" y="14727"/>
                  </a:lnTo>
                  <a:lnTo>
                    <a:pt x="14727" y="14727"/>
                  </a:lnTo>
                  <a:cubicBezTo>
                    <a:pt x="14727" y="14727"/>
                    <a:pt x="14727" y="19636"/>
                    <a:pt x="14727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745">
              <a:extLst>
                <a:ext uri="{FF2B5EF4-FFF2-40B4-BE49-F238E27FC236}">
                  <a16:creationId xmlns:a16="http://schemas.microsoft.com/office/drawing/2014/main" id="{79D4B660-55D7-40DD-88D2-4F55395ECCC8}"/>
                </a:ext>
              </a:extLst>
            </p:cNvPr>
            <p:cNvSpPr/>
            <p:nvPr/>
          </p:nvSpPr>
          <p:spPr bwMode="gray">
            <a:xfrm>
              <a:off x="4479533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3745" y="20618"/>
                  </a:lnTo>
                  <a:cubicBezTo>
                    <a:pt x="13204" y="20618"/>
                    <a:pt x="12764" y="20178"/>
                    <a:pt x="12764" y="19636"/>
                  </a:cubicBezTo>
                  <a:lnTo>
                    <a:pt x="12764" y="13745"/>
                  </a:lnTo>
                  <a:cubicBezTo>
                    <a:pt x="12764" y="13204"/>
                    <a:pt x="13204" y="12764"/>
                    <a:pt x="13745" y="12764"/>
                  </a:cubicBezTo>
                  <a:lnTo>
                    <a:pt x="19636" y="12764"/>
                  </a:lnTo>
                  <a:cubicBezTo>
                    <a:pt x="20178" y="12764"/>
                    <a:pt x="20618" y="13204"/>
                    <a:pt x="20618" y="13745"/>
                  </a:cubicBez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11782"/>
                  </a:moveTo>
                  <a:lnTo>
                    <a:pt x="13745" y="11782"/>
                  </a:lnTo>
                  <a:cubicBezTo>
                    <a:pt x="12661" y="11782"/>
                    <a:pt x="11782" y="12661"/>
                    <a:pt x="11782" y="13745"/>
                  </a:cubicBezTo>
                  <a:lnTo>
                    <a:pt x="11782" y="19636"/>
                  </a:lnTo>
                  <a:cubicBezTo>
                    <a:pt x="11782" y="20721"/>
                    <a:pt x="12661" y="21600"/>
                    <a:pt x="13745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3745"/>
                  </a:lnTo>
                  <a:cubicBezTo>
                    <a:pt x="21600" y="12661"/>
                    <a:pt x="20721" y="11782"/>
                    <a:pt x="19636" y="11782"/>
                  </a:cubicBezTo>
                  <a:moveTo>
                    <a:pt x="20618" y="7855"/>
                  </a:moveTo>
                  <a:cubicBezTo>
                    <a:pt x="20618" y="8396"/>
                    <a:pt x="20178" y="8836"/>
                    <a:pt x="19636" y="8836"/>
                  </a:cubicBezTo>
                  <a:lnTo>
                    <a:pt x="13745" y="8836"/>
                  </a:lnTo>
                  <a:cubicBezTo>
                    <a:pt x="13204" y="8836"/>
                    <a:pt x="12764" y="8396"/>
                    <a:pt x="12764" y="7855"/>
                  </a:cubicBezTo>
                  <a:lnTo>
                    <a:pt x="12764" y="1964"/>
                  </a:lnTo>
                  <a:cubicBezTo>
                    <a:pt x="12764" y="1422"/>
                    <a:pt x="13204" y="982"/>
                    <a:pt x="13745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7855"/>
                    <a:pt x="20618" y="7855"/>
                  </a:cubicBezTo>
                  <a:close/>
                  <a:moveTo>
                    <a:pt x="19636" y="0"/>
                  </a:moveTo>
                  <a:lnTo>
                    <a:pt x="13745" y="0"/>
                  </a:lnTo>
                  <a:cubicBezTo>
                    <a:pt x="12661" y="0"/>
                    <a:pt x="11782" y="879"/>
                    <a:pt x="11782" y="1964"/>
                  </a:cubicBezTo>
                  <a:lnTo>
                    <a:pt x="11782" y="7855"/>
                  </a:lnTo>
                  <a:cubicBezTo>
                    <a:pt x="11782" y="8939"/>
                    <a:pt x="12661" y="9818"/>
                    <a:pt x="13745" y="9818"/>
                  </a:cubicBezTo>
                  <a:lnTo>
                    <a:pt x="19636" y="9818"/>
                  </a:lnTo>
                  <a:cubicBezTo>
                    <a:pt x="20721" y="9818"/>
                    <a:pt x="21600" y="8939"/>
                    <a:pt x="21600" y="7855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836" y="7855"/>
                  </a:moveTo>
                  <a:cubicBezTo>
                    <a:pt x="8836" y="8396"/>
                    <a:pt x="8396" y="8836"/>
                    <a:pt x="7855" y="8836"/>
                  </a:cubicBezTo>
                  <a:lnTo>
                    <a:pt x="1964" y="8836"/>
                  </a:lnTo>
                  <a:cubicBezTo>
                    <a:pt x="1421" y="8836"/>
                    <a:pt x="982" y="8396"/>
                    <a:pt x="982" y="7855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7855" y="982"/>
                  </a:lnTo>
                  <a:cubicBezTo>
                    <a:pt x="8396" y="982"/>
                    <a:pt x="8836" y="1422"/>
                    <a:pt x="8836" y="1964"/>
                  </a:cubicBezTo>
                  <a:cubicBezTo>
                    <a:pt x="8836" y="1964"/>
                    <a:pt x="8836" y="7855"/>
                    <a:pt x="8836" y="7855"/>
                  </a:cubicBezTo>
                  <a:close/>
                  <a:moveTo>
                    <a:pt x="7855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7855"/>
                  </a:lnTo>
                  <a:cubicBezTo>
                    <a:pt x="0" y="8939"/>
                    <a:pt x="879" y="9818"/>
                    <a:pt x="1964" y="9818"/>
                  </a:cubicBezTo>
                  <a:lnTo>
                    <a:pt x="7855" y="9818"/>
                  </a:lnTo>
                  <a:cubicBezTo>
                    <a:pt x="8939" y="9818"/>
                    <a:pt x="9818" y="8939"/>
                    <a:pt x="9818" y="7855"/>
                  </a:cubicBezTo>
                  <a:lnTo>
                    <a:pt x="9818" y="1964"/>
                  </a:lnTo>
                  <a:cubicBezTo>
                    <a:pt x="9818" y="879"/>
                    <a:pt x="8939" y="0"/>
                    <a:pt x="7855" y="0"/>
                  </a:cubicBezTo>
                  <a:moveTo>
                    <a:pt x="8836" y="19636"/>
                  </a:moveTo>
                  <a:cubicBezTo>
                    <a:pt x="8836" y="20178"/>
                    <a:pt x="8396" y="20618"/>
                    <a:pt x="7855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3745"/>
                  </a:lnTo>
                  <a:cubicBezTo>
                    <a:pt x="982" y="13204"/>
                    <a:pt x="1421" y="12764"/>
                    <a:pt x="1964" y="12764"/>
                  </a:cubicBezTo>
                  <a:lnTo>
                    <a:pt x="7855" y="12764"/>
                  </a:lnTo>
                  <a:cubicBezTo>
                    <a:pt x="8396" y="12764"/>
                    <a:pt x="8836" y="13204"/>
                    <a:pt x="8836" y="13745"/>
                  </a:cubicBezTo>
                  <a:cubicBezTo>
                    <a:pt x="8836" y="13745"/>
                    <a:pt x="8836" y="19636"/>
                    <a:pt x="8836" y="19636"/>
                  </a:cubicBezTo>
                  <a:close/>
                  <a:moveTo>
                    <a:pt x="7855" y="11782"/>
                  </a:moveTo>
                  <a:lnTo>
                    <a:pt x="1964" y="11782"/>
                  </a:lnTo>
                  <a:cubicBezTo>
                    <a:pt x="879" y="11782"/>
                    <a:pt x="0" y="12661"/>
                    <a:pt x="0" y="1374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7855" y="21600"/>
                  </a:lnTo>
                  <a:cubicBezTo>
                    <a:pt x="8939" y="21600"/>
                    <a:pt x="9818" y="20721"/>
                    <a:pt x="9818" y="19636"/>
                  </a:cubicBezTo>
                  <a:lnTo>
                    <a:pt x="9818" y="13745"/>
                  </a:lnTo>
                  <a:cubicBezTo>
                    <a:pt x="9818" y="12661"/>
                    <a:pt x="8939" y="11782"/>
                    <a:pt x="7855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746">
              <a:extLst>
                <a:ext uri="{FF2B5EF4-FFF2-40B4-BE49-F238E27FC236}">
                  <a16:creationId xmlns:a16="http://schemas.microsoft.com/office/drawing/2014/main" id="{02F14B1C-EF9E-4275-836D-0B61A132B208}"/>
                </a:ext>
              </a:extLst>
            </p:cNvPr>
            <p:cNvSpPr/>
            <p:nvPr/>
          </p:nvSpPr>
          <p:spPr bwMode="gray">
            <a:xfrm>
              <a:off x="5031247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2764"/>
                  </a:moveTo>
                  <a:lnTo>
                    <a:pt x="16691" y="12764"/>
                  </a:lnTo>
                  <a:lnTo>
                    <a:pt x="16691" y="8836"/>
                  </a:lnTo>
                  <a:lnTo>
                    <a:pt x="20618" y="8836"/>
                  </a:lnTo>
                  <a:cubicBezTo>
                    <a:pt x="20618" y="8836"/>
                    <a:pt x="20618" y="12764"/>
                    <a:pt x="20618" y="12764"/>
                  </a:cubicBezTo>
                  <a:close/>
                  <a:moveTo>
                    <a:pt x="20618" y="7855"/>
                  </a:moveTo>
                  <a:lnTo>
                    <a:pt x="16691" y="7855"/>
                  </a:lnTo>
                  <a:cubicBezTo>
                    <a:pt x="16149" y="7855"/>
                    <a:pt x="15709" y="8295"/>
                    <a:pt x="15709" y="8836"/>
                  </a:cubicBezTo>
                  <a:lnTo>
                    <a:pt x="15709" y="12764"/>
                  </a:lnTo>
                  <a:cubicBezTo>
                    <a:pt x="15709" y="13305"/>
                    <a:pt x="16149" y="13745"/>
                    <a:pt x="16691" y="13745"/>
                  </a:cubicBezTo>
                  <a:lnTo>
                    <a:pt x="20618" y="13745"/>
                  </a:lnTo>
                  <a:cubicBezTo>
                    <a:pt x="21160" y="13745"/>
                    <a:pt x="21600" y="13305"/>
                    <a:pt x="21600" y="12764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12764" y="20618"/>
                  </a:moveTo>
                  <a:lnTo>
                    <a:pt x="8836" y="20618"/>
                  </a:lnTo>
                  <a:lnTo>
                    <a:pt x="8836" y="16691"/>
                  </a:lnTo>
                  <a:lnTo>
                    <a:pt x="12764" y="16691"/>
                  </a:lnTo>
                  <a:cubicBezTo>
                    <a:pt x="12764" y="16691"/>
                    <a:pt x="12764" y="20618"/>
                    <a:pt x="12764" y="20618"/>
                  </a:cubicBezTo>
                  <a:close/>
                  <a:moveTo>
                    <a:pt x="12764" y="15709"/>
                  </a:moveTo>
                  <a:lnTo>
                    <a:pt x="8836" y="15709"/>
                  </a:lnTo>
                  <a:cubicBezTo>
                    <a:pt x="8295" y="15709"/>
                    <a:pt x="7855" y="16149"/>
                    <a:pt x="7855" y="16691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12764" y="21600"/>
                  </a:lnTo>
                  <a:cubicBezTo>
                    <a:pt x="13305" y="21600"/>
                    <a:pt x="13745" y="21160"/>
                    <a:pt x="13745" y="20618"/>
                  </a:cubicBezTo>
                  <a:lnTo>
                    <a:pt x="13745" y="16691"/>
                  </a:lnTo>
                  <a:cubicBezTo>
                    <a:pt x="13745" y="16149"/>
                    <a:pt x="13305" y="15709"/>
                    <a:pt x="12764" y="15709"/>
                  </a:cubicBezTo>
                  <a:moveTo>
                    <a:pt x="12764" y="12764"/>
                  </a:moveTo>
                  <a:lnTo>
                    <a:pt x="8836" y="12764"/>
                  </a:lnTo>
                  <a:lnTo>
                    <a:pt x="8836" y="8836"/>
                  </a:lnTo>
                  <a:lnTo>
                    <a:pt x="12764" y="8836"/>
                  </a:lnTo>
                  <a:cubicBezTo>
                    <a:pt x="12764" y="8836"/>
                    <a:pt x="12764" y="12764"/>
                    <a:pt x="12764" y="12764"/>
                  </a:cubicBezTo>
                  <a:close/>
                  <a:moveTo>
                    <a:pt x="12764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12764"/>
                  </a:lnTo>
                  <a:cubicBezTo>
                    <a:pt x="7855" y="13305"/>
                    <a:pt x="8295" y="13745"/>
                    <a:pt x="8836" y="13745"/>
                  </a:cubicBezTo>
                  <a:lnTo>
                    <a:pt x="12764" y="13745"/>
                  </a:lnTo>
                  <a:cubicBezTo>
                    <a:pt x="13305" y="13745"/>
                    <a:pt x="13745" y="13305"/>
                    <a:pt x="13745" y="12764"/>
                  </a:cubicBezTo>
                  <a:lnTo>
                    <a:pt x="13745" y="8836"/>
                  </a:lnTo>
                  <a:cubicBezTo>
                    <a:pt x="13745" y="8295"/>
                    <a:pt x="13305" y="7855"/>
                    <a:pt x="12764" y="7855"/>
                  </a:cubicBezTo>
                  <a:moveTo>
                    <a:pt x="4909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4909" y="982"/>
                  </a:lnTo>
                  <a:cubicBezTo>
                    <a:pt x="4909" y="982"/>
                    <a:pt x="4909" y="4909"/>
                    <a:pt x="4909" y="4909"/>
                  </a:cubicBezTo>
                  <a:close/>
                  <a:moveTo>
                    <a:pt x="4909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4909" y="5891"/>
                  </a:lnTo>
                  <a:cubicBezTo>
                    <a:pt x="5451" y="5891"/>
                    <a:pt x="5891" y="5451"/>
                    <a:pt x="5891" y="4909"/>
                  </a:cubicBezTo>
                  <a:lnTo>
                    <a:pt x="5891" y="982"/>
                  </a:lnTo>
                  <a:cubicBezTo>
                    <a:pt x="5891" y="440"/>
                    <a:pt x="5451" y="0"/>
                    <a:pt x="4909" y="0"/>
                  </a:cubicBezTo>
                  <a:moveTo>
                    <a:pt x="20618" y="20618"/>
                  </a:moveTo>
                  <a:lnTo>
                    <a:pt x="16691" y="20618"/>
                  </a:lnTo>
                  <a:lnTo>
                    <a:pt x="16691" y="16691"/>
                  </a:lnTo>
                  <a:lnTo>
                    <a:pt x="20618" y="16691"/>
                  </a:lnTo>
                  <a:cubicBezTo>
                    <a:pt x="20618" y="16691"/>
                    <a:pt x="20618" y="20618"/>
                    <a:pt x="20618" y="20618"/>
                  </a:cubicBezTo>
                  <a:close/>
                  <a:moveTo>
                    <a:pt x="20618" y="15709"/>
                  </a:moveTo>
                  <a:lnTo>
                    <a:pt x="16691" y="15709"/>
                  </a:lnTo>
                  <a:cubicBezTo>
                    <a:pt x="16149" y="15709"/>
                    <a:pt x="15709" y="16149"/>
                    <a:pt x="15709" y="16691"/>
                  </a:cubicBezTo>
                  <a:lnTo>
                    <a:pt x="15709" y="20618"/>
                  </a:lnTo>
                  <a:cubicBezTo>
                    <a:pt x="15709" y="21160"/>
                    <a:pt x="16149" y="21600"/>
                    <a:pt x="16691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6691"/>
                  </a:lnTo>
                  <a:cubicBezTo>
                    <a:pt x="21600" y="16149"/>
                    <a:pt x="21160" y="15709"/>
                    <a:pt x="20618" y="15709"/>
                  </a:cubicBezTo>
                  <a:moveTo>
                    <a:pt x="20618" y="4909"/>
                  </a:moveTo>
                  <a:lnTo>
                    <a:pt x="16691" y="4909"/>
                  </a:lnTo>
                  <a:lnTo>
                    <a:pt x="16691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16691" y="0"/>
                  </a:lnTo>
                  <a:cubicBezTo>
                    <a:pt x="16149" y="0"/>
                    <a:pt x="15709" y="440"/>
                    <a:pt x="15709" y="982"/>
                  </a:cubicBezTo>
                  <a:lnTo>
                    <a:pt x="15709" y="4909"/>
                  </a:lnTo>
                  <a:cubicBezTo>
                    <a:pt x="15709" y="5451"/>
                    <a:pt x="16149" y="5891"/>
                    <a:pt x="16691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16691"/>
                  </a:lnTo>
                  <a:lnTo>
                    <a:pt x="4909" y="16691"/>
                  </a:lnTo>
                  <a:cubicBezTo>
                    <a:pt x="4909" y="16691"/>
                    <a:pt x="4909" y="20618"/>
                    <a:pt x="4909" y="20618"/>
                  </a:cubicBezTo>
                  <a:close/>
                  <a:moveTo>
                    <a:pt x="4909" y="15709"/>
                  </a:moveTo>
                  <a:lnTo>
                    <a:pt x="982" y="15709"/>
                  </a:lnTo>
                  <a:cubicBezTo>
                    <a:pt x="440" y="15709"/>
                    <a:pt x="0" y="16149"/>
                    <a:pt x="0" y="16691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16691"/>
                  </a:lnTo>
                  <a:cubicBezTo>
                    <a:pt x="5891" y="16149"/>
                    <a:pt x="5451" y="15709"/>
                    <a:pt x="4909" y="15709"/>
                  </a:cubicBezTo>
                  <a:moveTo>
                    <a:pt x="12764" y="4909"/>
                  </a:moveTo>
                  <a:lnTo>
                    <a:pt x="8836" y="4909"/>
                  </a:lnTo>
                  <a:lnTo>
                    <a:pt x="8836" y="982"/>
                  </a:lnTo>
                  <a:lnTo>
                    <a:pt x="12764" y="982"/>
                  </a:lnTo>
                  <a:cubicBezTo>
                    <a:pt x="12764" y="982"/>
                    <a:pt x="12764" y="4909"/>
                    <a:pt x="12764" y="4909"/>
                  </a:cubicBezTo>
                  <a:close/>
                  <a:moveTo>
                    <a:pt x="12764" y="0"/>
                  </a:moveTo>
                  <a:lnTo>
                    <a:pt x="8836" y="0"/>
                  </a:lnTo>
                  <a:cubicBezTo>
                    <a:pt x="8295" y="0"/>
                    <a:pt x="7855" y="440"/>
                    <a:pt x="7855" y="982"/>
                  </a:cubicBezTo>
                  <a:lnTo>
                    <a:pt x="7855" y="4909"/>
                  </a:lnTo>
                  <a:cubicBezTo>
                    <a:pt x="7855" y="5451"/>
                    <a:pt x="8295" y="5891"/>
                    <a:pt x="8836" y="5891"/>
                  </a:cubicBezTo>
                  <a:lnTo>
                    <a:pt x="12764" y="5891"/>
                  </a:lnTo>
                  <a:cubicBezTo>
                    <a:pt x="13305" y="5891"/>
                    <a:pt x="13745" y="5451"/>
                    <a:pt x="13745" y="4909"/>
                  </a:cubicBezTo>
                  <a:lnTo>
                    <a:pt x="13745" y="982"/>
                  </a:lnTo>
                  <a:cubicBezTo>
                    <a:pt x="13745" y="440"/>
                    <a:pt x="13305" y="0"/>
                    <a:pt x="12764" y="0"/>
                  </a:cubicBezTo>
                  <a:moveTo>
                    <a:pt x="4909" y="12764"/>
                  </a:moveTo>
                  <a:lnTo>
                    <a:pt x="982" y="12764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12764"/>
                    <a:pt x="4909" y="12764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2764"/>
                  </a:lnTo>
                  <a:cubicBezTo>
                    <a:pt x="0" y="13305"/>
                    <a:pt x="440" y="13745"/>
                    <a:pt x="982" y="13745"/>
                  </a:cubicBezTo>
                  <a:lnTo>
                    <a:pt x="4909" y="13745"/>
                  </a:lnTo>
                  <a:cubicBezTo>
                    <a:pt x="5451" y="13745"/>
                    <a:pt x="5891" y="13305"/>
                    <a:pt x="5891" y="12764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747">
              <a:extLst>
                <a:ext uri="{FF2B5EF4-FFF2-40B4-BE49-F238E27FC236}">
                  <a16:creationId xmlns:a16="http://schemas.microsoft.com/office/drawing/2014/main" id="{0934C4DC-221F-47D5-8B6C-1DED2C57DC74}"/>
                </a:ext>
              </a:extLst>
            </p:cNvPr>
            <p:cNvSpPr/>
            <p:nvPr/>
          </p:nvSpPr>
          <p:spPr bwMode="gray">
            <a:xfrm>
              <a:off x="558296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618"/>
                  </a:moveTo>
                  <a:lnTo>
                    <a:pt x="8836" y="20618"/>
                  </a:lnTo>
                  <a:lnTo>
                    <a:pt x="8836" y="8836"/>
                  </a:lnTo>
                  <a:lnTo>
                    <a:pt x="20618" y="8836"/>
                  </a:lnTo>
                  <a:cubicBezTo>
                    <a:pt x="20618" y="8836"/>
                    <a:pt x="20618" y="20618"/>
                    <a:pt x="20618" y="20618"/>
                  </a:cubicBezTo>
                  <a:close/>
                  <a:moveTo>
                    <a:pt x="20618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20618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20618"/>
                    <a:pt x="4909" y="20618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748">
              <a:extLst>
                <a:ext uri="{FF2B5EF4-FFF2-40B4-BE49-F238E27FC236}">
                  <a16:creationId xmlns:a16="http://schemas.microsoft.com/office/drawing/2014/main" id="{C487C3CE-C502-4D73-A950-9C6FA0161176}"/>
                </a:ext>
              </a:extLst>
            </p:cNvPr>
            <p:cNvSpPr/>
            <p:nvPr/>
          </p:nvSpPr>
          <p:spPr bwMode="gray">
            <a:xfrm>
              <a:off x="6160946" y="39413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8280" y="18579"/>
                  </a:moveTo>
                  <a:cubicBezTo>
                    <a:pt x="20323" y="16614"/>
                    <a:pt x="21600" y="13859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6" y="0"/>
                    <a:pt x="0" y="4835"/>
                    <a:pt x="0" y="10800"/>
                  </a:cubicBezTo>
                  <a:cubicBezTo>
                    <a:pt x="0" y="13859"/>
                    <a:pt x="1277" y="16614"/>
                    <a:pt x="3320" y="18579"/>
                  </a:cubicBezTo>
                  <a:lnTo>
                    <a:pt x="2107" y="20762"/>
                  </a:lnTo>
                  <a:cubicBezTo>
                    <a:pt x="2019" y="20851"/>
                    <a:pt x="1964" y="20974"/>
                    <a:pt x="1964" y="21109"/>
                  </a:cubicBezTo>
                  <a:cubicBezTo>
                    <a:pt x="1964" y="21380"/>
                    <a:pt x="2184" y="21600"/>
                    <a:pt x="2455" y="21600"/>
                  </a:cubicBezTo>
                  <a:cubicBezTo>
                    <a:pt x="2590" y="21600"/>
                    <a:pt x="2713" y="21545"/>
                    <a:pt x="2802" y="21456"/>
                  </a:cubicBezTo>
                  <a:cubicBezTo>
                    <a:pt x="2858" y="21400"/>
                    <a:pt x="2894" y="21327"/>
                    <a:pt x="2917" y="21248"/>
                  </a:cubicBezTo>
                  <a:lnTo>
                    <a:pt x="4044" y="19219"/>
                  </a:lnTo>
                  <a:cubicBezTo>
                    <a:pt x="5895" y="20706"/>
                    <a:pt x="8242" y="21600"/>
                    <a:pt x="10800" y="21600"/>
                  </a:cubicBezTo>
                  <a:cubicBezTo>
                    <a:pt x="13358" y="21600"/>
                    <a:pt x="15705" y="20706"/>
                    <a:pt x="17555" y="19219"/>
                  </a:cubicBezTo>
                  <a:lnTo>
                    <a:pt x="18683" y="21248"/>
                  </a:lnTo>
                  <a:cubicBezTo>
                    <a:pt x="18743" y="21450"/>
                    <a:pt x="18923" y="21600"/>
                    <a:pt x="19145" y="21600"/>
                  </a:cubicBezTo>
                  <a:cubicBezTo>
                    <a:pt x="19416" y="21600"/>
                    <a:pt x="19636" y="21380"/>
                    <a:pt x="19636" y="21109"/>
                  </a:cubicBezTo>
                  <a:cubicBezTo>
                    <a:pt x="19636" y="20974"/>
                    <a:pt x="19581" y="20851"/>
                    <a:pt x="19493" y="20762"/>
                  </a:cubicBezTo>
                  <a:cubicBezTo>
                    <a:pt x="19493" y="20762"/>
                    <a:pt x="18280" y="18579"/>
                    <a:pt x="18280" y="18579"/>
                  </a:cubicBezTo>
                  <a:close/>
                  <a:moveTo>
                    <a:pt x="10800" y="16691"/>
                  </a:moveTo>
                  <a:cubicBezTo>
                    <a:pt x="7547" y="16691"/>
                    <a:pt x="4909" y="14053"/>
                    <a:pt x="4909" y="10800"/>
                  </a:cubicBezTo>
                  <a:cubicBezTo>
                    <a:pt x="4909" y="7547"/>
                    <a:pt x="7547" y="4909"/>
                    <a:pt x="10800" y="4909"/>
                  </a:cubicBezTo>
                  <a:cubicBezTo>
                    <a:pt x="14053" y="4909"/>
                    <a:pt x="16691" y="7547"/>
                    <a:pt x="16691" y="10800"/>
                  </a:cubicBezTo>
                  <a:cubicBezTo>
                    <a:pt x="16691" y="14053"/>
                    <a:pt x="14053" y="16691"/>
                    <a:pt x="10800" y="16691"/>
                  </a:cubicBezTo>
                  <a:moveTo>
                    <a:pt x="10800" y="3927"/>
                  </a:moveTo>
                  <a:cubicBezTo>
                    <a:pt x="7004" y="3927"/>
                    <a:pt x="3927" y="7004"/>
                    <a:pt x="3927" y="10800"/>
                  </a:cubicBezTo>
                  <a:cubicBezTo>
                    <a:pt x="3927" y="14596"/>
                    <a:pt x="7004" y="17673"/>
                    <a:pt x="10800" y="17673"/>
                  </a:cubicBezTo>
                  <a:cubicBezTo>
                    <a:pt x="14596" y="17673"/>
                    <a:pt x="17673" y="14596"/>
                    <a:pt x="17673" y="10800"/>
                  </a:cubicBezTo>
                  <a:cubicBezTo>
                    <a:pt x="17673" y="7004"/>
                    <a:pt x="14596" y="3927"/>
                    <a:pt x="10800" y="3927"/>
                  </a:cubicBezTo>
                  <a:moveTo>
                    <a:pt x="10800" y="12764"/>
                  </a:moveTo>
                  <a:cubicBezTo>
                    <a:pt x="9716" y="12764"/>
                    <a:pt x="8836" y="11884"/>
                    <a:pt x="8836" y="10800"/>
                  </a:cubicBezTo>
                  <a:cubicBezTo>
                    <a:pt x="8836" y="9716"/>
                    <a:pt x="9716" y="8836"/>
                    <a:pt x="10800" y="8836"/>
                  </a:cubicBezTo>
                  <a:cubicBezTo>
                    <a:pt x="11884" y="8836"/>
                    <a:pt x="12764" y="9716"/>
                    <a:pt x="12764" y="10800"/>
                  </a:cubicBezTo>
                  <a:cubicBezTo>
                    <a:pt x="12764" y="11884"/>
                    <a:pt x="11884" y="12764"/>
                    <a:pt x="10800" y="12764"/>
                  </a:cubicBezTo>
                  <a:moveTo>
                    <a:pt x="10800" y="7855"/>
                  </a:moveTo>
                  <a:cubicBezTo>
                    <a:pt x="9173" y="7855"/>
                    <a:pt x="7855" y="9173"/>
                    <a:pt x="7855" y="10800"/>
                  </a:cubicBezTo>
                  <a:cubicBezTo>
                    <a:pt x="7855" y="12427"/>
                    <a:pt x="9173" y="13745"/>
                    <a:pt x="10800" y="13745"/>
                  </a:cubicBezTo>
                  <a:cubicBezTo>
                    <a:pt x="12427" y="13745"/>
                    <a:pt x="13745" y="12427"/>
                    <a:pt x="13745" y="10800"/>
                  </a:cubicBezTo>
                  <a:cubicBezTo>
                    <a:pt x="13745" y="9173"/>
                    <a:pt x="12427" y="7855"/>
                    <a:pt x="108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749">
              <a:extLst>
                <a:ext uri="{FF2B5EF4-FFF2-40B4-BE49-F238E27FC236}">
                  <a16:creationId xmlns:a16="http://schemas.microsoft.com/office/drawing/2014/main" id="{1A8C8F07-C70F-4D86-A8DA-B442654F4074}"/>
                </a:ext>
              </a:extLst>
            </p:cNvPr>
            <p:cNvSpPr/>
            <p:nvPr/>
          </p:nvSpPr>
          <p:spPr bwMode="gray">
            <a:xfrm>
              <a:off x="6765204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57" y="2884"/>
                  </a:moveTo>
                  <a:cubicBezTo>
                    <a:pt x="19862" y="3005"/>
                    <a:pt x="15661" y="5580"/>
                    <a:pt x="11606" y="4718"/>
                  </a:cubicBezTo>
                  <a:cubicBezTo>
                    <a:pt x="9681" y="4310"/>
                    <a:pt x="8390" y="3899"/>
                    <a:pt x="7251" y="3535"/>
                  </a:cubicBezTo>
                  <a:cubicBezTo>
                    <a:pt x="5426" y="2953"/>
                    <a:pt x="4042" y="2513"/>
                    <a:pt x="1543" y="2647"/>
                  </a:cubicBez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2884"/>
                    <a:pt x="20057" y="2884"/>
                  </a:cubicBezTo>
                  <a:close/>
                  <a:moveTo>
                    <a:pt x="20057" y="5891"/>
                  </a:moveTo>
                  <a:cubicBezTo>
                    <a:pt x="20057" y="9144"/>
                    <a:pt x="15912" y="11782"/>
                    <a:pt x="10800" y="11782"/>
                  </a:cubicBezTo>
                  <a:cubicBezTo>
                    <a:pt x="5688" y="11782"/>
                    <a:pt x="1543" y="9144"/>
                    <a:pt x="1543" y="5891"/>
                  </a:cubicBezTo>
                  <a:lnTo>
                    <a:pt x="1543" y="3634"/>
                  </a:lnTo>
                  <a:cubicBezTo>
                    <a:pt x="3681" y="3500"/>
                    <a:pt x="4767" y="3841"/>
                    <a:pt x="6560" y="4413"/>
                  </a:cubicBezTo>
                  <a:cubicBezTo>
                    <a:pt x="7686" y="4772"/>
                    <a:pt x="9088" y="5219"/>
                    <a:pt x="11118" y="5650"/>
                  </a:cubicBezTo>
                  <a:cubicBezTo>
                    <a:pt x="11869" y="5809"/>
                    <a:pt x="12616" y="5877"/>
                    <a:pt x="13343" y="5877"/>
                  </a:cubicBezTo>
                  <a:cubicBezTo>
                    <a:pt x="16154" y="5877"/>
                    <a:pt x="18675" y="4862"/>
                    <a:pt x="20057" y="4176"/>
                  </a:cubicBezTo>
                  <a:cubicBezTo>
                    <a:pt x="20057" y="4176"/>
                    <a:pt x="20057" y="5891"/>
                    <a:pt x="20057" y="5891"/>
                  </a:cubicBezTo>
                  <a:close/>
                  <a:moveTo>
                    <a:pt x="20829" y="0"/>
                  </a:moveTo>
                  <a:lnTo>
                    <a:pt x="771" y="0"/>
                  </a:lnTo>
                  <a:cubicBezTo>
                    <a:pt x="346" y="0"/>
                    <a:pt x="0" y="220"/>
                    <a:pt x="0" y="491"/>
                  </a:cubicBezTo>
                  <a:lnTo>
                    <a:pt x="0" y="5891"/>
                  </a:lnTo>
                  <a:cubicBezTo>
                    <a:pt x="0" y="9521"/>
                    <a:pt x="4426" y="12486"/>
                    <a:pt x="10029" y="12739"/>
                  </a:cubicBezTo>
                  <a:lnTo>
                    <a:pt x="10029" y="20618"/>
                  </a:lnTo>
                  <a:lnTo>
                    <a:pt x="3857" y="20618"/>
                  </a:lnTo>
                  <a:cubicBezTo>
                    <a:pt x="3432" y="20618"/>
                    <a:pt x="3086" y="20838"/>
                    <a:pt x="3086" y="21109"/>
                  </a:cubicBezTo>
                  <a:cubicBezTo>
                    <a:pt x="3086" y="21380"/>
                    <a:pt x="3432" y="21600"/>
                    <a:pt x="3857" y="21600"/>
                  </a:cubicBezTo>
                  <a:lnTo>
                    <a:pt x="17743" y="21600"/>
                  </a:lnTo>
                  <a:cubicBezTo>
                    <a:pt x="18168" y="21600"/>
                    <a:pt x="18514" y="21380"/>
                    <a:pt x="18514" y="21109"/>
                  </a:cubicBezTo>
                  <a:cubicBezTo>
                    <a:pt x="18514" y="20838"/>
                    <a:pt x="18168" y="20618"/>
                    <a:pt x="17743" y="20618"/>
                  </a:cubicBezTo>
                  <a:lnTo>
                    <a:pt x="11571" y="20618"/>
                  </a:lnTo>
                  <a:lnTo>
                    <a:pt x="11571" y="12739"/>
                  </a:lnTo>
                  <a:cubicBezTo>
                    <a:pt x="17174" y="12486"/>
                    <a:pt x="21600" y="9521"/>
                    <a:pt x="21600" y="5891"/>
                  </a:cubicBezTo>
                  <a:lnTo>
                    <a:pt x="21600" y="491"/>
                  </a:lnTo>
                  <a:cubicBezTo>
                    <a:pt x="21600" y="220"/>
                    <a:pt x="21254" y="0"/>
                    <a:pt x="2082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750">
              <a:extLst>
                <a:ext uri="{FF2B5EF4-FFF2-40B4-BE49-F238E27FC236}">
                  <a16:creationId xmlns:a16="http://schemas.microsoft.com/office/drawing/2014/main" id="{C5301BDA-9845-4F1D-ACF0-122B00373D86}"/>
                </a:ext>
              </a:extLst>
            </p:cNvPr>
            <p:cNvSpPr/>
            <p:nvPr/>
          </p:nvSpPr>
          <p:spPr bwMode="gray">
            <a:xfrm>
              <a:off x="7343189" y="394134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0800"/>
                  </a:moveTo>
                  <a:lnTo>
                    <a:pt x="2160" y="10800"/>
                  </a:lnTo>
                  <a:lnTo>
                    <a:pt x="2160" y="8836"/>
                  </a:lnTo>
                  <a:cubicBezTo>
                    <a:pt x="2160" y="7752"/>
                    <a:pt x="4094" y="6873"/>
                    <a:pt x="6480" y="6873"/>
                  </a:cubicBezTo>
                  <a:lnTo>
                    <a:pt x="15120" y="6873"/>
                  </a:lnTo>
                  <a:cubicBezTo>
                    <a:pt x="17506" y="6873"/>
                    <a:pt x="19440" y="7752"/>
                    <a:pt x="19440" y="8836"/>
                  </a:cubicBezTo>
                  <a:cubicBezTo>
                    <a:pt x="19440" y="8836"/>
                    <a:pt x="19440" y="10800"/>
                    <a:pt x="19440" y="10800"/>
                  </a:cubicBezTo>
                  <a:close/>
                  <a:moveTo>
                    <a:pt x="19440" y="15709"/>
                  </a:moveTo>
                  <a:lnTo>
                    <a:pt x="2160" y="15709"/>
                  </a:lnTo>
                  <a:lnTo>
                    <a:pt x="2160" y="11782"/>
                  </a:lnTo>
                  <a:lnTo>
                    <a:pt x="19440" y="11782"/>
                  </a:lnTo>
                  <a:cubicBezTo>
                    <a:pt x="19440" y="11782"/>
                    <a:pt x="19440" y="15709"/>
                    <a:pt x="19440" y="15709"/>
                  </a:cubicBezTo>
                  <a:close/>
                  <a:moveTo>
                    <a:pt x="19440" y="18655"/>
                  </a:moveTo>
                  <a:cubicBezTo>
                    <a:pt x="19440" y="19739"/>
                    <a:pt x="17506" y="20618"/>
                    <a:pt x="15120" y="20618"/>
                  </a:cubicBezTo>
                  <a:lnTo>
                    <a:pt x="6480" y="20618"/>
                  </a:lnTo>
                  <a:cubicBezTo>
                    <a:pt x="4094" y="20618"/>
                    <a:pt x="2160" y="19739"/>
                    <a:pt x="2160" y="18655"/>
                  </a:cubicBezTo>
                  <a:lnTo>
                    <a:pt x="2160" y="16691"/>
                  </a:lnTo>
                  <a:lnTo>
                    <a:pt x="19440" y="16691"/>
                  </a:lnTo>
                  <a:cubicBezTo>
                    <a:pt x="19440" y="16691"/>
                    <a:pt x="19440" y="18655"/>
                    <a:pt x="19440" y="18655"/>
                  </a:cubicBezTo>
                  <a:close/>
                  <a:moveTo>
                    <a:pt x="8640" y="2945"/>
                  </a:moveTo>
                  <a:lnTo>
                    <a:pt x="12960" y="2945"/>
                  </a:lnTo>
                  <a:lnTo>
                    <a:pt x="12960" y="5891"/>
                  </a:lnTo>
                  <a:lnTo>
                    <a:pt x="8640" y="5891"/>
                  </a:lnTo>
                  <a:cubicBezTo>
                    <a:pt x="8640" y="5891"/>
                    <a:pt x="8640" y="2945"/>
                    <a:pt x="8640" y="2945"/>
                  </a:cubicBezTo>
                  <a:close/>
                  <a:moveTo>
                    <a:pt x="8640" y="982"/>
                  </a:moveTo>
                  <a:lnTo>
                    <a:pt x="12960" y="982"/>
                  </a:lnTo>
                  <a:lnTo>
                    <a:pt x="12960" y="1964"/>
                  </a:lnTo>
                  <a:lnTo>
                    <a:pt x="8640" y="1964"/>
                  </a:lnTo>
                  <a:cubicBezTo>
                    <a:pt x="8640" y="1964"/>
                    <a:pt x="8640" y="982"/>
                    <a:pt x="8640" y="982"/>
                  </a:cubicBezTo>
                  <a:close/>
                  <a:moveTo>
                    <a:pt x="15120" y="5891"/>
                  </a:moveTo>
                  <a:lnTo>
                    <a:pt x="15120" y="982"/>
                  </a:lnTo>
                  <a:cubicBezTo>
                    <a:pt x="15120" y="440"/>
                    <a:pt x="14152" y="0"/>
                    <a:pt x="12960" y="0"/>
                  </a:cubicBezTo>
                  <a:lnTo>
                    <a:pt x="8640" y="0"/>
                  </a:lnTo>
                  <a:cubicBezTo>
                    <a:pt x="7448" y="0"/>
                    <a:pt x="6480" y="440"/>
                    <a:pt x="6480" y="982"/>
                  </a:cubicBezTo>
                  <a:lnTo>
                    <a:pt x="6480" y="5891"/>
                  </a:lnTo>
                  <a:cubicBezTo>
                    <a:pt x="2901" y="5891"/>
                    <a:pt x="0" y="7209"/>
                    <a:pt x="0" y="8836"/>
                  </a:cubicBezTo>
                  <a:lnTo>
                    <a:pt x="0" y="18655"/>
                  </a:lnTo>
                  <a:cubicBezTo>
                    <a:pt x="0" y="20281"/>
                    <a:pt x="2901" y="21600"/>
                    <a:pt x="6480" y="21600"/>
                  </a:cubicBezTo>
                  <a:lnTo>
                    <a:pt x="15120" y="21600"/>
                  </a:lnTo>
                  <a:cubicBezTo>
                    <a:pt x="18698" y="21600"/>
                    <a:pt x="21600" y="20281"/>
                    <a:pt x="21600" y="18655"/>
                  </a:cubicBezTo>
                  <a:lnTo>
                    <a:pt x="21600" y="8836"/>
                  </a:lnTo>
                  <a:cubicBezTo>
                    <a:pt x="21600" y="7209"/>
                    <a:pt x="18698" y="5891"/>
                    <a:pt x="1512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751">
              <a:extLst>
                <a:ext uri="{FF2B5EF4-FFF2-40B4-BE49-F238E27FC236}">
                  <a16:creationId xmlns:a16="http://schemas.microsoft.com/office/drawing/2014/main" id="{C8C73E6A-E805-401C-AF90-BC1EF94AC55B}"/>
                </a:ext>
              </a:extLst>
            </p:cNvPr>
            <p:cNvSpPr/>
            <p:nvPr/>
          </p:nvSpPr>
          <p:spPr bwMode="gray">
            <a:xfrm>
              <a:off x="7868631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114" y="15709"/>
                  </a:moveTo>
                  <a:cubicBezTo>
                    <a:pt x="12689" y="15709"/>
                    <a:pt x="12343" y="15929"/>
                    <a:pt x="12343" y="16200"/>
                  </a:cubicBezTo>
                  <a:cubicBezTo>
                    <a:pt x="12343" y="16471"/>
                    <a:pt x="12689" y="16691"/>
                    <a:pt x="13114" y="16691"/>
                  </a:cubicBezTo>
                  <a:cubicBezTo>
                    <a:pt x="13540" y="16691"/>
                    <a:pt x="13886" y="16471"/>
                    <a:pt x="13886" y="16200"/>
                  </a:cubicBezTo>
                  <a:cubicBezTo>
                    <a:pt x="13886" y="15929"/>
                    <a:pt x="13540" y="15709"/>
                    <a:pt x="13114" y="15709"/>
                  </a:cubicBezTo>
                  <a:moveTo>
                    <a:pt x="13886" y="7855"/>
                  </a:moveTo>
                  <a:cubicBezTo>
                    <a:pt x="13034" y="7855"/>
                    <a:pt x="12343" y="8295"/>
                    <a:pt x="12343" y="8836"/>
                  </a:cubicBezTo>
                  <a:cubicBezTo>
                    <a:pt x="12343" y="9379"/>
                    <a:pt x="13034" y="9818"/>
                    <a:pt x="13886" y="9818"/>
                  </a:cubicBezTo>
                  <a:cubicBezTo>
                    <a:pt x="14737" y="9818"/>
                    <a:pt x="15429" y="9379"/>
                    <a:pt x="15429" y="8836"/>
                  </a:cubicBezTo>
                  <a:cubicBezTo>
                    <a:pt x="15429" y="8295"/>
                    <a:pt x="14737" y="7855"/>
                    <a:pt x="13886" y="7855"/>
                  </a:cubicBezTo>
                  <a:moveTo>
                    <a:pt x="8486" y="17673"/>
                  </a:moveTo>
                  <a:cubicBezTo>
                    <a:pt x="8060" y="17673"/>
                    <a:pt x="7714" y="17892"/>
                    <a:pt x="7714" y="18164"/>
                  </a:cubicBezTo>
                  <a:cubicBezTo>
                    <a:pt x="7714" y="18435"/>
                    <a:pt x="8060" y="18655"/>
                    <a:pt x="8486" y="18655"/>
                  </a:cubicBezTo>
                  <a:cubicBezTo>
                    <a:pt x="8911" y="18655"/>
                    <a:pt x="9257" y="18435"/>
                    <a:pt x="9257" y="18164"/>
                  </a:cubicBezTo>
                  <a:cubicBezTo>
                    <a:pt x="9257" y="17892"/>
                    <a:pt x="8911" y="17673"/>
                    <a:pt x="8486" y="17673"/>
                  </a:cubicBezTo>
                  <a:moveTo>
                    <a:pt x="9257" y="10800"/>
                  </a:moveTo>
                  <a:cubicBezTo>
                    <a:pt x="9257" y="10258"/>
                    <a:pt x="8566" y="9818"/>
                    <a:pt x="7714" y="9818"/>
                  </a:cubicBezTo>
                  <a:cubicBezTo>
                    <a:pt x="6863" y="9818"/>
                    <a:pt x="6171" y="10258"/>
                    <a:pt x="6171" y="10800"/>
                  </a:cubicBezTo>
                  <a:cubicBezTo>
                    <a:pt x="6171" y="11343"/>
                    <a:pt x="6863" y="11782"/>
                    <a:pt x="7714" y="11782"/>
                  </a:cubicBezTo>
                  <a:cubicBezTo>
                    <a:pt x="8566" y="11782"/>
                    <a:pt x="9257" y="11343"/>
                    <a:pt x="9257" y="10800"/>
                  </a:cubicBezTo>
                  <a:moveTo>
                    <a:pt x="10029" y="13745"/>
                  </a:moveTo>
                  <a:cubicBezTo>
                    <a:pt x="9603" y="13745"/>
                    <a:pt x="9257" y="13965"/>
                    <a:pt x="9257" y="14236"/>
                  </a:cubicBezTo>
                  <a:cubicBezTo>
                    <a:pt x="9257" y="14508"/>
                    <a:pt x="9603" y="14727"/>
                    <a:pt x="10029" y="14727"/>
                  </a:cubicBezTo>
                  <a:cubicBezTo>
                    <a:pt x="10454" y="14727"/>
                    <a:pt x="10800" y="14508"/>
                    <a:pt x="10800" y="14236"/>
                  </a:cubicBezTo>
                  <a:cubicBezTo>
                    <a:pt x="10800" y="13965"/>
                    <a:pt x="10454" y="13745"/>
                    <a:pt x="10029" y="13745"/>
                  </a:cubicBezTo>
                  <a:moveTo>
                    <a:pt x="20057" y="1964"/>
                  </a:moveTo>
                  <a:lnTo>
                    <a:pt x="1543" y="1964"/>
                  </a:ln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1964"/>
                    <a:pt x="20057" y="1964"/>
                  </a:cubicBezTo>
                  <a:close/>
                  <a:moveTo>
                    <a:pt x="16971" y="4033"/>
                  </a:moveTo>
                  <a:cubicBezTo>
                    <a:pt x="16079" y="4186"/>
                    <a:pt x="15266" y="4419"/>
                    <a:pt x="14349" y="4691"/>
                  </a:cubicBezTo>
                  <a:cubicBezTo>
                    <a:pt x="13209" y="5030"/>
                    <a:pt x="11919" y="5413"/>
                    <a:pt x="9994" y="5794"/>
                  </a:cubicBezTo>
                  <a:cubicBezTo>
                    <a:pt x="8093" y="6170"/>
                    <a:pt x="6167" y="5840"/>
                    <a:pt x="4629" y="5373"/>
                  </a:cubicBezTo>
                  <a:lnTo>
                    <a:pt x="4629" y="2945"/>
                  </a:lnTo>
                  <a:lnTo>
                    <a:pt x="16971" y="2945"/>
                  </a:lnTo>
                  <a:cubicBezTo>
                    <a:pt x="16971" y="2945"/>
                    <a:pt x="16971" y="4033"/>
                    <a:pt x="16971" y="4033"/>
                  </a:cubicBezTo>
                  <a:close/>
                  <a:moveTo>
                    <a:pt x="16971" y="16691"/>
                  </a:moveTo>
                  <a:cubicBezTo>
                    <a:pt x="16971" y="18860"/>
                    <a:pt x="14208" y="20618"/>
                    <a:pt x="10800" y="20618"/>
                  </a:cubicBezTo>
                  <a:cubicBezTo>
                    <a:pt x="7391" y="20618"/>
                    <a:pt x="4629" y="18860"/>
                    <a:pt x="4629" y="16691"/>
                  </a:cubicBezTo>
                  <a:lnTo>
                    <a:pt x="4629" y="6384"/>
                  </a:lnTo>
                  <a:cubicBezTo>
                    <a:pt x="5722" y="6667"/>
                    <a:pt x="6954" y="6874"/>
                    <a:pt x="8257" y="6874"/>
                  </a:cubicBezTo>
                  <a:cubicBezTo>
                    <a:pt x="8984" y="6874"/>
                    <a:pt x="9731" y="6811"/>
                    <a:pt x="10481" y="6662"/>
                  </a:cubicBezTo>
                  <a:cubicBezTo>
                    <a:pt x="12512" y="6261"/>
                    <a:pt x="13914" y="5844"/>
                    <a:pt x="15040" y="5510"/>
                  </a:cubicBezTo>
                  <a:cubicBezTo>
                    <a:pt x="15760" y="5295"/>
                    <a:pt x="16366" y="5119"/>
                    <a:pt x="16971" y="4989"/>
                  </a:cubicBezTo>
                  <a:cubicBezTo>
                    <a:pt x="16971" y="4989"/>
                    <a:pt x="16971" y="16691"/>
                    <a:pt x="16971" y="16691"/>
                  </a:cubicBezTo>
                  <a:close/>
                  <a:moveTo>
                    <a:pt x="20057" y="0"/>
                  </a:moveTo>
                  <a:lnTo>
                    <a:pt x="1543" y="0"/>
                  </a:lnTo>
                  <a:cubicBezTo>
                    <a:pt x="691" y="0"/>
                    <a:pt x="0" y="440"/>
                    <a:pt x="0" y="982"/>
                  </a:cubicBezTo>
                  <a:lnTo>
                    <a:pt x="0" y="1964"/>
                  </a:lnTo>
                  <a:cubicBezTo>
                    <a:pt x="0" y="2506"/>
                    <a:pt x="691" y="2945"/>
                    <a:pt x="1543" y="2945"/>
                  </a:cubicBezTo>
                  <a:lnTo>
                    <a:pt x="3086" y="2945"/>
                  </a:lnTo>
                  <a:lnTo>
                    <a:pt x="3086" y="16691"/>
                  </a:lnTo>
                  <a:cubicBezTo>
                    <a:pt x="3086" y="19402"/>
                    <a:pt x="6539" y="21600"/>
                    <a:pt x="10800" y="21600"/>
                  </a:cubicBezTo>
                  <a:cubicBezTo>
                    <a:pt x="15061" y="21600"/>
                    <a:pt x="18514" y="19402"/>
                    <a:pt x="18514" y="16691"/>
                  </a:cubicBezTo>
                  <a:lnTo>
                    <a:pt x="18514" y="2945"/>
                  </a:lnTo>
                  <a:lnTo>
                    <a:pt x="20057" y="2945"/>
                  </a:lnTo>
                  <a:cubicBezTo>
                    <a:pt x="20909" y="2945"/>
                    <a:pt x="21600" y="2506"/>
                    <a:pt x="21600" y="1964"/>
                  </a:cubicBezTo>
                  <a:lnTo>
                    <a:pt x="21600" y="982"/>
                  </a:lnTo>
                  <a:cubicBezTo>
                    <a:pt x="21600" y="440"/>
                    <a:pt x="20909" y="0"/>
                    <a:pt x="20057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752">
              <a:extLst>
                <a:ext uri="{FF2B5EF4-FFF2-40B4-BE49-F238E27FC236}">
                  <a16:creationId xmlns:a16="http://schemas.microsoft.com/office/drawing/2014/main" id="{5701B53F-3AAC-4B2A-9990-6BE73590A96E}"/>
                </a:ext>
              </a:extLst>
            </p:cNvPr>
            <p:cNvSpPr/>
            <p:nvPr/>
          </p:nvSpPr>
          <p:spPr bwMode="gray">
            <a:xfrm>
              <a:off x="8394072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7673"/>
                  </a:moveTo>
                  <a:cubicBezTo>
                    <a:pt x="12269" y="17673"/>
                    <a:pt x="12000" y="17892"/>
                    <a:pt x="12000" y="18164"/>
                  </a:cubicBezTo>
                  <a:cubicBezTo>
                    <a:pt x="12000" y="18435"/>
                    <a:pt x="12269" y="18655"/>
                    <a:pt x="12600" y="18655"/>
                  </a:cubicBezTo>
                  <a:cubicBezTo>
                    <a:pt x="12931" y="18655"/>
                    <a:pt x="13200" y="18435"/>
                    <a:pt x="13200" y="18164"/>
                  </a:cubicBezTo>
                  <a:cubicBezTo>
                    <a:pt x="13200" y="17892"/>
                    <a:pt x="12931" y="17673"/>
                    <a:pt x="12600" y="17673"/>
                  </a:cubicBezTo>
                  <a:moveTo>
                    <a:pt x="10800" y="13745"/>
                  </a:moveTo>
                  <a:cubicBezTo>
                    <a:pt x="10138" y="13745"/>
                    <a:pt x="9600" y="14186"/>
                    <a:pt x="9600" y="14727"/>
                  </a:cubicBezTo>
                  <a:cubicBezTo>
                    <a:pt x="9600" y="15269"/>
                    <a:pt x="10138" y="15709"/>
                    <a:pt x="10800" y="15709"/>
                  </a:cubicBezTo>
                  <a:cubicBezTo>
                    <a:pt x="11462" y="15709"/>
                    <a:pt x="12000" y="15269"/>
                    <a:pt x="12000" y="14727"/>
                  </a:cubicBezTo>
                  <a:cubicBezTo>
                    <a:pt x="12000" y="14186"/>
                    <a:pt x="11462" y="13745"/>
                    <a:pt x="10800" y="13745"/>
                  </a:cubicBezTo>
                  <a:moveTo>
                    <a:pt x="12600" y="10800"/>
                  </a:moveTo>
                  <a:cubicBezTo>
                    <a:pt x="12269" y="10800"/>
                    <a:pt x="12000" y="10580"/>
                    <a:pt x="12000" y="10309"/>
                  </a:cubicBezTo>
                  <a:cubicBezTo>
                    <a:pt x="12000" y="10038"/>
                    <a:pt x="12269" y="9818"/>
                    <a:pt x="12600" y="9818"/>
                  </a:cubicBezTo>
                  <a:cubicBezTo>
                    <a:pt x="12931" y="9818"/>
                    <a:pt x="13200" y="10038"/>
                    <a:pt x="13200" y="10309"/>
                  </a:cubicBezTo>
                  <a:cubicBezTo>
                    <a:pt x="13200" y="10580"/>
                    <a:pt x="12931" y="10800"/>
                    <a:pt x="12600" y="10800"/>
                  </a:cubicBezTo>
                  <a:moveTo>
                    <a:pt x="12600" y="8836"/>
                  </a:moveTo>
                  <a:cubicBezTo>
                    <a:pt x="11606" y="8836"/>
                    <a:pt x="10800" y="9496"/>
                    <a:pt x="10800" y="10309"/>
                  </a:cubicBezTo>
                  <a:cubicBezTo>
                    <a:pt x="10800" y="11123"/>
                    <a:pt x="11606" y="11782"/>
                    <a:pt x="12600" y="11782"/>
                  </a:cubicBezTo>
                  <a:cubicBezTo>
                    <a:pt x="13594" y="11782"/>
                    <a:pt x="14400" y="11123"/>
                    <a:pt x="14400" y="10309"/>
                  </a:cubicBezTo>
                  <a:cubicBezTo>
                    <a:pt x="14400" y="9496"/>
                    <a:pt x="13594" y="8836"/>
                    <a:pt x="12600" y="8836"/>
                  </a:cubicBezTo>
                  <a:moveTo>
                    <a:pt x="17760" y="20618"/>
                  </a:moveTo>
                  <a:lnTo>
                    <a:pt x="3840" y="20618"/>
                  </a:lnTo>
                  <a:cubicBezTo>
                    <a:pt x="2134" y="19151"/>
                    <a:pt x="1200" y="17248"/>
                    <a:pt x="1200" y="15218"/>
                  </a:cubicBezTo>
                  <a:cubicBezTo>
                    <a:pt x="1200" y="12593"/>
                    <a:pt x="2796" y="10152"/>
                    <a:pt x="5468" y="8688"/>
                  </a:cubicBezTo>
                  <a:cubicBezTo>
                    <a:pt x="5800" y="8506"/>
                    <a:pt x="6000" y="8199"/>
                    <a:pt x="6000" y="7872"/>
                  </a:cubicBezTo>
                  <a:lnTo>
                    <a:pt x="6000" y="6529"/>
                  </a:lnTo>
                  <a:cubicBezTo>
                    <a:pt x="6729" y="6758"/>
                    <a:pt x="7567" y="6924"/>
                    <a:pt x="8484" y="6924"/>
                  </a:cubicBezTo>
                  <a:cubicBezTo>
                    <a:pt x="9499" y="6924"/>
                    <a:pt x="10603" y="6723"/>
                    <a:pt x="11748" y="6188"/>
                  </a:cubicBezTo>
                  <a:cubicBezTo>
                    <a:pt x="13252" y="5485"/>
                    <a:pt x="14575" y="5306"/>
                    <a:pt x="15600" y="5323"/>
                  </a:cubicBezTo>
                  <a:lnTo>
                    <a:pt x="15600" y="7872"/>
                  </a:lnTo>
                  <a:cubicBezTo>
                    <a:pt x="15600" y="8199"/>
                    <a:pt x="15800" y="8506"/>
                    <a:pt x="16132" y="8688"/>
                  </a:cubicBezTo>
                  <a:cubicBezTo>
                    <a:pt x="18804" y="10152"/>
                    <a:pt x="20400" y="12593"/>
                    <a:pt x="20400" y="15218"/>
                  </a:cubicBezTo>
                  <a:cubicBezTo>
                    <a:pt x="20400" y="17248"/>
                    <a:pt x="19466" y="19151"/>
                    <a:pt x="17760" y="20618"/>
                  </a:cubicBezTo>
                  <a:moveTo>
                    <a:pt x="15600" y="2945"/>
                  </a:moveTo>
                  <a:lnTo>
                    <a:pt x="15600" y="4340"/>
                  </a:lnTo>
                  <a:cubicBezTo>
                    <a:pt x="14391" y="4322"/>
                    <a:pt x="12860" y="4538"/>
                    <a:pt x="11152" y="5336"/>
                  </a:cubicBezTo>
                  <a:cubicBezTo>
                    <a:pt x="9163" y="6265"/>
                    <a:pt x="7312" y="5965"/>
                    <a:pt x="6000" y="5473"/>
                  </a:cubicBezTo>
                  <a:lnTo>
                    <a:pt x="6000" y="2945"/>
                  </a:lnTo>
                  <a:cubicBezTo>
                    <a:pt x="6000" y="2945"/>
                    <a:pt x="15600" y="2945"/>
                    <a:pt x="15600" y="2945"/>
                  </a:cubicBezTo>
                  <a:close/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00" y="7872"/>
                  </a:moveTo>
                  <a:lnTo>
                    <a:pt x="16800" y="2945"/>
                  </a:ln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800" y="2945"/>
                  </a:lnTo>
                  <a:lnTo>
                    <a:pt x="4800" y="7872"/>
                  </a:lnTo>
                  <a:cubicBezTo>
                    <a:pt x="1906" y="9457"/>
                    <a:pt x="0" y="12155"/>
                    <a:pt x="0" y="15218"/>
                  </a:cubicBezTo>
                  <a:cubicBezTo>
                    <a:pt x="0" y="17730"/>
                    <a:pt x="1286" y="19991"/>
                    <a:pt x="3342" y="21600"/>
                  </a:cubicBezTo>
                  <a:lnTo>
                    <a:pt x="18258" y="21600"/>
                  </a:lnTo>
                  <a:cubicBezTo>
                    <a:pt x="20313" y="19991"/>
                    <a:pt x="21600" y="17730"/>
                    <a:pt x="21600" y="15218"/>
                  </a:cubicBezTo>
                  <a:cubicBezTo>
                    <a:pt x="21600" y="12155"/>
                    <a:pt x="19693" y="9457"/>
                    <a:pt x="16800" y="7872"/>
                  </a:cubicBezTo>
                  <a:moveTo>
                    <a:pt x="16200" y="15709"/>
                  </a:moveTo>
                  <a:cubicBezTo>
                    <a:pt x="15869" y="15709"/>
                    <a:pt x="15600" y="15929"/>
                    <a:pt x="15600" y="16200"/>
                  </a:cubicBezTo>
                  <a:cubicBezTo>
                    <a:pt x="15600" y="16471"/>
                    <a:pt x="15869" y="16691"/>
                    <a:pt x="16200" y="16691"/>
                  </a:cubicBezTo>
                  <a:cubicBezTo>
                    <a:pt x="16531" y="16691"/>
                    <a:pt x="16800" y="16471"/>
                    <a:pt x="16800" y="16200"/>
                  </a:cubicBezTo>
                  <a:cubicBezTo>
                    <a:pt x="16800" y="15929"/>
                    <a:pt x="16531" y="15709"/>
                    <a:pt x="16200" y="15709"/>
                  </a:cubicBezTo>
                  <a:moveTo>
                    <a:pt x="7800" y="11782"/>
                  </a:moveTo>
                  <a:cubicBezTo>
                    <a:pt x="7469" y="11782"/>
                    <a:pt x="7200" y="12001"/>
                    <a:pt x="7200" y="12273"/>
                  </a:cubicBezTo>
                  <a:cubicBezTo>
                    <a:pt x="7200" y="12544"/>
                    <a:pt x="7469" y="12764"/>
                    <a:pt x="7800" y="12764"/>
                  </a:cubicBezTo>
                  <a:cubicBezTo>
                    <a:pt x="8131" y="12764"/>
                    <a:pt x="8400" y="12544"/>
                    <a:pt x="8400" y="12273"/>
                  </a:cubicBezTo>
                  <a:cubicBezTo>
                    <a:pt x="8400" y="12001"/>
                    <a:pt x="8131" y="11782"/>
                    <a:pt x="7800" y="11782"/>
                  </a:cubicBezTo>
                  <a:moveTo>
                    <a:pt x="6000" y="15709"/>
                  </a:moveTo>
                  <a:cubicBezTo>
                    <a:pt x="5338" y="15709"/>
                    <a:pt x="4800" y="16149"/>
                    <a:pt x="4800" y="16691"/>
                  </a:cubicBezTo>
                  <a:cubicBezTo>
                    <a:pt x="4800" y="17233"/>
                    <a:pt x="5338" y="17673"/>
                    <a:pt x="6000" y="17673"/>
                  </a:cubicBezTo>
                  <a:cubicBezTo>
                    <a:pt x="6662" y="17673"/>
                    <a:pt x="7200" y="17233"/>
                    <a:pt x="7200" y="16691"/>
                  </a:cubicBezTo>
                  <a:cubicBezTo>
                    <a:pt x="7200" y="16149"/>
                    <a:pt x="6662" y="15709"/>
                    <a:pt x="6000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753">
              <a:extLst>
                <a:ext uri="{FF2B5EF4-FFF2-40B4-BE49-F238E27FC236}">
                  <a16:creationId xmlns:a16="http://schemas.microsoft.com/office/drawing/2014/main" id="{45BD8FDB-DF92-4301-BF9F-3EC7A50ECDA0}"/>
                </a:ext>
              </a:extLst>
            </p:cNvPr>
            <p:cNvSpPr/>
            <p:nvPr/>
          </p:nvSpPr>
          <p:spPr bwMode="gray">
            <a:xfrm>
              <a:off x="8945786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800" y="18655"/>
                  </a:moveTo>
                  <a:cubicBezTo>
                    <a:pt x="13468" y="18655"/>
                    <a:pt x="13200" y="18874"/>
                    <a:pt x="13200" y="19145"/>
                  </a:cubicBezTo>
                  <a:cubicBezTo>
                    <a:pt x="13200" y="19417"/>
                    <a:pt x="13468" y="19636"/>
                    <a:pt x="13800" y="19636"/>
                  </a:cubicBezTo>
                  <a:cubicBezTo>
                    <a:pt x="14132" y="19636"/>
                    <a:pt x="14400" y="19417"/>
                    <a:pt x="14400" y="19145"/>
                  </a:cubicBezTo>
                  <a:cubicBezTo>
                    <a:pt x="14400" y="18874"/>
                    <a:pt x="14132" y="18655"/>
                    <a:pt x="13800" y="18655"/>
                  </a:cubicBezTo>
                  <a:moveTo>
                    <a:pt x="10200" y="15709"/>
                  </a:moveTo>
                  <a:cubicBezTo>
                    <a:pt x="9868" y="15709"/>
                    <a:pt x="9600" y="15490"/>
                    <a:pt x="9600" y="15218"/>
                  </a:cubicBezTo>
                  <a:cubicBezTo>
                    <a:pt x="9600" y="14947"/>
                    <a:pt x="9868" y="14727"/>
                    <a:pt x="10200" y="14727"/>
                  </a:cubicBezTo>
                  <a:cubicBezTo>
                    <a:pt x="10532" y="14727"/>
                    <a:pt x="10800" y="14947"/>
                    <a:pt x="10800" y="15218"/>
                  </a:cubicBezTo>
                  <a:cubicBezTo>
                    <a:pt x="10800" y="15490"/>
                    <a:pt x="10532" y="15709"/>
                    <a:pt x="10200" y="15709"/>
                  </a:cubicBezTo>
                  <a:moveTo>
                    <a:pt x="10200" y="13745"/>
                  </a:moveTo>
                  <a:cubicBezTo>
                    <a:pt x="9206" y="13745"/>
                    <a:pt x="8400" y="14405"/>
                    <a:pt x="8400" y="15218"/>
                  </a:cubicBezTo>
                  <a:cubicBezTo>
                    <a:pt x="8400" y="16031"/>
                    <a:pt x="9206" y="16691"/>
                    <a:pt x="10200" y="16691"/>
                  </a:cubicBezTo>
                  <a:cubicBezTo>
                    <a:pt x="11194" y="16691"/>
                    <a:pt x="12000" y="16031"/>
                    <a:pt x="12000" y="15218"/>
                  </a:cubicBezTo>
                  <a:cubicBezTo>
                    <a:pt x="12000" y="14405"/>
                    <a:pt x="11194" y="13745"/>
                    <a:pt x="10200" y="13745"/>
                  </a:cubicBezTo>
                  <a:moveTo>
                    <a:pt x="15600" y="13745"/>
                  </a:moveTo>
                  <a:cubicBezTo>
                    <a:pt x="14938" y="13745"/>
                    <a:pt x="14400" y="14186"/>
                    <a:pt x="14400" y="14727"/>
                  </a:cubicBezTo>
                  <a:cubicBezTo>
                    <a:pt x="14400" y="15269"/>
                    <a:pt x="14938" y="15709"/>
                    <a:pt x="15600" y="15709"/>
                  </a:cubicBezTo>
                  <a:cubicBezTo>
                    <a:pt x="16262" y="15709"/>
                    <a:pt x="16800" y="15269"/>
                    <a:pt x="16800" y="14727"/>
                  </a:cubicBezTo>
                  <a:cubicBezTo>
                    <a:pt x="16800" y="14186"/>
                    <a:pt x="16262" y="13745"/>
                    <a:pt x="15600" y="13745"/>
                  </a:cubicBezTo>
                  <a:moveTo>
                    <a:pt x="14400" y="20618"/>
                  </a:moveTo>
                  <a:lnTo>
                    <a:pt x="7200" y="20618"/>
                  </a:lnTo>
                  <a:cubicBezTo>
                    <a:pt x="3892" y="20618"/>
                    <a:pt x="1200" y="18416"/>
                    <a:pt x="1200" y="15709"/>
                  </a:cubicBezTo>
                  <a:cubicBezTo>
                    <a:pt x="1200" y="13123"/>
                    <a:pt x="2182" y="11620"/>
                    <a:pt x="3320" y="9880"/>
                  </a:cubicBezTo>
                  <a:cubicBezTo>
                    <a:pt x="3477" y="9639"/>
                    <a:pt x="3636" y="9392"/>
                    <a:pt x="3797" y="9140"/>
                  </a:cubicBezTo>
                  <a:cubicBezTo>
                    <a:pt x="3905" y="9093"/>
                    <a:pt x="6420" y="8038"/>
                    <a:pt x="9814" y="9625"/>
                  </a:cubicBezTo>
                  <a:cubicBezTo>
                    <a:pt x="10959" y="10160"/>
                    <a:pt x="12064" y="10360"/>
                    <a:pt x="13079" y="10360"/>
                  </a:cubicBezTo>
                  <a:cubicBezTo>
                    <a:pt x="15152" y="10360"/>
                    <a:pt x="16846" y="9523"/>
                    <a:pt x="17711" y="8991"/>
                  </a:cubicBezTo>
                  <a:cubicBezTo>
                    <a:pt x="17902" y="9295"/>
                    <a:pt x="18093" y="9592"/>
                    <a:pt x="18280" y="9880"/>
                  </a:cubicBezTo>
                  <a:cubicBezTo>
                    <a:pt x="19418" y="11620"/>
                    <a:pt x="20400" y="13123"/>
                    <a:pt x="20400" y="15709"/>
                  </a:cubicBezTo>
                  <a:cubicBezTo>
                    <a:pt x="20400" y="18416"/>
                    <a:pt x="17708" y="20618"/>
                    <a:pt x="14400" y="20618"/>
                  </a:cubicBezTo>
                  <a:moveTo>
                    <a:pt x="5967" y="2945"/>
                  </a:moveTo>
                  <a:lnTo>
                    <a:pt x="15633" y="2945"/>
                  </a:lnTo>
                  <a:cubicBezTo>
                    <a:pt x="15782" y="5133"/>
                    <a:pt x="16425" y="6735"/>
                    <a:pt x="17180" y="8090"/>
                  </a:cubicBezTo>
                  <a:cubicBezTo>
                    <a:pt x="16281" y="8690"/>
                    <a:pt x="13509" y="10220"/>
                    <a:pt x="10410" y="8772"/>
                  </a:cubicBezTo>
                  <a:cubicBezTo>
                    <a:pt x="7921" y="7609"/>
                    <a:pt x="5800" y="7679"/>
                    <a:pt x="4520" y="7912"/>
                  </a:cubicBezTo>
                  <a:cubicBezTo>
                    <a:pt x="5231" y="6594"/>
                    <a:pt x="5824" y="5037"/>
                    <a:pt x="5967" y="2945"/>
                  </a:cubicBezTo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43" y="2945"/>
                  </a:move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757" y="2945"/>
                  </a:lnTo>
                  <a:cubicBezTo>
                    <a:pt x="4322" y="8937"/>
                    <a:pt x="0" y="10114"/>
                    <a:pt x="0" y="15709"/>
                  </a:cubicBezTo>
                  <a:cubicBezTo>
                    <a:pt x="0" y="18962"/>
                    <a:pt x="3224" y="21600"/>
                    <a:pt x="7200" y="21600"/>
                  </a:cubicBezTo>
                  <a:lnTo>
                    <a:pt x="14400" y="21600"/>
                  </a:lnTo>
                  <a:cubicBezTo>
                    <a:pt x="18376" y="21600"/>
                    <a:pt x="21600" y="18962"/>
                    <a:pt x="21600" y="15709"/>
                  </a:cubicBezTo>
                  <a:cubicBezTo>
                    <a:pt x="21600" y="10114"/>
                    <a:pt x="17278" y="8937"/>
                    <a:pt x="16843" y="2945"/>
                  </a:cubicBezTo>
                  <a:moveTo>
                    <a:pt x="17400" y="11782"/>
                  </a:moveTo>
                  <a:cubicBezTo>
                    <a:pt x="17068" y="11782"/>
                    <a:pt x="16800" y="12001"/>
                    <a:pt x="16800" y="12273"/>
                  </a:cubicBezTo>
                  <a:cubicBezTo>
                    <a:pt x="16800" y="12544"/>
                    <a:pt x="17068" y="12764"/>
                    <a:pt x="17400" y="12764"/>
                  </a:cubicBezTo>
                  <a:cubicBezTo>
                    <a:pt x="17732" y="12764"/>
                    <a:pt x="18000" y="12544"/>
                    <a:pt x="18000" y="12273"/>
                  </a:cubicBezTo>
                  <a:cubicBezTo>
                    <a:pt x="18000" y="12001"/>
                    <a:pt x="17732" y="11782"/>
                    <a:pt x="17400" y="11782"/>
                  </a:cubicBezTo>
                  <a:moveTo>
                    <a:pt x="6000" y="10800"/>
                  </a:moveTo>
                  <a:cubicBezTo>
                    <a:pt x="5338" y="10800"/>
                    <a:pt x="4800" y="11240"/>
                    <a:pt x="4800" y="11782"/>
                  </a:cubicBezTo>
                  <a:cubicBezTo>
                    <a:pt x="4800" y="12324"/>
                    <a:pt x="5338" y="12764"/>
                    <a:pt x="6000" y="12764"/>
                  </a:cubicBezTo>
                  <a:cubicBezTo>
                    <a:pt x="6662" y="12764"/>
                    <a:pt x="7200" y="12324"/>
                    <a:pt x="7200" y="11782"/>
                  </a:cubicBezTo>
                  <a:cubicBezTo>
                    <a:pt x="7200" y="11240"/>
                    <a:pt x="6662" y="10800"/>
                    <a:pt x="6000" y="10800"/>
                  </a:cubicBezTo>
                  <a:moveTo>
                    <a:pt x="5400" y="16691"/>
                  </a:moveTo>
                  <a:cubicBezTo>
                    <a:pt x="5068" y="16691"/>
                    <a:pt x="4800" y="16910"/>
                    <a:pt x="4800" y="17182"/>
                  </a:cubicBezTo>
                  <a:cubicBezTo>
                    <a:pt x="4800" y="17453"/>
                    <a:pt x="5068" y="17673"/>
                    <a:pt x="5400" y="17673"/>
                  </a:cubicBezTo>
                  <a:cubicBezTo>
                    <a:pt x="5732" y="17673"/>
                    <a:pt x="6000" y="17453"/>
                    <a:pt x="6000" y="17182"/>
                  </a:cubicBezTo>
                  <a:cubicBezTo>
                    <a:pt x="6000" y="16910"/>
                    <a:pt x="5732" y="16691"/>
                    <a:pt x="540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754">
              <a:extLst>
                <a:ext uri="{FF2B5EF4-FFF2-40B4-BE49-F238E27FC236}">
                  <a16:creationId xmlns:a16="http://schemas.microsoft.com/office/drawing/2014/main" id="{DDB74D1F-793B-4066-8713-19B5F1DD29C1}"/>
                </a:ext>
              </a:extLst>
            </p:cNvPr>
            <p:cNvSpPr/>
            <p:nvPr/>
          </p:nvSpPr>
          <p:spPr bwMode="gray">
            <a:xfrm>
              <a:off x="9484363" y="39413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709"/>
                  </a:moveTo>
                  <a:cubicBezTo>
                    <a:pt x="10203" y="15709"/>
                    <a:pt x="9720" y="16149"/>
                    <a:pt x="9720" y="16691"/>
                  </a:cubicBezTo>
                  <a:cubicBezTo>
                    <a:pt x="9720" y="17233"/>
                    <a:pt x="10203" y="17673"/>
                    <a:pt x="10800" y="17673"/>
                  </a:cubicBezTo>
                  <a:cubicBezTo>
                    <a:pt x="11396" y="17673"/>
                    <a:pt x="11880" y="17233"/>
                    <a:pt x="11880" y="16691"/>
                  </a:cubicBezTo>
                  <a:cubicBezTo>
                    <a:pt x="11880" y="16149"/>
                    <a:pt x="11396" y="15709"/>
                    <a:pt x="10800" y="15709"/>
                  </a:cubicBezTo>
                  <a:moveTo>
                    <a:pt x="12960" y="10800"/>
                  </a:moveTo>
                  <a:cubicBezTo>
                    <a:pt x="12363" y="10800"/>
                    <a:pt x="11880" y="11240"/>
                    <a:pt x="11880" y="11782"/>
                  </a:cubicBezTo>
                  <a:cubicBezTo>
                    <a:pt x="11880" y="12324"/>
                    <a:pt x="12363" y="12764"/>
                    <a:pt x="12960" y="12764"/>
                  </a:cubicBezTo>
                  <a:cubicBezTo>
                    <a:pt x="13556" y="12764"/>
                    <a:pt x="14040" y="12324"/>
                    <a:pt x="14040" y="11782"/>
                  </a:cubicBezTo>
                  <a:cubicBezTo>
                    <a:pt x="14040" y="11240"/>
                    <a:pt x="13556" y="10800"/>
                    <a:pt x="12960" y="10800"/>
                  </a:cubicBezTo>
                  <a:moveTo>
                    <a:pt x="15660" y="14727"/>
                  </a:moveTo>
                  <a:cubicBezTo>
                    <a:pt x="15362" y="14727"/>
                    <a:pt x="15120" y="14947"/>
                    <a:pt x="15120" y="15218"/>
                  </a:cubicBezTo>
                  <a:cubicBezTo>
                    <a:pt x="15120" y="15490"/>
                    <a:pt x="15362" y="15709"/>
                    <a:pt x="15660" y="15709"/>
                  </a:cubicBezTo>
                  <a:cubicBezTo>
                    <a:pt x="15958" y="15709"/>
                    <a:pt x="16200" y="15490"/>
                    <a:pt x="16200" y="15218"/>
                  </a:cubicBezTo>
                  <a:cubicBezTo>
                    <a:pt x="16200" y="14947"/>
                    <a:pt x="15958" y="14727"/>
                    <a:pt x="15660" y="14727"/>
                  </a:cubicBezTo>
                  <a:moveTo>
                    <a:pt x="16740" y="17673"/>
                  </a:moveTo>
                  <a:cubicBezTo>
                    <a:pt x="16442" y="17673"/>
                    <a:pt x="16200" y="17892"/>
                    <a:pt x="16200" y="18164"/>
                  </a:cubicBezTo>
                  <a:cubicBezTo>
                    <a:pt x="16200" y="18435"/>
                    <a:pt x="16442" y="18655"/>
                    <a:pt x="16740" y="18655"/>
                  </a:cubicBezTo>
                  <a:cubicBezTo>
                    <a:pt x="17038" y="18655"/>
                    <a:pt x="17280" y="18435"/>
                    <a:pt x="17280" y="18164"/>
                  </a:cubicBezTo>
                  <a:cubicBezTo>
                    <a:pt x="17280" y="17892"/>
                    <a:pt x="17038" y="17673"/>
                    <a:pt x="16740" y="17673"/>
                  </a:cubicBezTo>
                  <a:moveTo>
                    <a:pt x="7020" y="13745"/>
                  </a:moveTo>
                  <a:cubicBezTo>
                    <a:pt x="6722" y="13745"/>
                    <a:pt x="6480" y="13525"/>
                    <a:pt x="6480" y="13255"/>
                  </a:cubicBezTo>
                  <a:cubicBezTo>
                    <a:pt x="6480" y="12983"/>
                    <a:pt x="6722" y="12764"/>
                    <a:pt x="7020" y="12764"/>
                  </a:cubicBezTo>
                  <a:cubicBezTo>
                    <a:pt x="7318" y="12764"/>
                    <a:pt x="7560" y="12983"/>
                    <a:pt x="7560" y="13255"/>
                  </a:cubicBezTo>
                  <a:cubicBezTo>
                    <a:pt x="7560" y="13525"/>
                    <a:pt x="7318" y="13745"/>
                    <a:pt x="7020" y="13745"/>
                  </a:cubicBezTo>
                  <a:moveTo>
                    <a:pt x="7020" y="11782"/>
                  </a:moveTo>
                  <a:cubicBezTo>
                    <a:pt x="6126" y="11782"/>
                    <a:pt x="5400" y="12441"/>
                    <a:pt x="5400" y="13255"/>
                  </a:cubicBezTo>
                  <a:cubicBezTo>
                    <a:pt x="5400" y="14068"/>
                    <a:pt x="6126" y="14727"/>
                    <a:pt x="7020" y="14727"/>
                  </a:cubicBezTo>
                  <a:cubicBezTo>
                    <a:pt x="7914" y="14727"/>
                    <a:pt x="8640" y="14068"/>
                    <a:pt x="8640" y="13255"/>
                  </a:cubicBezTo>
                  <a:cubicBezTo>
                    <a:pt x="8640" y="12441"/>
                    <a:pt x="7914" y="11782"/>
                    <a:pt x="7020" y="11782"/>
                  </a:cubicBezTo>
                  <a:moveTo>
                    <a:pt x="16200" y="20618"/>
                  </a:moveTo>
                  <a:lnTo>
                    <a:pt x="5400" y="20618"/>
                  </a:lnTo>
                  <a:cubicBezTo>
                    <a:pt x="5224" y="20618"/>
                    <a:pt x="1080" y="20574"/>
                    <a:pt x="1080" y="16691"/>
                  </a:cubicBezTo>
                  <a:cubicBezTo>
                    <a:pt x="1080" y="12965"/>
                    <a:pt x="3149" y="11214"/>
                    <a:pt x="4975" y="9670"/>
                  </a:cubicBezTo>
                  <a:cubicBezTo>
                    <a:pt x="6031" y="8777"/>
                    <a:pt x="7028" y="7920"/>
                    <a:pt x="7400" y="6808"/>
                  </a:cubicBezTo>
                  <a:cubicBezTo>
                    <a:pt x="7683" y="6848"/>
                    <a:pt x="7974" y="6878"/>
                    <a:pt x="8279" y="6878"/>
                  </a:cubicBezTo>
                  <a:cubicBezTo>
                    <a:pt x="9182" y="6878"/>
                    <a:pt x="10166" y="6687"/>
                    <a:pt x="11184" y="6177"/>
                  </a:cubicBezTo>
                  <a:cubicBezTo>
                    <a:pt x="12256" y="5642"/>
                    <a:pt x="13226" y="5425"/>
                    <a:pt x="14040" y="5367"/>
                  </a:cubicBezTo>
                  <a:lnTo>
                    <a:pt x="14040" y="5891"/>
                  </a:lnTo>
                  <a:cubicBezTo>
                    <a:pt x="14040" y="7483"/>
                    <a:pt x="15296" y="8546"/>
                    <a:pt x="16625" y="9670"/>
                  </a:cubicBezTo>
                  <a:cubicBezTo>
                    <a:pt x="18451" y="11214"/>
                    <a:pt x="20520" y="12965"/>
                    <a:pt x="20520" y="16691"/>
                  </a:cubicBezTo>
                  <a:cubicBezTo>
                    <a:pt x="20520" y="20474"/>
                    <a:pt x="16637" y="20614"/>
                    <a:pt x="16200" y="20618"/>
                  </a:cubicBezTo>
                  <a:moveTo>
                    <a:pt x="14040" y="2945"/>
                  </a:moveTo>
                  <a:lnTo>
                    <a:pt x="14040" y="4432"/>
                  </a:lnTo>
                  <a:cubicBezTo>
                    <a:pt x="13069" y="4489"/>
                    <a:pt x="11917" y="4734"/>
                    <a:pt x="10654" y="5365"/>
                  </a:cubicBezTo>
                  <a:cubicBezTo>
                    <a:pt x="9547" y="5920"/>
                    <a:pt x="8485" y="6015"/>
                    <a:pt x="7560" y="5894"/>
                  </a:cubicBezTo>
                  <a:lnTo>
                    <a:pt x="7560" y="5891"/>
                  </a:lnTo>
                  <a:lnTo>
                    <a:pt x="7560" y="2945"/>
                  </a:lnTo>
                  <a:cubicBezTo>
                    <a:pt x="7560" y="2945"/>
                    <a:pt x="14040" y="2945"/>
                    <a:pt x="14040" y="2945"/>
                  </a:cubicBezTo>
                  <a:close/>
                  <a:moveTo>
                    <a:pt x="5400" y="982"/>
                  </a:moveTo>
                  <a:lnTo>
                    <a:pt x="16200" y="982"/>
                  </a:lnTo>
                  <a:lnTo>
                    <a:pt x="16200" y="1964"/>
                  </a:lnTo>
                  <a:lnTo>
                    <a:pt x="5400" y="1964"/>
                  </a:lnTo>
                  <a:cubicBezTo>
                    <a:pt x="5400" y="1964"/>
                    <a:pt x="5400" y="982"/>
                    <a:pt x="5400" y="982"/>
                  </a:cubicBezTo>
                  <a:close/>
                  <a:moveTo>
                    <a:pt x="15120" y="5891"/>
                  </a:moveTo>
                  <a:lnTo>
                    <a:pt x="15120" y="2945"/>
                  </a:lnTo>
                  <a:lnTo>
                    <a:pt x="16200" y="2945"/>
                  </a:lnTo>
                  <a:cubicBezTo>
                    <a:pt x="16796" y="2945"/>
                    <a:pt x="17280" y="2505"/>
                    <a:pt x="17280" y="1964"/>
                  </a:cubicBezTo>
                  <a:lnTo>
                    <a:pt x="17280" y="982"/>
                  </a:lnTo>
                  <a:cubicBezTo>
                    <a:pt x="17280" y="440"/>
                    <a:pt x="16796" y="0"/>
                    <a:pt x="16200" y="0"/>
                  </a:cubicBezTo>
                  <a:lnTo>
                    <a:pt x="5400" y="0"/>
                  </a:lnTo>
                  <a:cubicBezTo>
                    <a:pt x="4803" y="0"/>
                    <a:pt x="4320" y="440"/>
                    <a:pt x="4320" y="982"/>
                  </a:cubicBezTo>
                  <a:lnTo>
                    <a:pt x="4320" y="1964"/>
                  </a:lnTo>
                  <a:cubicBezTo>
                    <a:pt x="4320" y="2505"/>
                    <a:pt x="4803" y="2945"/>
                    <a:pt x="5400" y="2945"/>
                  </a:cubicBezTo>
                  <a:lnTo>
                    <a:pt x="6480" y="2945"/>
                  </a:lnTo>
                  <a:lnTo>
                    <a:pt x="6480" y="5891"/>
                  </a:lnTo>
                  <a:cubicBezTo>
                    <a:pt x="6480" y="8836"/>
                    <a:pt x="0" y="9818"/>
                    <a:pt x="0" y="16691"/>
                  </a:cubicBezTo>
                  <a:cubicBezTo>
                    <a:pt x="0" y="21600"/>
                    <a:pt x="5400" y="21600"/>
                    <a:pt x="5400" y="21600"/>
                  </a:cubicBezTo>
                  <a:lnTo>
                    <a:pt x="16200" y="21600"/>
                  </a:lnTo>
                  <a:cubicBezTo>
                    <a:pt x="16200" y="21600"/>
                    <a:pt x="21600" y="21600"/>
                    <a:pt x="21600" y="16691"/>
                  </a:cubicBezTo>
                  <a:cubicBezTo>
                    <a:pt x="21600" y="9818"/>
                    <a:pt x="15120" y="8836"/>
                    <a:pt x="15120" y="5891"/>
                  </a:cubicBezTo>
                  <a:moveTo>
                    <a:pt x="5940" y="16691"/>
                  </a:moveTo>
                  <a:cubicBezTo>
                    <a:pt x="5642" y="16691"/>
                    <a:pt x="5400" y="16910"/>
                    <a:pt x="5400" y="17182"/>
                  </a:cubicBezTo>
                  <a:cubicBezTo>
                    <a:pt x="5400" y="17453"/>
                    <a:pt x="5642" y="17673"/>
                    <a:pt x="5940" y="17673"/>
                  </a:cubicBezTo>
                  <a:cubicBezTo>
                    <a:pt x="6238" y="17673"/>
                    <a:pt x="6480" y="17453"/>
                    <a:pt x="6480" y="17182"/>
                  </a:cubicBezTo>
                  <a:cubicBezTo>
                    <a:pt x="6480" y="16910"/>
                    <a:pt x="6238" y="16691"/>
                    <a:pt x="594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755">
              <a:extLst>
                <a:ext uri="{FF2B5EF4-FFF2-40B4-BE49-F238E27FC236}">
                  <a16:creationId xmlns:a16="http://schemas.microsoft.com/office/drawing/2014/main" id="{DC1045F3-CC80-4986-BEC9-76E3E2615231}"/>
                </a:ext>
              </a:extLst>
            </p:cNvPr>
            <p:cNvSpPr/>
            <p:nvPr/>
          </p:nvSpPr>
          <p:spPr bwMode="gray">
            <a:xfrm>
              <a:off x="10049213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4909"/>
                  </a:moveTo>
                  <a:lnTo>
                    <a:pt x="19200" y="4909"/>
                  </a:lnTo>
                  <a:lnTo>
                    <a:pt x="19200" y="2945"/>
                  </a:lnTo>
                  <a:cubicBezTo>
                    <a:pt x="19200" y="2674"/>
                    <a:pt x="18932" y="2455"/>
                    <a:pt x="18600" y="2455"/>
                  </a:cubicBezTo>
                  <a:cubicBezTo>
                    <a:pt x="18268" y="2455"/>
                    <a:pt x="18000" y="2674"/>
                    <a:pt x="18000" y="2945"/>
                  </a:cubicBezTo>
                  <a:lnTo>
                    <a:pt x="18000" y="4909"/>
                  </a:lnTo>
                  <a:lnTo>
                    <a:pt x="16800" y="4909"/>
                  </a:lnTo>
                  <a:lnTo>
                    <a:pt x="16800" y="2945"/>
                  </a:lnTo>
                  <a:cubicBezTo>
                    <a:pt x="16800" y="2674"/>
                    <a:pt x="16532" y="2455"/>
                    <a:pt x="16200" y="2455"/>
                  </a:cubicBezTo>
                  <a:cubicBezTo>
                    <a:pt x="15868" y="2455"/>
                    <a:pt x="15600" y="2674"/>
                    <a:pt x="15600" y="2945"/>
                  </a:cubicBezTo>
                  <a:lnTo>
                    <a:pt x="15600" y="4909"/>
                  </a:lnTo>
                  <a:lnTo>
                    <a:pt x="14400" y="4909"/>
                  </a:lnTo>
                  <a:lnTo>
                    <a:pt x="14400" y="2455"/>
                  </a:lnTo>
                  <a:cubicBezTo>
                    <a:pt x="14400" y="2183"/>
                    <a:pt x="14132" y="1964"/>
                    <a:pt x="13800" y="1964"/>
                  </a:cubicBezTo>
                  <a:cubicBezTo>
                    <a:pt x="13468" y="1964"/>
                    <a:pt x="13200" y="2183"/>
                    <a:pt x="13200" y="2455"/>
                  </a:cubicBezTo>
                  <a:lnTo>
                    <a:pt x="13200" y="4909"/>
                  </a:lnTo>
                  <a:lnTo>
                    <a:pt x="12000" y="4909"/>
                  </a:lnTo>
                  <a:lnTo>
                    <a:pt x="12000" y="2945"/>
                  </a:lnTo>
                  <a:cubicBezTo>
                    <a:pt x="12000" y="2674"/>
                    <a:pt x="11732" y="2455"/>
                    <a:pt x="11400" y="2455"/>
                  </a:cubicBezTo>
                  <a:cubicBezTo>
                    <a:pt x="11068" y="2455"/>
                    <a:pt x="10800" y="2674"/>
                    <a:pt x="10800" y="2945"/>
                  </a:cubicBezTo>
                  <a:lnTo>
                    <a:pt x="10800" y="4909"/>
                  </a:lnTo>
                  <a:lnTo>
                    <a:pt x="9600" y="4909"/>
                  </a:lnTo>
                  <a:lnTo>
                    <a:pt x="9600" y="2455"/>
                  </a:lnTo>
                  <a:cubicBezTo>
                    <a:pt x="9600" y="2183"/>
                    <a:pt x="9332" y="1964"/>
                    <a:pt x="9000" y="1964"/>
                  </a:cubicBezTo>
                  <a:cubicBezTo>
                    <a:pt x="8668" y="1964"/>
                    <a:pt x="8400" y="2183"/>
                    <a:pt x="8400" y="2455"/>
                  </a:cubicBezTo>
                  <a:lnTo>
                    <a:pt x="8400" y="4909"/>
                  </a:lnTo>
                  <a:lnTo>
                    <a:pt x="6000" y="4909"/>
                  </a:lnTo>
                  <a:lnTo>
                    <a:pt x="6000" y="2945"/>
                  </a:lnTo>
                  <a:cubicBezTo>
                    <a:pt x="6000" y="2674"/>
                    <a:pt x="5732" y="2455"/>
                    <a:pt x="5400" y="2455"/>
                  </a:cubicBezTo>
                  <a:cubicBezTo>
                    <a:pt x="5068" y="2455"/>
                    <a:pt x="4800" y="2674"/>
                    <a:pt x="4800" y="2945"/>
                  </a:cubicBezTo>
                  <a:lnTo>
                    <a:pt x="4800" y="4909"/>
                  </a:lnTo>
                  <a:lnTo>
                    <a:pt x="3600" y="4909"/>
                  </a:lnTo>
                  <a:lnTo>
                    <a:pt x="3600" y="2455"/>
                  </a:lnTo>
                  <a:cubicBezTo>
                    <a:pt x="3600" y="2183"/>
                    <a:pt x="3332" y="1964"/>
                    <a:pt x="3000" y="1964"/>
                  </a:cubicBezTo>
                  <a:cubicBezTo>
                    <a:pt x="2668" y="1964"/>
                    <a:pt x="2400" y="2183"/>
                    <a:pt x="2400" y="2455"/>
                  </a:cubicBezTo>
                  <a:lnTo>
                    <a:pt x="2400" y="4909"/>
                  </a:lnTo>
                  <a:lnTo>
                    <a:pt x="1200" y="4909"/>
                  </a:lnTo>
                  <a:lnTo>
                    <a:pt x="1200" y="982"/>
                  </a:lnTo>
                  <a:lnTo>
                    <a:pt x="20400" y="982"/>
                  </a:lnTo>
                  <a:cubicBezTo>
                    <a:pt x="20400" y="982"/>
                    <a:pt x="20400" y="4909"/>
                    <a:pt x="20400" y="4909"/>
                  </a:cubicBezTo>
                  <a:close/>
                  <a:moveTo>
                    <a:pt x="20400" y="10309"/>
                  </a:moveTo>
                  <a:lnTo>
                    <a:pt x="19200" y="10309"/>
                  </a:lnTo>
                  <a:lnTo>
                    <a:pt x="19200" y="7855"/>
                  </a:lnTo>
                  <a:cubicBezTo>
                    <a:pt x="19200" y="7583"/>
                    <a:pt x="18932" y="7364"/>
                    <a:pt x="18600" y="7364"/>
                  </a:cubicBezTo>
                  <a:cubicBezTo>
                    <a:pt x="18268" y="7364"/>
                    <a:pt x="18000" y="7583"/>
                    <a:pt x="18000" y="7855"/>
                  </a:cubicBezTo>
                  <a:lnTo>
                    <a:pt x="18000" y="10309"/>
                  </a:lnTo>
                  <a:lnTo>
                    <a:pt x="16800" y="10309"/>
                  </a:lnTo>
                  <a:lnTo>
                    <a:pt x="16800" y="7364"/>
                  </a:lnTo>
                  <a:cubicBezTo>
                    <a:pt x="16800" y="7092"/>
                    <a:pt x="16532" y="6873"/>
                    <a:pt x="16200" y="6873"/>
                  </a:cubicBezTo>
                  <a:cubicBezTo>
                    <a:pt x="15868" y="6873"/>
                    <a:pt x="15600" y="7092"/>
                    <a:pt x="15600" y="7364"/>
                  </a:cubicBezTo>
                  <a:lnTo>
                    <a:pt x="15600" y="10309"/>
                  </a:lnTo>
                  <a:lnTo>
                    <a:pt x="14400" y="10309"/>
                  </a:lnTo>
                  <a:lnTo>
                    <a:pt x="14400" y="7855"/>
                  </a:lnTo>
                  <a:cubicBezTo>
                    <a:pt x="14400" y="7583"/>
                    <a:pt x="14132" y="7364"/>
                    <a:pt x="13800" y="7364"/>
                  </a:cubicBezTo>
                  <a:cubicBezTo>
                    <a:pt x="13468" y="7364"/>
                    <a:pt x="13200" y="7583"/>
                    <a:pt x="13200" y="7855"/>
                  </a:cubicBezTo>
                  <a:lnTo>
                    <a:pt x="13200" y="10309"/>
                  </a:lnTo>
                  <a:lnTo>
                    <a:pt x="12000" y="10309"/>
                  </a:lnTo>
                  <a:lnTo>
                    <a:pt x="12000" y="7364"/>
                  </a:lnTo>
                  <a:cubicBezTo>
                    <a:pt x="12000" y="7092"/>
                    <a:pt x="11732" y="6873"/>
                    <a:pt x="11400" y="6873"/>
                  </a:cubicBezTo>
                  <a:cubicBezTo>
                    <a:pt x="11068" y="6873"/>
                    <a:pt x="10800" y="7092"/>
                    <a:pt x="10800" y="7364"/>
                  </a:cubicBezTo>
                  <a:lnTo>
                    <a:pt x="10800" y="10309"/>
                  </a:lnTo>
                  <a:lnTo>
                    <a:pt x="8400" y="10309"/>
                  </a:lnTo>
                  <a:lnTo>
                    <a:pt x="8400" y="7855"/>
                  </a:lnTo>
                  <a:cubicBezTo>
                    <a:pt x="8400" y="7583"/>
                    <a:pt x="8132" y="7364"/>
                    <a:pt x="7800" y="7364"/>
                  </a:cubicBezTo>
                  <a:cubicBezTo>
                    <a:pt x="7468" y="7364"/>
                    <a:pt x="7200" y="7583"/>
                    <a:pt x="7200" y="7855"/>
                  </a:cubicBezTo>
                  <a:lnTo>
                    <a:pt x="7200" y="10309"/>
                  </a:lnTo>
                  <a:lnTo>
                    <a:pt x="6000" y="10309"/>
                  </a:lnTo>
                  <a:lnTo>
                    <a:pt x="6000" y="7855"/>
                  </a:lnTo>
                  <a:cubicBezTo>
                    <a:pt x="6000" y="7583"/>
                    <a:pt x="5732" y="7364"/>
                    <a:pt x="5400" y="7364"/>
                  </a:cubicBezTo>
                  <a:cubicBezTo>
                    <a:pt x="5068" y="7364"/>
                    <a:pt x="4800" y="7583"/>
                    <a:pt x="4800" y="7855"/>
                  </a:cubicBezTo>
                  <a:lnTo>
                    <a:pt x="4800" y="10309"/>
                  </a:lnTo>
                  <a:lnTo>
                    <a:pt x="3600" y="10309"/>
                  </a:lnTo>
                  <a:lnTo>
                    <a:pt x="3600" y="7364"/>
                  </a:lnTo>
                  <a:cubicBezTo>
                    <a:pt x="3600" y="7092"/>
                    <a:pt x="3332" y="6873"/>
                    <a:pt x="3000" y="6873"/>
                  </a:cubicBezTo>
                  <a:cubicBezTo>
                    <a:pt x="2668" y="6873"/>
                    <a:pt x="2400" y="7092"/>
                    <a:pt x="2400" y="7364"/>
                  </a:cubicBezTo>
                  <a:lnTo>
                    <a:pt x="2400" y="10309"/>
                  </a:lnTo>
                  <a:lnTo>
                    <a:pt x="1200" y="10309"/>
                  </a:lnTo>
                  <a:lnTo>
                    <a:pt x="1200" y="5891"/>
                  </a:lnTo>
                  <a:lnTo>
                    <a:pt x="20400" y="5891"/>
                  </a:lnTo>
                  <a:cubicBezTo>
                    <a:pt x="20400" y="5891"/>
                    <a:pt x="20400" y="10309"/>
                    <a:pt x="20400" y="10309"/>
                  </a:cubicBezTo>
                  <a:close/>
                  <a:moveTo>
                    <a:pt x="20400" y="15709"/>
                  </a:moveTo>
                  <a:lnTo>
                    <a:pt x="19200" y="15709"/>
                  </a:lnTo>
                  <a:lnTo>
                    <a:pt x="19200" y="13255"/>
                  </a:lnTo>
                  <a:cubicBezTo>
                    <a:pt x="19200" y="12983"/>
                    <a:pt x="18932" y="12764"/>
                    <a:pt x="18600" y="12764"/>
                  </a:cubicBezTo>
                  <a:cubicBezTo>
                    <a:pt x="18268" y="12764"/>
                    <a:pt x="18000" y="12983"/>
                    <a:pt x="18000" y="13255"/>
                  </a:cubicBezTo>
                  <a:lnTo>
                    <a:pt x="18000" y="15709"/>
                  </a:lnTo>
                  <a:lnTo>
                    <a:pt x="16800" y="15709"/>
                  </a:lnTo>
                  <a:lnTo>
                    <a:pt x="16800" y="13255"/>
                  </a:lnTo>
                  <a:cubicBezTo>
                    <a:pt x="16800" y="12983"/>
                    <a:pt x="16532" y="12764"/>
                    <a:pt x="16200" y="12764"/>
                  </a:cubicBezTo>
                  <a:cubicBezTo>
                    <a:pt x="15868" y="12764"/>
                    <a:pt x="15600" y="12983"/>
                    <a:pt x="15600" y="13255"/>
                  </a:cubicBezTo>
                  <a:lnTo>
                    <a:pt x="15600" y="15709"/>
                  </a:lnTo>
                  <a:lnTo>
                    <a:pt x="13200" y="15709"/>
                  </a:lnTo>
                  <a:lnTo>
                    <a:pt x="13200" y="13745"/>
                  </a:lnTo>
                  <a:cubicBezTo>
                    <a:pt x="13200" y="13474"/>
                    <a:pt x="12932" y="13255"/>
                    <a:pt x="12600" y="13255"/>
                  </a:cubicBezTo>
                  <a:cubicBezTo>
                    <a:pt x="12268" y="13255"/>
                    <a:pt x="12000" y="13474"/>
                    <a:pt x="12000" y="13745"/>
                  </a:cubicBezTo>
                  <a:lnTo>
                    <a:pt x="12000" y="15709"/>
                  </a:lnTo>
                  <a:lnTo>
                    <a:pt x="10800" y="15709"/>
                  </a:lnTo>
                  <a:lnTo>
                    <a:pt x="10800" y="13745"/>
                  </a:lnTo>
                  <a:cubicBezTo>
                    <a:pt x="10800" y="13474"/>
                    <a:pt x="10532" y="13255"/>
                    <a:pt x="10200" y="13255"/>
                  </a:cubicBezTo>
                  <a:cubicBezTo>
                    <a:pt x="9868" y="13255"/>
                    <a:pt x="9600" y="13474"/>
                    <a:pt x="9600" y="13745"/>
                  </a:cubicBezTo>
                  <a:lnTo>
                    <a:pt x="9600" y="15709"/>
                  </a:lnTo>
                  <a:lnTo>
                    <a:pt x="8400" y="15709"/>
                  </a:lnTo>
                  <a:lnTo>
                    <a:pt x="8400" y="13255"/>
                  </a:lnTo>
                  <a:cubicBezTo>
                    <a:pt x="8400" y="12983"/>
                    <a:pt x="8132" y="12764"/>
                    <a:pt x="7800" y="12764"/>
                  </a:cubicBezTo>
                  <a:cubicBezTo>
                    <a:pt x="7468" y="12764"/>
                    <a:pt x="7200" y="12983"/>
                    <a:pt x="7200" y="13255"/>
                  </a:cubicBezTo>
                  <a:lnTo>
                    <a:pt x="7200" y="15709"/>
                  </a:lnTo>
                  <a:lnTo>
                    <a:pt x="6000" y="15709"/>
                  </a:lnTo>
                  <a:lnTo>
                    <a:pt x="6000" y="13745"/>
                  </a:lnTo>
                  <a:cubicBezTo>
                    <a:pt x="6000" y="13474"/>
                    <a:pt x="5732" y="13255"/>
                    <a:pt x="5400" y="13255"/>
                  </a:cubicBezTo>
                  <a:cubicBezTo>
                    <a:pt x="5068" y="13255"/>
                    <a:pt x="4800" y="13474"/>
                    <a:pt x="4800" y="13745"/>
                  </a:cubicBezTo>
                  <a:lnTo>
                    <a:pt x="4800" y="15709"/>
                  </a:lnTo>
                  <a:lnTo>
                    <a:pt x="1200" y="15709"/>
                  </a:lnTo>
                  <a:lnTo>
                    <a:pt x="1200" y="11291"/>
                  </a:lnTo>
                  <a:lnTo>
                    <a:pt x="20400" y="11291"/>
                  </a:lnTo>
                  <a:cubicBezTo>
                    <a:pt x="20400" y="11291"/>
                    <a:pt x="20400" y="15709"/>
                    <a:pt x="20400" y="15709"/>
                  </a:cubicBezTo>
                  <a:close/>
                  <a:moveTo>
                    <a:pt x="20400" y="20618"/>
                  </a:moveTo>
                  <a:lnTo>
                    <a:pt x="19200" y="20618"/>
                  </a:lnTo>
                  <a:lnTo>
                    <a:pt x="19200" y="18655"/>
                  </a:lnTo>
                  <a:cubicBezTo>
                    <a:pt x="19200" y="18383"/>
                    <a:pt x="18932" y="18164"/>
                    <a:pt x="18600" y="18164"/>
                  </a:cubicBezTo>
                  <a:cubicBezTo>
                    <a:pt x="18268" y="18164"/>
                    <a:pt x="18000" y="18383"/>
                    <a:pt x="18000" y="18655"/>
                  </a:cubicBezTo>
                  <a:lnTo>
                    <a:pt x="18000" y="20618"/>
                  </a:lnTo>
                  <a:lnTo>
                    <a:pt x="16800" y="20618"/>
                  </a:lnTo>
                  <a:lnTo>
                    <a:pt x="16800" y="18655"/>
                  </a:lnTo>
                  <a:cubicBezTo>
                    <a:pt x="16800" y="18383"/>
                    <a:pt x="16532" y="18164"/>
                    <a:pt x="16200" y="18164"/>
                  </a:cubicBezTo>
                  <a:cubicBezTo>
                    <a:pt x="15868" y="18164"/>
                    <a:pt x="15600" y="18383"/>
                    <a:pt x="15600" y="18655"/>
                  </a:cubicBezTo>
                  <a:lnTo>
                    <a:pt x="15600" y="20618"/>
                  </a:lnTo>
                  <a:lnTo>
                    <a:pt x="14400" y="20618"/>
                  </a:lnTo>
                  <a:lnTo>
                    <a:pt x="14400" y="18164"/>
                  </a:lnTo>
                  <a:cubicBezTo>
                    <a:pt x="14400" y="17892"/>
                    <a:pt x="14132" y="17673"/>
                    <a:pt x="13800" y="17673"/>
                  </a:cubicBezTo>
                  <a:cubicBezTo>
                    <a:pt x="13468" y="17673"/>
                    <a:pt x="13200" y="17892"/>
                    <a:pt x="13200" y="18164"/>
                  </a:cubicBezTo>
                  <a:lnTo>
                    <a:pt x="13200" y="20618"/>
                  </a:lnTo>
                  <a:lnTo>
                    <a:pt x="10800" y="20618"/>
                  </a:lnTo>
                  <a:lnTo>
                    <a:pt x="10800" y="18164"/>
                  </a:lnTo>
                  <a:cubicBezTo>
                    <a:pt x="10800" y="17892"/>
                    <a:pt x="10532" y="17673"/>
                    <a:pt x="10200" y="17673"/>
                  </a:cubicBezTo>
                  <a:cubicBezTo>
                    <a:pt x="9868" y="17673"/>
                    <a:pt x="9600" y="17892"/>
                    <a:pt x="9600" y="18164"/>
                  </a:cubicBezTo>
                  <a:lnTo>
                    <a:pt x="9600" y="20618"/>
                  </a:lnTo>
                  <a:lnTo>
                    <a:pt x="8400" y="20618"/>
                  </a:lnTo>
                  <a:lnTo>
                    <a:pt x="8400" y="18655"/>
                  </a:lnTo>
                  <a:cubicBezTo>
                    <a:pt x="8400" y="18383"/>
                    <a:pt x="8132" y="18164"/>
                    <a:pt x="7800" y="18164"/>
                  </a:cubicBezTo>
                  <a:cubicBezTo>
                    <a:pt x="7468" y="18164"/>
                    <a:pt x="7200" y="18383"/>
                    <a:pt x="7200" y="18655"/>
                  </a:cubicBezTo>
                  <a:lnTo>
                    <a:pt x="7200" y="20618"/>
                  </a:lnTo>
                  <a:lnTo>
                    <a:pt x="6000" y="20618"/>
                  </a:lnTo>
                  <a:lnTo>
                    <a:pt x="6000" y="18164"/>
                  </a:lnTo>
                  <a:cubicBezTo>
                    <a:pt x="6000" y="17892"/>
                    <a:pt x="5732" y="17673"/>
                    <a:pt x="5400" y="17673"/>
                  </a:cubicBezTo>
                  <a:cubicBezTo>
                    <a:pt x="5068" y="17673"/>
                    <a:pt x="4800" y="17892"/>
                    <a:pt x="4800" y="18164"/>
                  </a:cubicBezTo>
                  <a:lnTo>
                    <a:pt x="4800" y="20618"/>
                  </a:lnTo>
                  <a:lnTo>
                    <a:pt x="3600" y="20618"/>
                  </a:lnTo>
                  <a:lnTo>
                    <a:pt x="3600" y="18655"/>
                  </a:lnTo>
                  <a:cubicBezTo>
                    <a:pt x="3600" y="18383"/>
                    <a:pt x="3332" y="18164"/>
                    <a:pt x="3000" y="18164"/>
                  </a:cubicBezTo>
                  <a:cubicBezTo>
                    <a:pt x="2668" y="18164"/>
                    <a:pt x="2400" y="18383"/>
                    <a:pt x="2400" y="18655"/>
                  </a:cubicBezTo>
                  <a:lnTo>
                    <a:pt x="2400" y="20618"/>
                  </a:lnTo>
                  <a:lnTo>
                    <a:pt x="1200" y="20618"/>
                  </a:lnTo>
                  <a:lnTo>
                    <a:pt x="1200" y="16691"/>
                  </a:lnTo>
                  <a:lnTo>
                    <a:pt x="20400" y="16691"/>
                  </a:lnTo>
                  <a:cubicBezTo>
                    <a:pt x="20400" y="16691"/>
                    <a:pt x="20400" y="20618"/>
                    <a:pt x="20400" y="20618"/>
                  </a:cubicBezTo>
                  <a:close/>
                  <a:moveTo>
                    <a:pt x="20400" y="0"/>
                  </a:moveTo>
                  <a:lnTo>
                    <a:pt x="1200" y="0"/>
                  </a:lnTo>
                  <a:cubicBezTo>
                    <a:pt x="537" y="0"/>
                    <a:pt x="0" y="440"/>
                    <a:pt x="0" y="982"/>
                  </a:cubicBezTo>
                  <a:lnTo>
                    <a:pt x="0" y="20618"/>
                  </a:lnTo>
                  <a:cubicBezTo>
                    <a:pt x="0" y="21160"/>
                    <a:pt x="537" y="21600"/>
                    <a:pt x="1200" y="21600"/>
                  </a:cubicBezTo>
                  <a:lnTo>
                    <a:pt x="20400" y="21600"/>
                  </a:lnTo>
                  <a:cubicBezTo>
                    <a:pt x="21062" y="21600"/>
                    <a:pt x="21600" y="21160"/>
                    <a:pt x="21600" y="20618"/>
                  </a:cubicBezTo>
                  <a:lnTo>
                    <a:pt x="21600" y="982"/>
                  </a:lnTo>
                  <a:cubicBezTo>
                    <a:pt x="21600" y="440"/>
                    <a:pt x="21062" y="0"/>
                    <a:pt x="204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756">
              <a:extLst>
                <a:ext uri="{FF2B5EF4-FFF2-40B4-BE49-F238E27FC236}">
                  <a16:creationId xmlns:a16="http://schemas.microsoft.com/office/drawing/2014/main" id="{2EFFE74C-FF3B-442A-9020-4F830DCB59B5}"/>
                </a:ext>
              </a:extLst>
            </p:cNvPr>
            <p:cNvSpPr/>
            <p:nvPr/>
          </p:nvSpPr>
          <p:spPr bwMode="gray">
            <a:xfrm>
              <a:off x="10574655" y="402016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19440"/>
                  </a:moveTo>
                  <a:cubicBezTo>
                    <a:pt x="17951" y="19440"/>
                    <a:pt x="17182" y="17747"/>
                    <a:pt x="17182" y="15660"/>
                  </a:cubicBezTo>
                  <a:cubicBezTo>
                    <a:pt x="17182" y="14601"/>
                    <a:pt x="17381" y="13647"/>
                    <a:pt x="17700" y="12960"/>
                  </a:cubicBezTo>
                  <a:lnTo>
                    <a:pt x="3900" y="12960"/>
                  </a:lnTo>
                  <a:cubicBezTo>
                    <a:pt x="4219" y="13647"/>
                    <a:pt x="4418" y="14601"/>
                    <a:pt x="4418" y="15660"/>
                  </a:cubicBezTo>
                  <a:cubicBezTo>
                    <a:pt x="4418" y="17747"/>
                    <a:pt x="3649" y="19440"/>
                    <a:pt x="2700" y="19440"/>
                  </a:cubicBezTo>
                  <a:cubicBezTo>
                    <a:pt x="1751" y="19440"/>
                    <a:pt x="982" y="17747"/>
                    <a:pt x="982" y="15660"/>
                  </a:cubicBezTo>
                  <a:cubicBezTo>
                    <a:pt x="982" y="13757"/>
                    <a:pt x="1623" y="12199"/>
                    <a:pt x="2455" y="11935"/>
                  </a:cubicBezTo>
                  <a:lnTo>
                    <a:pt x="2455" y="11880"/>
                  </a:lnTo>
                  <a:cubicBezTo>
                    <a:pt x="2726" y="11880"/>
                    <a:pt x="2945" y="11397"/>
                    <a:pt x="2945" y="10800"/>
                  </a:cubicBezTo>
                  <a:cubicBezTo>
                    <a:pt x="2945" y="10203"/>
                    <a:pt x="2726" y="9720"/>
                    <a:pt x="2455" y="9720"/>
                  </a:cubicBezTo>
                  <a:lnTo>
                    <a:pt x="2455" y="9665"/>
                  </a:lnTo>
                  <a:cubicBezTo>
                    <a:pt x="1623" y="9401"/>
                    <a:pt x="982" y="7843"/>
                    <a:pt x="982" y="5940"/>
                  </a:cubicBezTo>
                  <a:cubicBezTo>
                    <a:pt x="982" y="3852"/>
                    <a:pt x="1751" y="2160"/>
                    <a:pt x="2700" y="2160"/>
                  </a:cubicBezTo>
                  <a:cubicBezTo>
                    <a:pt x="3649" y="2160"/>
                    <a:pt x="4418" y="3852"/>
                    <a:pt x="4418" y="5940"/>
                  </a:cubicBezTo>
                  <a:cubicBezTo>
                    <a:pt x="4418" y="6999"/>
                    <a:pt x="4219" y="7954"/>
                    <a:pt x="3900" y="8640"/>
                  </a:cubicBezTo>
                  <a:lnTo>
                    <a:pt x="17700" y="8640"/>
                  </a:lnTo>
                  <a:cubicBezTo>
                    <a:pt x="17381" y="7954"/>
                    <a:pt x="17182" y="6999"/>
                    <a:pt x="17182" y="5940"/>
                  </a:cubicBezTo>
                  <a:cubicBezTo>
                    <a:pt x="17182" y="3852"/>
                    <a:pt x="17951" y="2160"/>
                    <a:pt x="18900" y="2160"/>
                  </a:cubicBezTo>
                  <a:cubicBezTo>
                    <a:pt x="19849" y="2160"/>
                    <a:pt x="20618" y="3852"/>
                    <a:pt x="20618" y="5940"/>
                  </a:cubicBezTo>
                  <a:cubicBezTo>
                    <a:pt x="20618" y="7843"/>
                    <a:pt x="19977" y="9401"/>
                    <a:pt x="19145" y="9665"/>
                  </a:cubicBezTo>
                  <a:lnTo>
                    <a:pt x="19145" y="9720"/>
                  </a:lnTo>
                  <a:cubicBezTo>
                    <a:pt x="18874" y="9720"/>
                    <a:pt x="18655" y="10203"/>
                    <a:pt x="18655" y="10800"/>
                  </a:cubicBezTo>
                  <a:cubicBezTo>
                    <a:pt x="18655" y="11397"/>
                    <a:pt x="18874" y="11880"/>
                    <a:pt x="19145" y="11880"/>
                  </a:cubicBezTo>
                  <a:lnTo>
                    <a:pt x="19145" y="11935"/>
                  </a:lnTo>
                  <a:cubicBezTo>
                    <a:pt x="19977" y="12199"/>
                    <a:pt x="20618" y="13757"/>
                    <a:pt x="20618" y="15660"/>
                  </a:cubicBezTo>
                  <a:cubicBezTo>
                    <a:pt x="20618" y="17747"/>
                    <a:pt x="19849" y="19440"/>
                    <a:pt x="18900" y="19440"/>
                  </a:cubicBezTo>
                  <a:moveTo>
                    <a:pt x="20449" y="10800"/>
                  </a:moveTo>
                  <a:cubicBezTo>
                    <a:pt x="21145" y="9725"/>
                    <a:pt x="21600" y="7950"/>
                    <a:pt x="21600" y="5940"/>
                  </a:cubicBezTo>
                  <a:cubicBezTo>
                    <a:pt x="21600" y="2660"/>
                    <a:pt x="20391" y="0"/>
                    <a:pt x="18900" y="0"/>
                  </a:cubicBezTo>
                  <a:cubicBezTo>
                    <a:pt x="17409" y="0"/>
                    <a:pt x="16200" y="2660"/>
                    <a:pt x="16200" y="5940"/>
                  </a:cubicBezTo>
                  <a:cubicBezTo>
                    <a:pt x="16200" y="6124"/>
                    <a:pt x="16208" y="6301"/>
                    <a:pt x="16215" y="6480"/>
                  </a:cubicBezTo>
                  <a:lnTo>
                    <a:pt x="5385" y="6480"/>
                  </a:lnTo>
                  <a:cubicBezTo>
                    <a:pt x="5392" y="6301"/>
                    <a:pt x="5400" y="6124"/>
                    <a:pt x="5400" y="5940"/>
                  </a:cubicBezTo>
                  <a:cubicBezTo>
                    <a:pt x="5400" y="2660"/>
                    <a:pt x="4191" y="0"/>
                    <a:pt x="2700" y="0"/>
                  </a:cubicBezTo>
                  <a:cubicBezTo>
                    <a:pt x="1209" y="0"/>
                    <a:pt x="0" y="2660"/>
                    <a:pt x="0" y="5940"/>
                  </a:cubicBezTo>
                  <a:cubicBezTo>
                    <a:pt x="0" y="7950"/>
                    <a:pt x="455" y="9725"/>
                    <a:pt x="1151" y="10800"/>
                  </a:cubicBezTo>
                  <a:cubicBezTo>
                    <a:pt x="455" y="11875"/>
                    <a:pt x="0" y="13649"/>
                    <a:pt x="0" y="15660"/>
                  </a:cubicBezTo>
                  <a:cubicBezTo>
                    <a:pt x="0" y="18940"/>
                    <a:pt x="1209" y="21600"/>
                    <a:pt x="2700" y="21600"/>
                  </a:cubicBezTo>
                  <a:cubicBezTo>
                    <a:pt x="4191" y="21600"/>
                    <a:pt x="5400" y="18940"/>
                    <a:pt x="5400" y="15660"/>
                  </a:cubicBezTo>
                  <a:cubicBezTo>
                    <a:pt x="5400" y="15476"/>
                    <a:pt x="5392" y="15298"/>
                    <a:pt x="5385" y="15120"/>
                  </a:cubicBezTo>
                  <a:lnTo>
                    <a:pt x="16215" y="15120"/>
                  </a:lnTo>
                  <a:cubicBezTo>
                    <a:pt x="16208" y="15298"/>
                    <a:pt x="16200" y="15476"/>
                    <a:pt x="16200" y="15660"/>
                  </a:cubicBezTo>
                  <a:cubicBezTo>
                    <a:pt x="16200" y="18940"/>
                    <a:pt x="17409" y="21600"/>
                    <a:pt x="18900" y="21600"/>
                  </a:cubicBezTo>
                  <a:cubicBezTo>
                    <a:pt x="20391" y="21600"/>
                    <a:pt x="21600" y="18940"/>
                    <a:pt x="21600" y="15660"/>
                  </a:cubicBezTo>
                  <a:cubicBezTo>
                    <a:pt x="21600" y="13649"/>
                    <a:pt x="21145" y="11875"/>
                    <a:pt x="20449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757">
              <a:extLst>
                <a:ext uri="{FF2B5EF4-FFF2-40B4-BE49-F238E27FC236}">
                  <a16:creationId xmlns:a16="http://schemas.microsoft.com/office/drawing/2014/main" id="{328AEB39-3664-4D8E-82D0-01C663DB1388}"/>
                </a:ext>
              </a:extLst>
            </p:cNvPr>
            <p:cNvSpPr/>
            <p:nvPr/>
          </p:nvSpPr>
          <p:spPr bwMode="gray">
            <a:xfrm>
              <a:off x="11126368" y="3941345"/>
              <a:ext cx="289067" cy="2890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4" h="21085" extrusionOk="0">
                  <a:moveTo>
                    <a:pt x="6690" y="19632"/>
                  </a:moveTo>
                  <a:cubicBezTo>
                    <a:pt x="6035" y="20288"/>
                    <a:pt x="4973" y="20288"/>
                    <a:pt x="4318" y="19632"/>
                  </a:cubicBezTo>
                  <a:cubicBezTo>
                    <a:pt x="3731" y="19043"/>
                    <a:pt x="3675" y="18127"/>
                    <a:pt x="4141" y="17471"/>
                  </a:cubicBezTo>
                  <a:lnTo>
                    <a:pt x="4127" y="17458"/>
                  </a:lnTo>
                  <a:cubicBezTo>
                    <a:pt x="4237" y="17311"/>
                    <a:pt x="4231" y="17106"/>
                    <a:pt x="4096" y="16973"/>
                  </a:cubicBezTo>
                  <a:cubicBezTo>
                    <a:pt x="3963" y="16842"/>
                    <a:pt x="3758" y="16835"/>
                    <a:pt x="3610" y="16939"/>
                  </a:cubicBezTo>
                  <a:lnTo>
                    <a:pt x="3601" y="16931"/>
                  </a:lnTo>
                  <a:cubicBezTo>
                    <a:pt x="2946" y="17395"/>
                    <a:pt x="2036" y="17338"/>
                    <a:pt x="1449" y="16752"/>
                  </a:cubicBezTo>
                  <a:cubicBezTo>
                    <a:pt x="794" y="16097"/>
                    <a:pt x="794" y="15035"/>
                    <a:pt x="1449" y="14381"/>
                  </a:cubicBezTo>
                  <a:cubicBezTo>
                    <a:pt x="2104" y="13726"/>
                    <a:pt x="3166" y="13726"/>
                    <a:pt x="3821" y="14381"/>
                  </a:cubicBezTo>
                  <a:cubicBezTo>
                    <a:pt x="4110" y="14670"/>
                    <a:pt x="4264" y="15040"/>
                    <a:pt x="4297" y="15418"/>
                  </a:cubicBezTo>
                  <a:lnTo>
                    <a:pt x="9862" y="9852"/>
                  </a:lnTo>
                  <a:lnTo>
                    <a:pt x="15417" y="4298"/>
                  </a:lnTo>
                  <a:cubicBezTo>
                    <a:pt x="15038" y="4264"/>
                    <a:pt x="14669" y="4111"/>
                    <a:pt x="14380" y="3821"/>
                  </a:cubicBezTo>
                  <a:cubicBezTo>
                    <a:pt x="13725" y="3166"/>
                    <a:pt x="13725" y="2105"/>
                    <a:pt x="14380" y="1450"/>
                  </a:cubicBezTo>
                  <a:cubicBezTo>
                    <a:pt x="15034" y="795"/>
                    <a:pt x="16096" y="795"/>
                    <a:pt x="16751" y="1450"/>
                  </a:cubicBezTo>
                  <a:cubicBezTo>
                    <a:pt x="17332" y="2031"/>
                    <a:pt x="17394" y="2932"/>
                    <a:pt x="16943" y="3585"/>
                  </a:cubicBezTo>
                  <a:lnTo>
                    <a:pt x="16949" y="3592"/>
                  </a:lnTo>
                  <a:cubicBezTo>
                    <a:pt x="16829" y="3738"/>
                    <a:pt x="16832" y="3953"/>
                    <a:pt x="16971" y="4089"/>
                  </a:cubicBezTo>
                  <a:cubicBezTo>
                    <a:pt x="17109" y="4225"/>
                    <a:pt x="17323" y="4230"/>
                    <a:pt x="17473" y="4114"/>
                  </a:cubicBezTo>
                  <a:lnTo>
                    <a:pt x="17487" y="4129"/>
                  </a:lnTo>
                  <a:cubicBezTo>
                    <a:pt x="18142" y="3675"/>
                    <a:pt x="19047" y="3737"/>
                    <a:pt x="19631" y="4319"/>
                  </a:cubicBezTo>
                  <a:cubicBezTo>
                    <a:pt x="20287" y="4974"/>
                    <a:pt x="20287" y="6036"/>
                    <a:pt x="19631" y="6691"/>
                  </a:cubicBezTo>
                  <a:cubicBezTo>
                    <a:pt x="18974" y="7346"/>
                    <a:pt x="17909" y="7346"/>
                    <a:pt x="17253" y="6691"/>
                  </a:cubicBezTo>
                  <a:cubicBezTo>
                    <a:pt x="16962" y="6400"/>
                    <a:pt x="16807" y="6029"/>
                    <a:pt x="16775" y="5650"/>
                  </a:cubicBezTo>
                  <a:lnTo>
                    <a:pt x="5650" y="16775"/>
                  </a:lnTo>
                  <a:cubicBezTo>
                    <a:pt x="6029" y="16808"/>
                    <a:pt x="6400" y="16963"/>
                    <a:pt x="6690" y="17254"/>
                  </a:cubicBezTo>
                  <a:cubicBezTo>
                    <a:pt x="7344" y="17910"/>
                    <a:pt x="7344" y="18975"/>
                    <a:pt x="6690" y="19632"/>
                  </a:cubicBezTo>
                  <a:moveTo>
                    <a:pt x="7277" y="16503"/>
                  </a:moveTo>
                  <a:lnTo>
                    <a:pt x="16501" y="7278"/>
                  </a:lnTo>
                  <a:cubicBezTo>
                    <a:pt x="16528" y="7307"/>
                    <a:pt x="16545" y="7340"/>
                    <a:pt x="16573" y="7368"/>
                  </a:cubicBezTo>
                  <a:cubicBezTo>
                    <a:pt x="17605" y="8397"/>
                    <a:pt x="19278" y="8397"/>
                    <a:pt x="20310" y="7368"/>
                  </a:cubicBezTo>
                  <a:cubicBezTo>
                    <a:pt x="21342" y="6339"/>
                    <a:pt x="21342" y="4671"/>
                    <a:pt x="20310" y="3641"/>
                  </a:cubicBezTo>
                  <a:cubicBezTo>
                    <a:pt x="19726" y="3059"/>
                    <a:pt x="18937" y="2818"/>
                    <a:pt x="18175" y="2895"/>
                  </a:cubicBezTo>
                  <a:cubicBezTo>
                    <a:pt x="18250" y="2137"/>
                    <a:pt x="18009" y="1353"/>
                    <a:pt x="17428" y="772"/>
                  </a:cubicBezTo>
                  <a:cubicBezTo>
                    <a:pt x="16399" y="-257"/>
                    <a:pt x="14731" y="-257"/>
                    <a:pt x="13702" y="772"/>
                  </a:cubicBezTo>
                  <a:cubicBezTo>
                    <a:pt x="12673" y="1802"/>
                    <a:pt x="12673" y="3470"/>
                    <a:pt x="13702" y="4498"/>
                  </a:cubicBezTo>
                  <a:cubicBezTo>
                    <a:pt x="13729" y="4526"/>
                    <a:pt x="13763" y="4543"/>
                    <a:pt x="13791" y="4569"/>
                  </a:cubicBezTo>
                  <a:lnTo>
                    <a:pt x="4568" y="13791"/>
                  </a:lnTo>
                  <a:cubicBezTo>
                    <a:pt x="4542" y="13763"/>
                    <a:pt x="4526" y="13730"/>
                    <a:pt x="4498" y="13703"/>
                  </a:cubicBezTo>
                  <a:cubicBezTo>
                    <a:pt x="3469" y="12674"/>
                    <a:pt x="1801" y="12674"/>
                    <a:pt x="772" y="13703"/>
                  </a:cubicBezTo>
                  <a:cubicBezTo>
                    <a:pt x="-258" y="14732"/>
                    <a:pt x="-258" y="16400"/>
                    <a:pt x="772" y="17429"/>
                  </a:cubicBezTo>
                  <a:cubicBezTo>
                    <a:pt x="1353" y="18010"/>
                    <a:pt x="2136" y="18251"/>
                    <a:pt x="2895" y="18176"/>
                  </a:cubicBezTo>
                  <a:cubicBezTo>
                    <a:pt x="2818" y="18938"/>
                    <a:pt x="3058" y="19727"/>
                    <a:pt x="3641" y="20311"/>
                  </a:cubicBezTo>
                  <a:cubicBezTo>
                    <a:pt x="4670" y="21343"/>
                    <a:pt x="6338" y="21343"/>
                    <a:pt x="7367" y="20311"/>
                  </a:cubicBezTo>
                  <a:cubicBezTo>
                    <a:pt x="8396" y="19279"/>
                    <a:pt x="8396" y="17606"/>
                    <a:pt x="7367" y="16574"/>
                  </a:cubicBezTo>
                  <a:cubicBezTo>
                    <a:pt x="7339" y="16546"/>
                    <a:pt x="7306" y="16529"/>
                    <a:pt x="7277" y="16503"/>
                  </a:cubicBezTo>
                  <a:moveTo>
                    <a:pt x="16558" y="13703"/>
                  </a:moveTo>
                  <a:cubicBezTo>
                    <a:pt x="16530" y="13731"/>
                    <a:pt x="16513" y="13764"/>
                    <a:pt x="16487" y="13793"/>
                  </a:cubicBezTo>
                  <a:lnTo>
                    <a:pt x="14254" y="11560"/>
                  </a:lnTo>
                  <a:cubicBezTo>
                    <a:pt x="14067" y="11391"/>
                    <a:pt x="13780" y="11393"/>
                    <a:pt x="13601" y="11573"/>
                  </a:cubicBezTo>
                  <a:cubicBezTo>
                    <a:pt x="13421" y="11753"/>
                    <a:pt x="13419" y="12039"/>
                    <a:pt x="13588" y="12226"/>
                  </a:cubicBezTo>
                  <a:lnTo>
                    <a:pt x="13576" y="12237"/>
                  </a:lnTo>
                  <a:lnTo>
                    <a:pt x="16759" y="15420"/>
                  </a:lnTo>
                  <a:cubicBezTo>
                    <a:pt x="16792" y="15041"/>
                    <a:pt x="16947" y="14671"/>
                    <a:pt x="17238" y="14381"/>
                  </a:cubicBezTo>
                  <a:cubicBezTo>
                    <a:pt x="17895" y="13726"/>
                    <a:pt x="18959" y="13726"/>
                    <a:pt x="19615" y="14381"/>
                  </a:cubicBezTo>
                  <a:cubicBezTo>
                    <a:pt x="20273" y="15035"/>
                    <a:pt x="20273" y="16097"/>
                    <a:pt x="19615" y="16752"/>
                  </a:cubicBezTo>
                  <a:cubicBezTo>
                    <a:pt x="19027" y="17339"/>
                    <a:pt x="18112" y="17395"/>
                    <a:pt x="17455" y="16929"/>
                  </a:cubicBezTo>
                  <a:lnTo>
                    <a:pt x="17442" y="16942"/>
                  </a:lnTo>
                  <a:cubicBezTo>
                    <a:pt x="17295" y="16832"/>
                    <a:pt x="17090" y="16839"/>
                    <a:pt x="16957" y="16974"/>
                  </a:cubicBezTo>
                  <a:cubicBezTo>
                    <a:pt x="16826" y="17107"/>
                    <a:pt x="16819" y="17312"/>
                    <a:pt x="16923" y="17460"/>
                  </a:cubicBezTo>
                  <a:lnTo>
                    <a:pt x="16915" y="17469"/>
                  </a:lnTo>
                  <a:cubicBezTo>
                    <a:pt x="17379" y="18124"/>
                    <a:pt x="17322" y="19034"/>
                    <a:pt x="16736" y="19621"/>
                  </a:cubicBezTo>
                  <a:cubicBezTo>
                    <a:pt x="16081" y="20276"/>
                    <a:pt x="15019" y="20276"/>
                    <a:pt x="14365" y="19621"/>
                  </a:cubicBezTo>
                  <a:cubicBezTo>
                    <a:pt x="13710" y="18966"/>
                    <a:pt x="13710" y="17904"/>
                    <a:pt x="14365" y="17250"/>
                  </a:cubicBezTo>
                  <a:cubicBezTo>
                    <a:pt x="14654" y="16960"/>
                    <a:pt x="15024" y="16807"/>
                    <a:pt x="15402" y="16773"/>
                  </a:cubicBezTo>
                  <a:lnTo>
                    <a:pt x="12222" y="13592"/>
                  </a:lnTo>
                  <a:lnTo>
                    <a:pt x="12218" y="13596"/>
                  </a:lnTo>
                  <a:cubicBezTo>
                    <a:pt x="12031" y="13427"/>
                    <a:pt x="11744" y="13428"/>
                    <a:pt x="11565" y="13609"/>
                  </a:cubicBezTo>
                  <a:cubicBezTo>
                    <a:pt x="11385" y="13789"/>
                    <a:pt x="11383" y="14075"/>
                    <a:pt x="11552" y="14262"/>
                  </a:cubicBezTo>
                  <a:lnTo>
                    <a:pt x="13776" y="16501"/>
                  </a:lnTo>
                  <a:cubicBezTo>
                    <a:pt x="13748" y="16528"/>
                    <a:pt x="13714" y="16544"/>
                    <a:pt x="13687" y="16572"/>
                  </a:cubicBezTo>
                  <a:cubicBezTo>
                    <a:pt x="12658" y="17601"/>
                    <a:pt x="12658" y="19269"/>
                    <a:pt x="13687" y="20298"/>
                  </a:cubicBezTo>
                  <a:cubicBezTo>
                    <a:pt x="14716" y="21328"/>
                    <a:pt x="16384" y="21328"/>
                    <a:pt x="17413" y="20298"/>
                  </a:cubicBezTo>
                  <a:cubicBezTo>
                    <a:pt x="17994" y="19717"/>
                    <a:pt x="18235" y="18934"/>
                    <a:pt x="18160" y="18175"/>
                  </a:cubicBezTo>
                  <a:cubicBezTo>
                    <a:pt x="18922" y="18252"/>
                    <a:pt x="19711" y="18011"/>
                    <a:pt x="20295" y="17429"/>
                  </a:cubicBezTo>
                  <a:cubicBezTo>
                    <a:pt x="21327" y="16400"/>
                    <a:pt x="21327" y="14732"/>
                    <a:pt x="20295" y="13703"/>
                  </a:cubicBezTo>
                  <a:cubicBezTo>
                    <a:pt x="19263" y="12674"/>
                    <a:pt x="17590" y="12674"/>
                    <a:pt x="16558" y="13703"/>
                  </a:cubicBezTo>
                  <a:moveTo>
                    <a:pt x="4511" y="7368"/>
                  </a:moveTo>
                  <a:cubicBezTo>
                    <a:pt x="4539" y="7340"/>
                    <a:pt x="4556" y="7306"/>
                    <a:pt x="4582" y="7278"/>
                  </a:cubicBezTo>
                  <a:lnTo>
                    <a:pt x="6815" y="9511"/>
                  </a:lnTo>
                  <a:cubicBezTo>
                    <a:pt x="7002" y="9679"/>
                    <a:pt x="7289" y="9678"/>
                    <a:pt x="7468" y="9498"/>
                  </a:cubicBezTo>
                  <a:cubicBezTo>
                    <a:pt x="7649" y="9318"/>
                    <a:pt x="7650" y="9031"/>
                    <a:pt x="7481" y="8844"/>
                  </a:cubicBezTo>
                  <a:lnTo>
                    <a:pt x="7493" y="8833"/>
                  </a:lnTo>
                  <a:lnTo>
                    <a:pt x="4309" y="5650"/>
                  </a:lnTo>
                  <a:cubicBezTo>
                    <a:pt x="4277" y="6029"/>
                    <a:pt x="4122" y="6400"/>
                    <a:pt x="3831" y="6691"/>
                  </a:cubicBezTo>
                  <a:cubicBezTo>
                    <a:pt x="3175" y="7346"/>
                    <a:pt x="2110" y="7346"/>
                    <a:pt x="1453" y="6691"/>
                  </a:cubicBezTo>
                  <a:cubicBezTo>
                    <a:pt x="797" y="6036"/>
                    <a:pt x="797" y="4974"/>
                    <a:pt x="1453" y="4319"/>
                  </a:cubicBezTo>
                  <a:cubicBezTo>
                    <a:pt x="2042" y="3732"/>
                    <a:pt x="2957" y="3676"/>
                    <a:pt x="3614" y="4142"/>
                  </a:cubicBezTo>
                  <a:lnTo>
                    <a:pt x="3627" y="4128"/>
                  </a:lnTo>
                  <a:cubicBezTo>
                    <a:pt x="3774" y="4238"/>
                    <a:pt x="3979" y="4232"/>
                    <a:pt x="4112" y="4097"/>
                  </a:cubicBezTo>
                  <a:cubicBezTo>
                    <a:pt x="4243" y="3963"/>
                    <a:pt x="4250" y="3759"/>
                    <a:pt x="4146" y="3610"/>
                  </a:cubicBezTo>
                  <a:lnTo>
                    <a:pt x="4154" y="3602"/>
                  </a:lnTo>
                  <a:cubicBezTo>
                    <a:pt x="3690" y="2947"/>
                    <a:pt x="3746" y="2036"/>
                    <a:pt x="4333" y="1450"/>
                  </a:cubicBezTo>
                  <a:cubicBezTo>
                    <a:pt x="4988" y="795"/>
                    <a:pt x="6050" y="795"/>
                    <a:pt x="6705" y="1450"/>
                  </a:cubicBezTo>
                  <a:cubicBezTo>
                    <a:pt x="7359" y="2105"/>
                    <a:pt x="7359" y="3166"/>
                    <a:pt x="6705" y="3821"/>
                  </a:cubicBezTo>
                  <a:cubicBezTo>
                    <a:pt x="6415" y="4111"/>
                    <a:pt x="6046" y="4264"/>
                    <a:pt x="5667" y="4298"/>
                  </a:cubicBezTo>
                  <a:lnTo>
                    <a:pt x="8847" y="7478"/>
                  </a:lnTo>
                  <a:lnTo>
                    <a:pt x="8851" y="7475"/>
                  </a:lnTo>
                  <a:cubicBezTo>
                    <a:pt x="9038" y="7644"/>
                    <a:pt x="9325" y="7642"/>
                    <a:pt x="9504" y="7462"/>
                  </a:cubicBezTo>
                  <a:cubicBezTo>
                    <a:pt x="9684" y="7282"/>
                    <a:pt x="9686" y="6995"/>
                    <a:pt x="9517" y="6808"/>
                  </a:cubicBezTo>
                  <a:lnTo>
                    <a:pt x="7293" y="4569"/>
                  </a:lnTo>
                  <a:cubicBezTo>
                    <a:pt x="7321" y="4543"/>
                    <a:pt x="7355" y="4526"/>
                    <a:pt x="7382" y="4498"/>
                  </a:cubicBezTo>
                  <a:cubicBezTo>
                    <a:pt x="8411" y="3470"/>
                    <a:pt x="8411" y="1802"/>
                    <a:pt x="7382" y="772"/>
                  </a:cubicBezTo>
                  <a:cubicBezTo>
                    <a:pt x="6353" y="-257"/>
                    <a:pt x="4685" y="-257"/>
                    <a:pt x="3656" y="772"/>
                  </a:cubicBezTo>
                  <a:cubicBezTo>
                    <a:pt x="3075" y="1353"/>
                    <a:pt x="2834" y="2137"/>
                    <a:pt x="2909" y="2895"/>
                  </a:cubicBezTo>
                  <a:cubicBezTo>
                    <a:pt x="2147" y="2818"/>
                    <a:pt x="1358" y="3059"/>
                    <a:pt x="774" y="3641"/>
                  </a:cubicBezTo>
                  <a:cubicBezTo>
                    <a:pt x="-258" y="4671"/>
                    <a:pt x="-258" y="6339"/>
                    <a:pt x="774" y="7368"/>
                  </a:cubicBezTo>
                  <a:cubicBezTo>
                    <a:pt x="1806" y="8397"/>
                    <a:pt x="3479" y="8397"/>
                    <a:pt x="4511" y="736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758">
              <a:extLst>
                <a:ext uri="{FF2B5EF4-FFF2-40B4-BE49-F238E27FC236}">
                  <a16:creationId xmlns:a16="http://schemas.microsoft.com/office/drawing/2014/main" id="{DC00D80B-959A-4C4B-BA59-8B6EA9A6EACA}"/>
                </a:ext>
              </a:extLst>
            </p:cNvPr>
            <p:cNvSpPr/>
            <p:nvPr/>
          </p:nvSpPr>
          <p:spPr bwMode="gray">
            <a:xfrm>
              <a:off x="6160946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982" y="6873"/>
                  </a:moveTo>
                  <a:lnTo>
                    <a:pt x="14727" y="6873"/>
                  </a:lnTo>
                  <a:lnTo>
                    <a:pt x="14727" y="8836"/>
                  </a:lnTo>
                  <a:lnTo>
                    <a:pt x="982" y="8836"/>
                  </a:lnTo>
                  <a:cubicBezTo>
                    <a:pt x="982" y="8836"/>
                    <a:pt x="982" y="6873"/>
                    <a:pt x="982" y="6873"/>
                  </a:cubicBezTo>
                  <a:close/>
                  <a:moveTo>
                    <a:pt x="982" y="9818"/>
                  </a:moveTo>
                  <a:lnTo>
                    <a:pt x="14727" y="9818"/>
                  </a:lnTo>
                  <a:cubicBezTo>
                    <a:pt x="15269" y="9818"/>
                    <a:pt x="15709" y="9378"/>
                    <a:pt x="15709" y="8836"/>
                  </a:cubicBezTo>
                  <a:lnTo>
                    <a:pt x="15709" y="6873"/>
                  </a:lnTo>
                  <a:cubicBezTo>
                    <a:pt x="15709" y="6331"/>
                    <a:pt x="15269" y="5891"/>
                    <a:pt x="14727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moveTo>
                    <a:pt x="14727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14727" y="18655"/>
                  </a:lnTo>
                  <a:cubicBezTo>
                    <a:pt x="14727" y="18655"/>
                    <a:pt x="14727" y="20618"/>
                    <a:pt x="14727" y="20618"/>
                  </a:cubicBezTo>
                  <a:close/>
                  <a:moveTo>
                    <a:pt x="14727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14727" y="21600"/>
                  </a:lnTo>
                  <a:cubicBezTo>
                    <a:pt x="15269" y="21600"/>
                    <a:pt x="15709" y="21160"/>
                    <a:pt x="15709" y="20618"/>
                  </a:cubicBezTo>
                  <a:lnTo>
                    <a:pt x="15709" y="18655"/>
                  </a:lnTo>
                  <a:cubicBezTo>
                    <a:pt x="15709" y="18113"/>
                    <a:pt x="15269" y="17673"/>
                    <a:pt x="14727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759">
              <a:extLst>
                <a:ext uri="{FF2B5EF4-FFF2-40B4-BE49-F238E27FC236}">
                  <a16:creationId xmlns:a16="http://schemas.microsoft.com/office/drawing/2014/main" id="{CB4DEF42-07BD-429B-96D2-D1DE8CE857D0}"/>
                </a:ext>
              </a:extLst>
            </p:cNvPr>
            <p:cNvSpPr/>
            <p:nvPr/>
          </p:nvSpPr>
          <p:spPr bwMode="gray">
            <a:xfrm>
              <a:off x="671266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3927" y="6873"/>
                  </a:moveTo>
                  <a:lnTo>
                    <a:pt x="17673" y="6873"/>
                  </a:lnTo>
                  <a:lnTo>
                    <a:pt x="17673" y="8836"/>
                  </a:lnTo>
                  <a:lnTo>
                    <a:pt x="3927" y="8836"/>
                  </a:lnTo>
                  <a:cubicBezTo>
                    <a:pt x="3927" y="8836"/>
                    <a:pt x="3927" y="6873"/>
                    <a:pt x="3927" y="6873"/>
                  </a:cubicBezTo>
                  <a:close/>
                  <a:moveTo>
                    <a:pt x="17673" y="9818"/>
                  </a:moveTo>
                  <a:cubicBezTo>
                    <a:pt x="18215" y="9818"/>
                    <a:pt x="18655" y="9378"/>
                    <a:pt x="18655" y="8836"/>
                  </a:cubicBezTo>
                  <a:lnTo>
                    <a:pt x="18655" y="6873"/>
                  </a:lnTo>
                  <a:cubicBezTo>
                    <a:pt x="18655" y="6331"/>
                    <a:pt x="18215" y="5891"/>
                    <a:pt x="17673" y="5891"/>
                  </a:cubicBezTo>
                  <a:lnTo>
                    <a:pt x="3927" y="5891"/>
                  </a:lnTo>
                  <a:cubicBezTo>
                    <a:pt x="3385" y="5891"/>
                    <a:pt x="2945" y="6331"/>
                    <a:pt x="2945" y="6873"/>
                  </a:cubicBezTo>
                  <a:lnTo>
                    <a:pt x="2945" y="8836"/>
                  </a:lnTo>
                  <a:cubicBezTo>
                    <a:pt x="2945" y="9378"/>
                    <a:pt x="3385" y="9818"/>
                    <a:pt x="3927" y="9818"/>
                  </a:cubicBezTo>
                  <a:cubicBezTo>
                    <a:pt x="3927" y="9818"/>
                    <a:pt x="17673" y="9818"/>
                    <a:pt x="17673" y="9818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8655"/>
                  </a:lnTo>
                  <a:lnTo>
                    <a:pt x="17673" y="18655"/>
                  </a:lnTo>
                  <a:cubicBezTo>
                    <a:pt x="17673" y="18655"/>
                    <a:pt x="17673" y="20618"/>
                    <a:pt x="17673" y="20618"/>
                  </a:cubicBezTo>
                  <a:close/>
                  <a:moveTo>
                    <a:pt x="17673" y="17673"/>
                  </a:moveTo>
                  <a:lnTo>
                    <a:pt x="3927" y="17673"/>
                  </a:lnTo>
                  <a:cubicBezTo>
                    <a:pt x="3385" y="17673"/>
                    <a:pt x="2945" y="18113"/>
                    <a:pt x="2945" y="18655"/>
                  </a:cubicBezTo>
                  <a:lnTo>
                    <a:pt x="2945" y="20618"/>
                  </a:lnTo>
                  <a:cubicBezTo>
                    <a:pt x="2945" y="21160"/>
                    <a:pt x="3385" y="21600"/>
                    <a:pt x="3927" y="21600"/>
                  </a:cubicBezTo>
                  <a:lnTo>
                    <a:pt x="17673" y="21600"/>
                  </a:lnTo>
                  <a:cubicBezTo>
                    <a:pt x="18215" y="21600"/>
                    <a:pt x="18655" y="21160"/>
                    <a:pt x="18655" y="20618"/>
                  </a:cubicBezTo>
                  <a:lnTo>
                    <a:pt x="18655" y="18655"/>
                  </a:lnTo>
                  <a:cubicBezTo>
                    <a:pt x="18655" y="18113"/>
                    <a:pt x="18215" y="17673"/>
                    <a:pt x="17673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760">
              <a:extLst>
                <a:ext uri="{FF2B5EF4-FFF2-40B4-BE49-F238E27FC236}">
                  <a16:creationId xmlns:a16="http://schemas.microsoft.com/office/drawing/2014/main" id="{08489D00-8E0E-4821-8596-54B5AC8B4DD3}"/>
                </a:ext>
              </a:extLst>
            </p:cNvPr>
            <p:cNvSpPr/>
            <p:nvPr/>
          </p:nvSpPr>
          <p:spPr bwMode="gray">
            <a:xfrm>
              <a:off x="7264373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6873" y="8836"/>
                  </a:lnTo>
                  <a:lnTo>
                    <a:pt x="6873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6873" y="5891"/>
                  </a:lnTo>
                  <a:cubicBezTo>
                    <a:pt x="6331" y="5891"/>
                    <a:pt x="5891" y="6331"/>
                    <a:pt x="5891" y="6873"/>
                  </a:cubicBezTo>
                  <a:lnTo>
                    <a:pt x="5891" y="8836"/>
                  </a:lnTo>
                  <a:cubicBezTo>
                    <a:pt x="5891" y="9378"/>
                    <a:pt x="6331" y="9818"/>
                    <a:pt x="6873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0618"/>
                  </a:moveTo>
                  <a:lnTo>
                    <a:pt x="6873" y="20618"/>
                  </a:lnTo>
                  <a:lnTo>
                    <a:pt x="6873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6873" y="17673"/>
                  </a:lnTo>
                  <a:cubicBezTo>
                    <a:pt x="6331" y="17673"/>
                    <a:pt x="5891" y="18113"/>
                    <a:pt x="5891" y="18655"/>
                  </a:cubicBezTo>
                  <a:lnTo>
                    <a:pt x="5891" y="20618"/>
                  </a:lnTo>
                  <a:cubicBezTo>
                    <a:pt x="5891" y="21160"/>
                    <a:pt x="6331" y="21600"/>
                    <a:pt x="6873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761">
              <a:extLst>
                <a:ext uri="{FF2B5EF4-FFF2-40B4-BE49-F238E27FC236}">
                  <a16:creationId xmlns:a16="http://schemas.microsoft.com/office/drawing/2014/main" id="{8A8141C9-5F78-4B22-A6E1-0A494297C589}"/>
                </a:ext>
              </a:extLst>
            </p:cNvPr>
            <p:cNvSpPr/>
            <p:nvPr/>
          </p:nvSpPr>
          <p:spPr bwMode="gray">
            <a:xfrm>
              <a:off x="7816087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982" y="8836"/>
                  </a:lnTo>
                  <a:lnTo>
                    <a:pt x="982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762">
              <a:extLst>
                <a:ext uri="{FF2B5EF4-FFF2-40B4-BE49-F238E27FC236}">
                  <a16:creationId xmlns:a16="http://schemas.microsoft.com/office/drawing/2014/main" id="{1ACC0E73-7F24-48CB-9C63-D107316E2748}"/>
                </a:ext>
              </a:extLst>
            </p:cNvPr>
            <p:cNvSpPr/>
            <p:nvPr/>
          </p:nvSpPr>
          <p:spPr bwMode="gray">
            <a:xfrm>
              <a:off x="836780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982"/>
                  </a:moveTo>
                  <a:cubicBezTo>
                    <a:pt x="19520" y="982"/>
                    <a:pt x="20618" y="2081"/>
                    <a:pt x="20618" y="3436"/>
                  </a:cubicBezTo>
                  <a:cubicBezTo>
                    <a:pt x="20618" y="4792"/>
                    <a:pt x="19520" y="5891"/>
                    <a:pt x="18164" y="5891"/>
                  </a:cubicBezTo>
                  <a:cubicBezTo>
                    <a:pt x="16808" y="5891"/>
                    <a:pt x="15709" y="4792"/>
                    <a:pt x="15709" y="3436"/>
                  </a:cubicBezTo>
                  <a:cubicBezTo>
                    <a:pt x="15709" y="2081"/>
                    <a:pt x="16808" y="982"/>
                    <a:pt x="18164" y="982"/>
                  </a:cubicBezTo>
                  <a:moveTo>
                    <a:pt x="18164" y="6873"/>
                  </a:moveTo>
                  <a:cubicBezTo>
                    <a:pt x="20062" y="6873"/>
                    <a:pt x="21600" y="5334"/>
                    <a:pt x="21600" y="3436"/>
                  </a:cubicBezTo>
                  <a:cubicBezTo>
                    <a:pt x="21600" y="1538"/>
                    <a:pt x="20062" y="0"/>
                    <a:pt x="18164" y="0"/>
                  </a:cubicBezTo>
                  <a:cubicBezTo>
                    <a:pt x="16266" y="0"/>
                    <a:pt x="14727" y="1538"/>
                    <a:pt x="14727" y="3436"/>
                  </a:cubicBezTo>
                  <a:cubicBezTo>
                    <a:pt x="14727" y="5334"/>
                    <a:pt x="16266" y="6873"/>
                    <a:pt x="18164" y="6873"/>
                  </a:cubicBezTo>
                  <a:moveTo>
                    <a:pt x="18164" y="3927"/>
                  </a:moveTo>
                  <a:lnTo>
                    <a:pt x="18655" y="3927"/>
                  </a:lnTo>
                  <a:cubicBezTo>
                    <a:pt x="18925" y="3927"/>
                    <a:pt x="19145" y="3708"/>
                    <a:pt x="19145" y="3436"/>
                  </a:cubicBezTo>
                  <a:cubicBezTo>
                    <a:pt x="19145" y="3165"/>
                    <a:pt x="18925" y="2945"/>
                    <a:pt x="18655" y="2945"/>
                  </a:cubicBezTo>
                  <a:lnTo>
                    <a:pt x="18655" y="2455"/>
                  </a:lnTo>
                  <a:cubicBezTo>
                    <a:pt x="18655" y="2183"/>
                    <a:pt x="18434" y="1964"/>
                    <a:pt x="18164" y="1964"/>
                  </a:cubicBezTo>
                  <a:cubicBezTo>
                    <a:pt x="17893" y="1964"/>
                    <a:pt x="17673" y="2183"/>
                    <a:pt x="17673" y="2455"/>
                  </a:cubicBezTo>
                  <a:lnTo>
                    <a:pt x="17673" y="3436"/>
                  </a:lnTo>
                  <a:cubicBezTo>
                    <a:pt x="17673" y="3708"/>
                    <a:pt x="17893" y="3927"/>
                    <a:pt x="18164" y="3927"/>
                  </a:cubicBezTo>
                  <a:moveTo>
                    <a:pt x="9818" y="11782"/>
                  </a:moveTo>
                  <a:lnTo>
                    <a:pt x="4909" y="11782"/>
                  </a:lnTo>
                  <a:lnTo>
                    <a:pt x="4909" y="8836"/>
                  </a:lnTo>
                  <a:lnTo>
                    <a:pt x="9818" y="8836"/>
                  </a:lnTo>
                  <a:cubicBezTo>
                    <a:pt x="9818" y="8836"/>
                    <a:pt x="9818" y="11782"/>
                    <a:pt x="9818" y="11782"/>
                  </a:cubicBezTo>
                  <a:close/>
                  <a:moveTo>
                    <a:pt x="21109" y="12764"/>
                  </a:moveTo>
                  <a:lnTo>
                    <a:pt x="11291" y="12764"/>
                  </a:lnTo>
                  <a:cubicBezTo>
                    <a:pt x="11562" y="12764"/>
                    <a:pt x="11782" y="12544"/>
                    <a:pt x="11782" y="12273"/>
                  </a:cubicBezTo>
                  <a:cubicBezTo>
                    <a:pt x="11782" y="12001"/>
                    <a:pt x="11562" y="11782"/>
                    <a:pt x="11291" y="11782"/>
                  </a:cubicBezTo>
                  <a:lnTo>
                    <a:pt x="10800" y="11782"/>
                  </a:lnTo>
                  <a:lnTo>
                    <a:pt x="10800" y="8836"/>
                  </a:lnTo>
                  <a:cubicBezTo>
                    <a:pt x="10800" y="8295"/>
                    <a:pt x="10360" y="7855"/>
                    <a:pt x="9818" y="7855"/>
                  </a:cubicBezTo>
                  <a:lnTo>
                    <a:pt x="4909" y="7855"/>
                  </a:lnTo>
                  <a:cubicBezTo>
                    <a:pt x="4367" y="7855"/>
                    <a:pt x="3927" y="8295"/>
                    <a:pt x="3927" y="8836"/>
                  </a:cubicBezTo>
                  <a:lnTo>
                    <a:pt x="3927" y="11782"/>
                  </a:lnTo>
                  <a:lnTo>
                    <a:pt x="3436" y="11782"/>
                  </a:lnTo>
                  <a:cubicBezTo>
                    <a:pt x="3166" y="11782"/>
                    <a:pt x="2945" y="12001"/>
                    <a:pt x="2945" y="12273"/>
                  </a:cubicBezTo>
                  <a:cubicBezTo>
                    <a:pt x="2945" y="12544"/>
                    <a:pt x="3166" y="12764"/>
                    <a:pt x="3436" y="12764"/>
                  </a:cubicBezTo>
                  <a:lnTo>
                    <a:pt x="491" y="12764"/>
                  </a:lnTo>
                  <a:cubicBezTo>
                    <a:pt x="220" y="12764"/>
                    <a:pt x="0" y="12983"/>
                    <a:pt x="0" y="13255"/>
                  </a:cubicBezTo>
                  <a:cubicBezTo>
                    <a:pt x="0" y="13526"/>
                    <a:pt x="220" y="13745"/>
                    <a:pt x="491" y="13745"/>
                  </a:cubicBezTo>
                  <a:lnTo>
                    <a:pt x="2945" y="13745"/>
                  </a:ln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cubicBezTo>
                    <a:pt x="3707" y="21600"/>
                    <a:pt x="3927" y="21380"/>
                    <a:pt x="3927" y="21109"/>
                  </a:cubicBezTo>
                  <a:lnTo>
                    <a:pt x="3927" y="13745"/>
                  </a:lnTo>
                  <a:lnTo>
                    <a:pt x="17673" y="13745"/>
                  </a:lnTo>
                  <a:lnTo>
                    <a:pt x="17673" y="21109"/>
                  </a:lnTo>
                  <a:cubicBezTo>
                    <a:pt x="17673" y="21380"/>
                    <a:pt x="17893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lnTo>
                    <a:pt x="21109" y="13745"/>
                  </a:lnTo>
                  <a:cubicBezTo>
                    <a:pt x="21380" y="13745"/>
                    <a:pt x="21600" y="13526"/>
                    <a:pt x="21600" y="13255"/>
                  </a:cubicBezTo>
                  <a:cubicBezTo>
                    <a:pt x="21600" y="12983"/>
                    <a:pt x="21380" y="12764"/>
                    <a:pt x="21109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763">
              <a:extLst>
                <a:ext uri="{FF2B5EF4-FFF2-40B4-BE49-F238E27FC236}">
                  <a16:creationId xmlns:a16="http://schemas.microsoft.com/office/drawing/2014/main" id="{15F16DFE-3539-4C5A-8499-2A90CE197FCA}"/>
                </a:ext>
              </a:extLst>
            </p:cNvPr>
            <p:cNvSpPr/>
            <p:nvPr/>
          </p:nvSpPr>
          <p:spPr bwMode="gray">
            <a:xfrm>
              <a:off x="8919514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79" y="7008"/>
                  </a:moveTo>
                  <a:cubicBezTo>
                    <a:pt x="20006" y="12260"/>
                    <a:pt x="12624" y="19436"/>
                    <a:pt x="10800" y="20538"/>
                  </a:cubicBezTo>
                  <a:cubicBezTo>
                    <a:pt x="8976" y="19436"/>
                    <a:pt x="1594" y="12260"/>
                    <a:pt x="1021" y="7001"/>
                  </a:cubicBezTo>
                  <a:cubicBezTo>
                    <a:pt x="1021" y="7001"/>
                    <a:pt x="982" y="6718"/>
                    <a:pt x="982" y="6382"/>
                  </a:cubicBezTo>
                  <a:cubicBezTo>
                    <a:pt x="982" y="3405"/>
                    <a:pt x="3404" y="982"/>
                    <a:pt x="6382" y="982"/>
                  </a:cubicBezTo>
                  <a:cubicBezTo>
                    <a:pt x="7780" y="982"/>
                    <a:pt x="9107" y="1518"/>
                    <a:pt x="10120" y="2491"/>
                  </a:cubicBezTo>
                  <a:lnTo>
                    <a:pt x="10585" y="2939"/>
                  </a:lnTo>
                  <a:lnTo>
                    <a:pt x="8836" y="6873"/>
                  </a:lnTo>
                  <a:lnTo>
                    <a:pt x="11291" y="9818"/>
                  </a:lnTo>
                  <a:lnTo>
                    <a:pt x="9327" y="14236"/>
                  </a:lnTo>
                  <a:lnTo>
                    <a:pt x="10800" y="16691"/>
                  </a:lnTo>
                  <a:lnTo>
                    <a:pt x="10432" y="14236"/>
                  </a:lnTo>
                  <a:lnTo>
                    <a:pt x="12365" y="9542"/>
                  </a:lnTo>
                  <a:lnTo>
                    <a:pt x="10002" y="6781"/>
                  </a:lnTo>
                  <a:lnTo>
                    <a:pt x="12069" y="2007"/>
                  </a:lnTo>
                  <a:cubicBezTo>
                    <a:pt x="12984" y="1345"/>
                    <a:pt x="14076" y="982"/>
                    <a:pt x="15218" y="982"/>
                  </a:cubicBezTo>
                  <a:cubicBezTo>
                    <a:pt x="18196" y="982"/>
                    <a:pt x="20618" y="3405"/>
                    <a:pt x="20618" y="6382"/>
                  </a:cubicBezTo>
                  <a:cubicBezTo>
                    <a:pt x="20618" y="6725"/>
                    <a:pt x="20579" y="7008"/>
                    <a:pt x="20579" y="7008"/>
                  </a:cubicBezTo>
                  <a:moveTo>
                    <a:pt x="21600" y="6382"/>
                  </a:moveTo>
                  <a:cubicBezTo>
                    <a:pt x="21600" y="2857"/>
                    <a:pt x="18743" y="0"/>
                    <a:pt x="15218" y="0"/>
                  </a:cubicBezTo>
                  <a:cubicBezTo>
                    <a:pt x="13502" y="0"/>
                    <a:pt x="11947" y="681"/>
                    <a:pt x="10800" y="1783"/>
                  </a:cubicBezTo>
                  <a:cubicBezTo>
                    <a:pt x="9653" y="681"/>
                    <a:pt x="8098" y="0"/>
                    <a:pt x="6382" y="0"/>
                  </a:cubicBezTo>
                  <a:cubicBezTo>
                    <a:pt x="2857" y="0"/>
                    <a:pt x="0" y="2857"/>
                    <a:pt x="0" y="6382"/>
                  </a:cubicBezTo>
                  <a:cubicBezTo>
                    <a:pt x="0" y="6792"/>
                    <a:pt x="65" y="7282"/>
                    <a:pt x="45" y="7115"/>
                  </a:cubicBezTo>
                  <a:cubicBezTo>
                    <a:pt x="733" y="13419"/>
                    <a:pt x="9855" y="21600"/>
                    <a:pt x="10800" y="21600"/>
                  </a:cubicBezTo>
                  <a:cubicBezTo>
                    <a:pt x="11745" y="21600"/>
                    <a:pt x="20867" y="13419"/>
                    <a:pt x="21555" y="7115"/>
                  </a:cubicBezTo>
                  <a:cubicBezTo>
                    <a:pt x="21536" y="7282"/>
                    <a:pt x="21600" y="6792"/>
                    <a:pt x="21600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764">
              <a:extLst>
                <a:ext uri="{FF2B5EF4-FFF2-40B4-BE49-F238E27FC236}">
                  <a16:creationId xmlns:a16="http://schemas.microsoft.com/office/drawing/2014/main" id="{0DB5A04B-A948-4403-B920-6217AAD8E2BD}"/>
                </a:ext>
              </a:extLst>
            </p:cNvPr>
            <p:cNvSpPr/>
            <p:nvPr/>
          </p:nvSpPr>
          <p:spPr bwMode="gray">
            <a:xfrm>
              <a:off x="9471227" y="4506194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88" y="6611"/>
                  </a:moveTo>
                  <a:cubicBezTo>
                    <a:pt x="20587" y="6619"/>
                    <a:pt x="20587" y="6627"/>
                    <a:pt x="20586" y="6635"/>
                  </a:cubicBezTo>
                  <a:cubicBezTo>
                    <a:pt x="20585" y="6640"/>
                    <a:pt x="20582" y="6674"/>
                    <a:pt x="20581" y="6680"/>
                  </a:cubicBezTo>
                  <a:cubicBezTo>
                    <a:pt x="20107" y="11287"/>
                    <a:pt x="14607" y="17428"/>
                    <a:pt x="12595" y="19086"/>
                  </a:cubicBezTo>
                  <a:lnTo>
                    <a:pt x="11905" y="15660"/>
                  </a:lnTo>
                  <a:lnTo>
                    <a:pt x="13960" y="10631"/>
                  </a:lnTo>
                  <a:lnTo>
                    <a:pt x="11429" y="7425"/>
                  </a:lnTo>
                  <a:lnTo>
                    <a:pt x="12699" y="2550"/>
                  </a:lnTo>
                  <a:cubicBezTo>
                    <a:pt x="12708" y="2540"/>
                    <a:pt x="12713" y="2534"/>
                    <a:pt x="12723" y="2524"/>
                  </a:cubicBezTo>
                  <a:cubicBezTo>
                    <a:pt x="13572" y="1625"/>
                    <a:pt x="14916" y="1080"/>
                    <a:pt x="16088" y="1080"/>
                  </a:cubicBezTo>
                  <a:cubicBezTo>
                    <a:pt x="18586" y="1080"/>
                    <a:pt x="20618" y="3315"/>
                    <a:pt x="20618" y="6063"/>
                  </a:cubicBezTo>
                  <a:cubicBezTo>
                    <a:pt x="20618" y="6262"/>
                    <a:pt x="20598" y="6506"/>
                    <a:pt x="20588" y="6611"/>
                  </a:cubicBezTo>
                  <a:moveTo>
                    <a:pt x="21600" y="6063"/>
                  </a:moveTo>
                  <a:cubicBezTo>
                    <a:pt x="21600" y="2715"/>
                    <a:pt x="19132" y="0"/>
                    <a:pt x="16088" y="0"/>
                  </a:cubicBezTo>
                  <a:cubicBezTo>
                    <a:pt x="14607" y="0"/>
                    <a:pt x="12974" y="748"/>
                    <a:pt x="11983" y="1794"/>
                  </a:cubicBezTo>
                  <a:lnTo>
                    <a:pt x="11985" y="1802"/>
                  </a:lnTo>
                  <a:cubicBezTo>
                    <a:pt x="11900" y="1871"/>
                    <a:pt x="11839" y="1965"/>
                    <a:pt x="11809" y="2079"/>
                  </a:cubicBezTo>
                  <a:lnTo>
                    <a:pt x="11797" y="2076"/>
                  </a:lnTo>
                  <a:lnTo>
                    <a:pt x="10309" y="7560"/>
                  </a:lnTo>
                  <a:lnTo>
                    <a:pt x="12764" y="10800"/>
                  </a:lnTo>
                  <a:lnTo>
                    <a:pt x="10800" y="15660"/>
                  </a:lnTo>
                  <a:lnTo>
                    <a:pt x="11797" y="20098"/>
                  </a:lnTo>
                  <a:lnTo>
                    <a:pt x="11803" y="20097"/>
                  </a:lnTo>
                  <a:cubicBezTo>
                    <a:pt x="11853" y="20337"/>
                    <a:pt x="12039" y="20520"/>
                    <a:pt x="12273" y="20520"/>
                  </a:cubicBezTo>
                  <a:cubicBezTo>
                    <a:pt x="12410" y="20520"/>
                    <a:pt x="12534" y="20457"/>
                    <a:pt x="12623" y="20357"/>
                  </a:cubicBezTo>
                  <a:cubicBezTo>
                    <a:pt x="14361" y="19225"/>
                    <a:pt x="20995" y="12270"/>
                    <a:pt x="21558" y="6787"/>
                  </a:cubicBezTo>
                  <a:lnTo>
                    <a:pt x="21558" y="6791"/>
                  </a:lnTo>
                  <a:cubicBezTo>
                    <a:pt x="21559" y="6791"/>
                    <a:pt x="21600" y="6399"/>
                    <a:pt x="21600" y="6063"/>
                  </a:cubicBezTo>
                  <a:moveTo>
                    <a:pt x="1019" y="7760"/>
                  </a:moveTo>
                  <a:cubicBezTo>
                    <a:pt x="1018" y="7754"/>
                    <a:pt x="1015" y="7720"/>
                    <a:pt x="1014" y="7715"/>
                  </a:cubicBezTo>
                  <a:cubicBezTo>
                    <a:pt x="1013" y="7707"/>
                    <a:pt x="1013" y="7699"/>
                    <a:pt x="1012" y="7691"/>
                  </a:cubicBezTo>
                  <a:cubicBezTo>
                    <a:pt x="1002" y="7586"/>
                    <a:pt x="982" y="7342"/>
                    <a:pt x="982" y="7143"/>
                  </a:cubicBezTo>
                  <a:cubicBezTo>
                    <a:pt x="982" y="4395"/>
                    <a:pt x="3014" y="2160"/>
                    <a:pt x="5512" y="2160"/>
                  </a:cubicBezTo>
                  <a:cubicBezTo>
                    <a:pt x="6634" y="2160"/>
                    <a:pt x="7908" y="2664"/>
                    <a:pt x="8760" y="3495"/>
                  </a:cubicBezTo>
                  <a:lnTo>
                    <a:pt x="7364" y="8640"/>
                  </a:lnTo>
                  <a:lnTo>
                    <a:pt x="9818" y="11880"/>
                  </a:lnTo>
                  <a:lnTo>
                    <a:pt x="7855" y="16740"/>
                  </a:lnTo>
                  <a:lnTo>
                    <a:pt x="8531" y="19752"/>
                  </a:lnTo>
                  <a:cubicBezTo>
                    <a:pt x="6242" y="17649"/>
                    <a:pt x="1459" y="12041"/>
                    <a:pt x="1019" y="7760"/>
                  </a:cubicBezTo>
                  <a:moveTo>
                    <a:pt x="9803" y="20925"/>
                  </a:moveTo>
                  <a:lnTo>
                    <a:pt x="8959" y="16740"/>
                  </a:lnTo>
                  <a:lnTo>
                    <a:pt x="11015" y="11711"/>
                  </a:lnTo>
                  <a:lnTo>
                    <a:pt x="8484" y="8505"/>
                  </a:lnTo>
                  <a:lnTo>
                    <a:pt x="9799" y="3457"/>
                  </a:lnTo>
                  <a:lnTo>
                    <a:pt x="9791" y="3454"/>
                  </a:lnTo>
                  <a:cubicBezTo>
                    <a:pt x="9804" y="3407"/>
                    <a:pt x="9818" y="3360"/>
                    <a:pt x="9818" y="3308"/>
                  </a:cubicBezTo>
                  <a:cubicBezTo>
                    <a:pt x="9818" y="3130"/>
                    <a:pt x="9736" y="2981"/>
                    <a:pt x="9615" y="2882"/>
                  </a:cubicBezTo>
                  <a:lnTo>
                    <a:pt x="9617" y="2874"/>
                  </a:lnTo>
                  <a:cubicBezTo>
                    <a:pt x="8626" y="1827"/>
                    <a:pt x="6993" y="1080"/>
                    <a:pt x="5512" y="1080"/>
                  </a:cubicBezTo>
                  <a:cubicBezTo>
                    <a:pt x="2468" y="1080"/>
                    <a:pt x="0" y="3795"/>
                    <a:pt x="0" y="7143"/>
                  </a:cubicBezTo>
                  <a:cubicBezTo>
                    <a:pt x="0" y="7479"/>
                    <a:pt x="41" y="7871"/>
                    <a:pt x="42" y="7871"/>
                  </a:cubicBezTo>
                  <a:lnTo>
                    <a:pt x="42" y="7867"/>
                  </a:lnTo>
                  <a:cubicBezTo>
                    <a:pt x="605" y="13350"/>
                    <a:pt x="7239" y="20305"/>
                    <a:pt x="8977" y="21437"/>
                  </a:cubicBezTo>
                  <a:cubicBezTo>
                    <a:pt x="9066" y="21537"/>
                    <a:pt x="9190" y="21600"/>
                    <a:pt x="9327" y="21600"/>
                  </a:cubicBezTo>
                  <a:cubicBezTo>
                    <a:pt x="9599" y="21600"/>
                    <a:pt x="9818" y="21358"/>
                    <a:pt x="9818" y="21060"/>
                  </a:cubicBezTo>
                  <a:cubicBezTo>
                    <a:pt x="9818" y="21013"/>
                    <a:pt x="9804" y="20971"/>
                    <a:pt x="9794" y="20927"/>
                  </a:cubicBezTo>
                  <a:cubicBezTo>
                    <a:pt x="9794" y="20927"/>
                    <a:pt x="9803" y="20925"/>
                    <a:pt x="9803" y="2092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765">
              <a:extLst>
                <a:ext uri="{FF2B5EF4-FFF2-40B4-BE49-F238E27FC236}">
                  <a16:creationId xmlns:a16="http://schemas.microsoft.com/office/drawing/2014/main" id="{A9029033-6C37-4F71-89D6-2E61F6774197}"/>
                </a:ext>
              </a:extLst>
            </p:cNvPr>
            <p:cNvSpPr/>
            <p:nvPr/>
          </p:nvSpPr>
          <p:spPr bwMode="gray">
            <a:xfrm>
              <a:off x="10022941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764"/>
                  </a:moveTo>
                  <a:cubicBezTo>
                    <a:pt x="11510" y="12764"/>
                    <a:pt x="11291" y="12984"/>
                    <a:pt x="11291" y="13255"/>
                  </a:cubicBezTo>
                  <a:cubicBezTo>
                    <a:pt x="11291" y="13526"/>
                    <a:pt x="11510" y="13745"/>
                    <a:pt x="11782" y="13745"/>
                  </a:cubicBezTo>
                  <a:cubicBezTo>
                    <a:pt x="12053" y="13745"/>
                    <a:pt x="12273" y="13526"/>
                    <a:pt x="12273" y="13255"/>
                  </a:cubicBezTo>
                  <a:cubicBezTo>
                    <a:pt x="12273" y="12984"/>
                    <a:pt x="12053" y="12764"/>
                    <a:pt x="11782" y="12764"/>
                  </a:cubicBezTo>
                  <a:moveTo>
                    <a:pt x="14727" y="10800"/>
                  </a:move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038"/>
                    <a:pt x="14999" y="9818"/>
                    <a:pt x="14727" y="9818"/>
                  </a:cubicBezTo>
                  <a:cubicBezTo>
                    <a:pt x="14456" y="9818"/>
                    <a:pt x="14236" y="10038"/>
                    <a:pt x="14236" y="10309"/>
                  </a:cubicBezTo>
                  <a:cubicBezTo>
                    <a:pt x="14236" y="10580"/>
                    <a:pt x="14456" y="10800"/>
                    <a:pt x="14727" y="10800"/>
                  </a:cubicBezTo>
                  <a:moveTo>
                    <a:pt x="19913" y="7150"/>
                  </a:moveTo>
                  <a:lnTo>
                    <a:pt x="19959" y="7195"/>
                  </a:lnTo>
                  <a:lnTo>
                    <a:pt x="19468" y="7686"/>
                  </a:lnTo>
                  <a:lnTo>
                    <a:pt x="19468" y="7687"/>
                  </a:lnTo>
                  <a:lnTo>
                    <a:pt x="17606" y="9549"/>
                  </a:lnTo>
                  <a:lnTo>
                    <a:pt x="12052" y="3994"/>
                  </a:lnTo>
                  <a:lnTo>
                    <a:pt x="13913" y="2132"/>
                  </a:lnTo>
                  <a:cubicBezTo>
                    <a:pt x="13914" y="2132"/>
                    <a:pt x="13914" y="2132"/>
                    <a:pt x="13914" y="2132"/>
                  </a:cubicBezTo>
                  <a:lnTo>
                    <a:pt x="14405" y="1641"/>
                  </a:lnTo>
                  <a:lnTo>
                    <a:pt x="14450" y="1687"/>
                  </a:lnTo>
                  <a:cubicBezTo>
                    <a:pt x="15086" y="1244"/>
                    <a:pt x="15857" y="982"/>
                    <a:pt x="16691" y="982"/>
                  </a:cubicBezTo>
                  <a:cubicBezTo>
                    <a:pt x="18860" y="982"/>
                    <a:pt x="20618" y="2740"/>
                    <a:pt x="20618" y="4909"/>
                  </a:cubicBezTo>
                  <a:cubicBezTo>
                    <a:pt x="20618" y="5743"/>
                    <a:pt x="20356" y="6514"/>
                    <a:pt x="19913" y="7150"/>
                  </a:cubicBezTo>
                  <a:moveTo>
                    <a:pt x="10242" y="16912"/>
                  </a:moveTo>
                  <a:lnTo>
                    <a:pt x="4689" y="11358"/>
                  </a:lnTo>
                  <a:lnTo>
                    <a:pt x="11358" y="4689"/>
                  </a:lnTo>
                  <a:lnTo>
                    <a:pt x="16911" y="10243"/>
                  </a:lnTo>
                  <a:cubicBezTo>
                    <a:pt x="16911" y="10243"/>
                    <a:pt x="10242" y="16912"/>
                    <a:pt x="10242" y="16912"/>
                  </a:cubicBezTo>
                  <a:close/>
                  <a:moveTo>
                    <a:pt x="7686" y="19468"/>
                  </a:moveTo>
                  <a:cubicBezTo>
                    <a:pt x="6975" y="20179"/>
                    <a:pt x="5994" y="20618"/>
                    <a:pt x="4909" y="20618"/>
                  </a:cubicBezTo>
                  <a:cubicBezTo>
                    <a:pt x="2740" y="20618"/>
                    <a:pt x="982" y="18860"/>
                    <a:pt x="982" y="16691"/>
                  </a:cubicBezTo>
                  <a:cubicBezTo>
                    <a:pt x="982" y="15606"/>
                    <a:pt x="1421" y="14625"/>
                    <a:pt x="2132" y="13914"/>
                  </a:cubicBezTo>
                  <a:lnTo>
                    <a:pt x="3994" y="12052"/>
                  </a:lnTo>
                  <a:lnTo>
                    <a:pt x="9548" y="17606"/>
                  </a:lnTo>
                  <a:cubicBezTo>
                    <a:pt x="9548" y="17606"/>
                    <a:pt x="7686" y="19468"/>
                    <a:pt x="7686" y="19468"/>
                  </a:cubicBezTo>
                  <a:close/>
                  <a:moveTo>
                    <a:pt x="21600" y="4909"/>
                  </a:moveTo>
                  <a:cubicBezTo>
                    <a:pt x="21600" y="2198"/>
                    <a:pt x="19402" y="0"/>
                    <a:pt x="16691" y="0"/>
                  </a:cubicBezTo>
                  <a:cubicBezTo>
                    <a:pt x="15586" y="0"/>
                    <a:pt x="14570" y="370"/>
                    <a:pt x="13749" y="986"/>
                  </a:cubicBezTo>
                  <a:lnTo>
                    <a:pt x="13710" y="947"/>
                  </a:lnTo>
                  <a:lnTo>
                    <a:pt x="13221" y="1437"/>
                  </a:lnTo>
                  <a:cubicBezTo>
                    <a:pt x="13220" y="1438"/>
                    <a:pt x="13220" y="1438"/>
                    <a:pt x="13219" y="1439"/>
                  </a:cubicBezTo>
                  <a:lnTo>
                    <a:pt x="1438" y="13220"/>
                  </a:lnTo>
                  <a:cubicBezTo>
                    <a:pt x="549" y="14108"/>
                    <a:pt x="0" y="15336"/>
                    <a:pt x="0" y="16691"/>
                  </a:cubicBezTo>
                  <a:cubicBezTo>
                    <a:pt x="0" y="19402"/>
                    <a:pt x="2198" y="21600"/>
                    <a:pt x="4909" y="21600"/>
                  </a:cubicBezTo>
                  <a:cubicBezTo>
                    <a:pt x="6265" y="21600"/>
                    <a:pt x="7492" y="21051"/>
                    <a:pt x="8380" y="20162"/>
                  </a:cubicBezTo>
                  <a:lnTo>
                    <a:pt x="20162" y="8381"/>
                  </a:lnTo>
                  <a:lnTo>
                    <a:pt x="20163" y="8380"/>
                  </a:lnTo>
                  <a:lnTo>
                    <a:pt x="20653" y="7890"/>
                  </a:lnTo>
                  <a:lnTo>
                    <a:pt x="20614" y="7851"/>
                  </a:lnTo>
                  <a:cubicBezTo>
                    <a:pt x="21230" y="7030"/>
                    <a:pt x="21600" y="6015"/>
                    <a:pt x="21600" y="4909"/>
                  </a:cubicBezTo>
                  <a:moveTo>
                    <a:pt x="10800" y="6873"/>
                  </a:moveTo>
                  <a:cubicBezTo>
                    <a:pt x="10800" y="7144"/>
                    <a:pt x="11020" y="7364"/>
                    <a:pt x="11291" y="7364"/>
                  </a:cubicBezTo>
                  <a:cubicBezTo>
                    <a:pt x="11562" y="7364"/>
                    <a:pt x="11782" y="7144"/>
                    <a:pt x="11782" y="6873"/>
                  </a:cubicBezTo>
                  <a:cubicBezTo>
                    <a:pt x="11782" y="6602"/>
                    <a:pt x="11562" y="6382"/>
                    <a:pt x="11291" y="6382"/>
                  </a:cubicBezTo>
                  <a:cubicBezTo>
                    <a:pt x="11020" y="6382"/>
                    <a:pt x="10800" y="6602"/>
                    <a:pt x="10800" y="6873"/>
                  </a:cubicBezTo>
                  <a:moveTo>
                    <a:pt x="13255" y="12273"/>
                  </a:moveTo>
                  <a:cubicBezTo>
                    <a:pt x="13526" y="12273"/>
                    <a:pt x="13745" y="12053"/>
                    <a:pt x="13745" y="11782"/>
                  </a:cubicBezTo>
                  <a:cubicBezTo>
                    <a:pt x="13745" y="11511"/>
                    <a:pt x="13526" y="11291"/>
                    <a:pt x="13255" y="11291"/>
                  </a:cubicBezTo>
                  <a:cubicBezTo>
                    <a:pt x="12983" y="11291"/>
                    <a:pt x="12764" y="11511"/>
                    <a:pt x="12764" y="11782"/>
                  </a:cubicBezTo>
                  <a:cubicBezTo>
                    <a:pt x="12764" y="12053"/>
                    <a:pt x="12983" y="12273"/>
                    <a:pt x="13255" y="12273"/>
                  </a:cubicBezTo>
                  <a:moveTo>
                    <a:pt x="12273" y="9818"/>
                  </a:moveTo>
                  <a:cubicBezTo>
                    <a:pt x="12544" y="9818"/>
                    <a:pt x="12764" y="9599"/>
                    <a:pt x="12764" y="9327"/>
                  </a:cubicBezTo>
                  <a:cubicBezTo>
                    <a:pt x="12764" y="9056"/>
                    <a:pt x="12544" y="8836"/>
                    <a:pt x="12273" y="8836"/>
                  </a:cubicBezTo>
                  <a:cubicBezTo>
                    <a:pt x="12001" y="8836"/>
                    <a:pt x="11782" y="9056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moveTo>
                    <a:pt x="10800" y="10309"/>
                  </a:moveTo>
                  <a:cubicBezTo>
                    <a:pt x="10529" y="10309"/>
                    <a:pt x="10309" y="10529"/>
                    <a:pt x="10309" y="10800"/>
                  </a:cubicBezTo>
                  <a:cubicBezTo>
                    <a:pt x="10309" y="11071"/>
                    <a:pt x="10529" y="11291"/>
                    <a:pt x="10800" y="11291"/>
                  </a:cubicBezTo>
                  <a:cubicBezTo>
                    <a:pt x="11071" y="11291"/>
                    <a:pt x="11291" y="11071"/>
                    <a:pt x="11291" y="10800"/>
                  </a:cubicBezTo>
                  <a:cubicBezTo>
                    <a:pt x="11291" y="10529"/>
                    <a:pt x="11071" y="10309"/>
                    <a:pt x="10800" y="10309"/>
                  </a:cubicBezTo>
                  <a:moveTo>
                    <a:pt x="10309" y="14236"/>
                  </a:moveTo>
                  <a:cubicBezTo>
                    <a:pt x="10038" y="14236"/>
                    <a:pt x="9818" y="14456"/>
                    <a:pt x="9818" y="14727"/>
                  </a:cubicBezTo>
                  <a:cubicBezTo>
                    <a:pt x="9818" y="14999"/>
                    <a:pt x="10038" y="15218"/>
                    <a:pt x="10309" y="15218"/>
                  </a:cubicBezTo>
                  <a:cubicBezTo>
                    <a:pt x="10580" y="15218"/>
                    <a:pt x="10800" y="14999"/>
                    <a:pt x="10800" y="14727"/>
                  </a:cubicBezTo>
                  <a:cubicBezTo>
                    <a:pt x="10800" y="14456"/>
                    <a:pt x="10580" y="14236"/>
                    <a:pt x="10309" y="14236"/>
                  </a:cubicBezTo>
                  <a:moveTo>
                    <a:pt x="9818" y="8836"/>
                  </a:moveTo>
                  <a:cubicBezTo>
                    <a:pt x="10090" y="8836"/>
                    <a:pt x="10309" y="8617"/>
                    <a:pt x="10309" y="8345"/>
                  </a:cubicBezTo>
                  <a:cubicBezTo>
                    <a:pt x="10309" y="8075"/>
                    <a:pt x="10090" y="7855"/>
                    <a:pt x="9818" y="7855"/>
                  </a:cubicBezTo>
                  <a:cubicBezTo>
                    <a:pt x="9547" y="7855"/>
                    <a:pt x="9327" y="8075"/>
                    <a:pt x="9327" y="8345"/>
                  </a:cubicBezTo>
                  <a:cubicBezTo>
                    <a:pt x="9327" y="8617"/>
                    <a:pt x="9547" y="8836"/>
                    <a:pt x="9818" y="8836"/>
                  </a:cubicBezTo>
                  <a:moveTo>
                    <a:pt x="6873" y="10800"/>
                  </a:moveTo>
                  <a:cubicBezTo>
                    <a:pt x="6601" y="10800"/>
                    <a:pt x="6382" y="11020"/>
                    <a:pt x="6382" y="11291"/>
                  </a:cubicBezTo>
                  <a:cubicBezTo>
                    <a:pt x="6382" y="11562"/>
                    <a:pt x="6601" y="11782"/>
                    <a:pt x="6873" y="11782"/>
                  </a:cubicBezTo>
                  <a:cubicBezTo>
                    <a:pt x="7144" y="11782"/>
                    <a:pt x="7364" y="11562"/>
                    <a:pt x="7364" y="11291"/>
                  </a:cubicBezTo>
                  <a:cubicBezTo>
                    <a:pt x="7364" y="11020"/>
                    <a:pt x="7144" y="10800"/>
                    <a:pt x="6873" y="10800"/>
                  </a:cubicBezTo>
                  <a:moveTo>
                    <a:pt x="8345" y="9327"/>
                  </a:moveTo>
                  <a:cubicBezTo>
                    <a:pt x="8074" y="9327"/>
                    <a:pt x="7855" y="9547"/>
                    <a:pt x="7855" y="9818"/>
                  </a:cubicBezTo>
                  <a:cubicBezTo>
                    <a:pt x="7855" y="10090"/>
                    <a:pt x="8074" y="10309"/>
                    <a:pt x="8345" y="10309"/>
                  </a:cubicBezTo>
                  <a:cubicBezTo>
                    <a:pt x="8617" y="10309"/>
                    <a:pt x="8836" y="10090"/>
                    <a:pt x="8836" y="9818"/>
                  </a:cubicBezTo>
                  <a:cubicBezTo>
                    <a:pt x="8836" y="9547"/>
                    <a:pt x="8617" y="9327"/>
                    <a:pt x="8345" y="9327"/>
                  </a:cubicBezTo>
                  <a:moveTo>
                    <a:pt x="9327" y="11782"/>
                  </a:moveTo>
                  <a:cubicBezTo>
                    <a:pt x="9056" y="11782"/>
                    <a:pt x="8836" y="12001"/>
                    <a:pt x="8836" y="12273"/>
                  </a:cubicBezTo>
                  <a:cubicBezTo>
                    <a:pt x="8836" y="12544"/>
                    <a:pt x="9056" y="12764"/>
                    <a:pt x="9327" y="12764"/>
                  </a:cubicBezTo>
                  <a:cubicBezTo>
                    <a:pt x="9599" y="12764"/>
                    <a:pt x="9818" y="12544"/>
                    <a:pt x="9818" y="12273"/>
                  </a:cubicBezTo>
                  <a:cubicBezTo>
                    <a:pt x="9818" y="12001"/>
                    <a:pt x="9599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766">
              <a:extLst>
                <a:ext uri="{FF2B5EF4-FFF2-40B4-BE49-F238E27FC236}">
                  <a16:creationId xmlns:a16="http://schemas.microsoft.com/office/drawing/2014/main" id="{42BA1F13-7B32-49D3-B540-30DC5EFC7FF8}"/>
                </a:ext>
              </a:extLst>
            </p:cNvPr>
            <p:cNvSpPr/>
            <p:nvPr/>
          </p:nvSpPr>
          <p:spPr bwMode="gray">
            <a:xfrm>
              <a:off x="10574655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767">
              <a:extLst>
                <a:ext uri="{FF2B5EF4-FFF2-40B4-BE49-F238E27FC236}">
                  <a16:creationId xmlns:a16="http://schemas.microsoft.com/office/drawing/2014/main" id="{7E82E703-F051-421B-9AF8-A94C1F1B066F}"/>
                </a:ext>
              </a:extLst>
            </p:cNvPr>
            <p:cNvSpPr/>
            <p:nvPr/>
          </p:nvSpPr>
          <p:spPr bwMode="gray">
            <a:xfrm>
              <a:off x="11126368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768">
              <a:extLst>
                <a:ext uri="{FF2B5EF4-FFF2-40B4-BE49-F238E27FC236}">
                  <a16:creationId xmlns:a16="http://schemas.microsoft.com/office/drawing/2014/main" id="{79473613-7105-4D29-A781-E308C978304C}"/>
                </a:ext>
              </a:extLst>
            </p:cNvPr>
            <p:cNvSpPr/>
            <p:nvPr/>
          </p:nvSpPr>
          <p:spPr bwMode="gray">
            <a:xfrm>
              <a:off x="6160946" y="5136724"/>
              <a:ext cx="288993" cy="1050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8900"/>
                  </a:moveTo>
                  <a:lnTo>
                    <a:pt x="11291" y="18900"/>
                  </a:lnTo>
                  <a:lnTo>
                    <a:pt x="11291" y="2700"/>
                  </a:lnTo>
                  <a:lnTo>
                    <a:pt x="17673" y="2700"/>
                  </a:lnTo>
                  <a:cubicBezTo>
                    <a:pt x="19300" y="2700"/>
                    <a:pt x="20618" y="6328"/>
                    <a:pt x="20618" y="10800"/>
                  </a:cubicBezTo>
                  <a:cubicBezTo>
                    <a:pt x="20618" y="15273"/>
                    <a:pt x="19300" y="18900"/>
                    <a:pt x="17673" y="18900"/>
                  </a:cubicBezTo>
                  <a:moveTo>
                    <a:pt x="6382" y="13500"/>
                  </a:moveTo>
                  <a:cubicBezTo>
                    <a:pt x="6111" y="13500"/>
                    <a:pt x="5891" y="12896"/>
                    <a:pt x="5891" y="12150"/>
                  </a:cubicBezTo>
                  <a:cubicBezTo>
                    <a:pt x="5891" y="11404"/>
                    <a:pt x="6111" y="10800"/>
                    <a:pt x="6382" y="10800"/>
                  </a:cubicBezTo>
                  <a:cubicBezTo>
                    <a:pt x="6653" y="10800"/>
                    <a:pt x="6873" y="11404"/>
                    <a:pt x="6873" y="12150"/>
                  </a:cubicBezTo>
                  <a:cubicBezTo>
                    <a:pt x="6873" y="12896"/>
                    <a:pt x="6653" y="13500"/>
                    <a:pt x="6382" y="13500"/>
                  </a:cubicBezTo>
                  <a:moveTo>
                    <a:pt x="3927" y="10800"/>
                  </a:moveTo>
                  <a:cubicBezTo>
                    <a:pt x="3385" y="10800"/>
                    <a:pt x="2945" y="9592"/>
                    <a:pt x="2945" y="8100"/>
                  </a:cubicBezTo>
                  <a:cubicBezTo>
                    <a:pt x="2945" y="6610"/>
                    <a:pt x="3385" y="5400"/>
                    <a:pt x="3927" y="5400"/>
                  </a:cubicBezTo>
                  <a:cubicBezTo>
                    <a:pt x="4469" y="5400"/>
                    <a:pt x="4909" y="6610"/>
                    <a:pt x="4909" y="8100"/>
                  </a:cubicBezTo>
                  <a:cubicBezTo>
                    <a:pt x="4909" y="9592"/>
                    <a:pt x="4469" y="10800"/>
                    <a:pt x="3927" y="10800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4836"/>
                    <a:pt x="0" y="10800"/>
                  </a:cubicBezTo>
                  <a:cubicBezTo>
                    <a:pt x="0" y="1676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6764"/>
                    <a:pt x="21600" y="10800"/>
                  </a:cubicBezTo>
                  <a:cubicBezTo>
                    <a:pt x="21600" y="4836"/>
                    <a:pt x="19842" y="0"/>
                    <a:pt x="17673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769">
              <a:extLst>
                <a:ext uri="{FF2B5EF4-FFF2-40B4-BE49-F238E27FC236}">
                  <a16:creationId xmlns:a16="http://schemas.microsoft.com/office/drawing/2014/main" id="{F7511590-ADA7-4EEE-87C5-673C2A1694E5}"/>
                </a:ext>
              </a:extLst>
            </p:cNvPr>
            <p:cNvSpPr/>
            <p:nvPr/>
          </p:nvSpPr>
          <p:spPr bwMode="gray">
            <a:xfrm>
              <a:off x="6752068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0" y="8836"/>
                  </a:moveTo>
                  <a:cubicBezTo>
                    <a:pt x="1350" y="7752"/>
                    <a:pt x="2559" y="6873"/>
                    <a:pt x="4050" y="6873"/>
                  </a:cubicBezTo>
                  <a:lnTo>
                    <a:pt x="17550" y="6873"/>
                  </a:lnTo>
                  <a:cubicBezTo>
                    <a:pt x="19041" y="6873"/>
                    <a:pt x="20250" y="7752"/>
                    <a:pt x="20250" y="8836"/>
                  </a:cubicBezTo>
                  <a:cubicBezTo>
                    <a:pt x="20250" y="8836"/>
                    <a:pt x="1350" y="8836"/>
                    <a:pt x="1350" y="8836"/>
                  </a:cubicBezTo>
                  <a:close/>
                  <a:moveTo>
                    <a:pt x="14850" y="12764"/>
                  </a:moveTo>
                  <a:lnTo>
                    <a:pt x="14850" y="14727"/>
                  </a:lnTo>
                  <a:lnTo>
                    <a:pt x="12150" y="14727"/>
                  </a:lnTo>
                  <a:lnTo>
                    <a:pt x="12150" y="16691"/>
                  </a:lnTo>
                  <a:lnTo>
                    <a:pt x="9450" y="16691"/>
                  </a:lnTo>
                  <a:lnTo>
                    <a:pt x="9450" y="14727"/>
                  </a:lnTo>
                  <a:lnTo>
                    <a:pt x="6750" y="14727"/>
                  </a:lnTo>
                  <a:lnTo>
                    <a:pt x="6750" y="12764"/>
                  </a:lnTo>
                  <a:lnTo>
                    <a:pt x="9450" y="12764"/>
                  </a:lnTo>
                  <a:lnTo>
                    <a:pt x="9450" y="10800"/>
                  </a:lnTo>
                  <a:lnTo>
                    <a:pt x="12150" y="10800"/>
                  </a:lnTo>
                  <a:lnTo>
                    <a:pt x="12150" y="12764"/>
                  </a:lnTo>
                  <a:cubicBezTo>
                    <a:pt x="12150" y="12764"/>
                    <a:pt x="14850" y="12764"/>
                    <a:pt x="14850" y="12764"/>
                  </a:cubicBezTo>
                  <a:close/>
                  <a:moveTo>
                    <a:pt x="17550" y="20618"/>
                  </a:moveTo>
                  <a:lnTo>
                    <a:pt x="4050" y="20618"/>
                  </a:lnTo>
                  <a:cubicBezTo>
                    <a:pt x="2559" y="20618"/>
                    <a:pt x="1350" y="19739"/>
                    <a:pt x="1350" y="18655"/>
                  </a:cubicBezTo>
                  <a:lnTo>
                    <a:pt x="20250" y="18655"/>
                  </a:lnTo>
                  <a:cubicBezTo>
                    <a:pt x="20250" y="19739"/>
                    <a:pt x="19041" y="20618"/>
                    <a:pt x="17550" y="20618"/>
                  </a:cubicBezTo>
                  <a:moveTo>
                    <a:pt x="6750" y="2945"/>
                  </a:moveTo>
                  <a:lnTo>
                    <a:pt x="14850" y="2945"/>
                  </a:lnTo>
                  <a:lnTo>
                    <a:pt x="14850" y="4909"/>
                  </a:lnTo>
                  <a:lnTo>
                    <a:pt x="6750" y="4909"/>
                  </a:lnTo>
                  <a:cubicBezTo>
                    <a:pt x="6750" y="4909"/>
                    <a:pt x="6750" y="2945"/>
                    <a:pt x="6750" y="2945"/>
                  </a:cubicBezTo>
                  <a:close/>
                  <a:moveTo>
                    <a:pt x="6750" y="982"/>
                  </a:moveTo>
                  <a:lnTo>
                    <a:pt x="14850" y="982"/>
                  </a:lnTo>
                  <a:lnTo>
                    <a:pt x="14850" y="1964"/>
                  </a:lnTo>
                  <a:lnTo>
                    <a:pt x="6750" y="1964"/>
                  </a:lnTo>
                  <a:cubicBezTo>
                    <a:pt x="6750" y="1964"/>
                    <a:pt x="6750" y="982"/>
                    <a:pt x="6750" y="982"/>
                  </a:cubicBezTo>
                  <a:close/>
                  <a:moveTo>
                    <a:pt x="17550" y="5891"/>
                  </a:moveTo>
                  <a:lnTo>
                    <a:pt x="16200" y="5891"/>
                  </a:lnTo>
                  <a:lnTo>
                    <a:pt x="16200" y="4909"/>
                  </a:lnTo>
                  <a:lnTo>
                    <a:pt x="16200" y="982"/>
                  </a:lnTo>
                  <a:cubicBezTo>
                    <a:pt x="16200" y="440"/>
                    <a:pt x="15595" y="0"/>
                    <a:pt x="14850" y="0"/>
                  </a:cubicBezTo>
                  <a:lnTo>
                    <a:pt x="6750" y="0"/>
                  </a:lnTo>
                  <a:cubicBezTo>
                    <a:pt x="6005" y="0"/>
                    <a:pt x="5400" y="440"/>
                    <a:pt x="5400" y="982"/>
                  </a:cubicBezTo>
                  <a:lnTo>
                    <a:pt x="5400" y="4909"/>
                  </a:lnTo>
                  <a:lnTo>
                    <a:pt x="5400" y="5891"/>
                  </a:lnTo>
                  <a:lnTo>
                    <a:pt x="4050" y="5891"/>
                  </a:lnTo>
                  <a:cubicBezTo>
                    <a:pt x="1813" y="5891"/>
                    <a:pt x="0" y="7210"/>
                    <a:pt x="0" y="8836"/>
                  </a:cubicBezTo>
                  <a:lnTo>
                    <a:pt x="0" y="18655"/>
                  </a:lnTo>
                  <a:cubicBezTo>
                    <a:pt x="0" y="20282"/>
                    <a:pt x="1813" y="21600"/>
                    <a:pt x="4050" y="21600"/>
                  </a:cubicBezTo>
                  <a:lnTo>
                    <a:pt x="17550" y="21600"/>
                  </a:lnTo>
                  <a:cubicBezTo>
                    <a:pt x="19787" y="21600"/>
                    <a:pt x="21600" y="20282"/>
                    <a:pt x="21600" y="18655"/>
                  </a:cubicBezTo>
                  <a:lnTo>
                    <a:pt x="21600" y="8836"/>
                  </a:lnTo>
                  <a:cubicBezTo>
                    <a:pt x="21600" y="7210"/>
                    <a:pt x="19787" y="5891"/>
                    <a:pt x="1755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770">
              <a:extLst>
                <a:ext uri="{FF2B5EF4-FFF2-40B4-BE49-F238E27FC236}">
                  <a16:creationId xmlns:a16="http://schemas.microsoft.com/office/drawing/2014/main" id="{3165C790-4C40-4A1B-AAF5-A52E5F69BF7D}"/>
                </a:ext>
              </a:extLst>
            </p:cNvPr>
            <p:cNvSpPr/>
            <p:nvPr/>
          </p:nvSpPr>
          <p:spPr bwMode="gray">
            <a:xfrm>
              <a:off x="7264373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771">
              <a:extLst>
                <a:ext uri="{FF2B5EF4-FFF2-40B4-BE49-F238E27FC236}">
                  <a16:creationId xmlns:a16="http://schemas.microsoft.com/office/drawing/2014/main" id="{719043BC-9BE5-494C-BD47-BB2A2B7A767A}"/>
                </a:ext>
              </a:extLst>
            </p:cNvPr>
            <p:cNvSpPr/>
            <p:nvPr/>
          </p:nvSpPr>
          <p:spPr bwMode="gray">
            <a:xfrm>
              <a:off x="781608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8836"/>
                  </a:moveTo>
                  <a:cubicBezTo>
                    <a:pt x="15812" y="8836"/>
                    <a:pt x="16691" y="9716"/>
                    <a:pt x="16691" y="10800"/>
                  </a:cubicBezTo>
                  <a:cubicBezTo>
                    <a:pt x="16691" y="11884"/>
                    <a:pt x="15812" y="12764"/>
                    <a:pt x="14727" y="12764"/>
                  </a:cubicBezTo>
                  <a:cubicBezTo>
                    <a:pt x="13643" y="12764"/>
                    <a:pt x="12764" y="11884"/>
                    <a:pt x="12764" y="10800"/>
                  </a:cubicBezTo>
                  <a:cubicBezTo>
                    <a:pt x="12764" y="9716"/>
                    <a:pt x="13643" y="8836"/>
                    <a:pt x="14727" y="8836"/>
                  </a:cubicBezTo>
                  <a:moveTo>
                    <a:pt x="14727" y="13745"/>
                  </a:moveTo>
                  <a:cubicBezTo>
                    <a:pt x="16354" y="13745"/>
                    <a:pt x="17673" y="12427"/>
                    <a:pt x="17673" y="10800"/>
                  </a:cubicBezTo>
                  <a:cubicBezTo>
                    <a:pt x="17673" y="9174"/>
                    <a:pt x="16354" y="7855"/>
                    <a:pt x="14727" y="7855"/>
                  </a:cubicBezTo>
                  <a:cubicBezTo>
                    <a:pt x="13100" y="7855"/>
                    <a:pt x="11782" y="9174"/>
                    <a:pt x="11782" y="10800"/>
                  </a:cubicBezTo>
                  <a:cubicBezTo>
                    <a:pt x="11782" y="12427"/>
                    <a:pt x="13100" y="13745"/>
                    <a:pt x="14727" y="13745"/>
                  </a:cubicBezTo>
                  <a:moveTo>
                    <a:pt x="6873" y="7308"/>
                  </a:moveTo>
                  <a:lnTo>
                    <a:pt x="8442" y="9818"/>
                  </a:lnTo>
                  <a:lnTo>
                    <a:pt x="5304" y="9818"/>
                  </a:lnTo>
                  <a:cubicBezTo>
                    <a:pt x="5304" y="9818"/>
                    <a:pt x="6873" y="7308"/>
                    <a:pt x="6873" y="7308"/>
                  </a:cubicBezTo>
                  <a:close/>
                  <a:moveTo>
                    <a:pt x="4418" y="10800"/>
                  </a:moveTo>
                  <a:lnTo>
                    <a:pt x="9327" y="10800"/>
                  </a:lnTo>
                  <a:cubicBezTo>
                    <a:pt x="9598" y="10800"/>
                    <a:pt x="9818" y="10580"/>
                    <a:pt x="9818" y="10309"/>
                  </a:cubicBezTo>
                  <a:cubicBezTo>
                    <a:pt x="9818" y="10208"/>
                    <a:pt x="9780" y="10120"/>
                    <a:pt x="9728" y="10042"/>
                  </a:cubicBezTo>
                  <a:lnTo>
                    <a:pt x="9736" y="10037"/>
                  </a:lnTo>
                  <a:lnTo>
                    <a:pt x="7281" y="6110"/>
                  </a:lnTo>
                  <a:lnTo>
                    <a:pt x="7274" y="6114"/>
                  </a:lnTo>
                  <a:cubicBezTo>
                    <a:pt x="7186" y="5983"/>
                    <a:pt x="7043" y="5891"/>
                    <a:pt x="6873" y="5891"/>
                  </a:cubicBezTo>
                  <a:cubicBezTo>
                    <a:pt x="6702" y="5891"/>
                    <a:pt x="6560" y="5983"/>
                    <a:pt x="6472" y="6114"/>
                  </a:cubicBezTo>
                  <a:lnTo>
                    <a:pt x="6464" y="6110"/>
                  </a:lnTo>
                  <a:lnTo>
                    <a:pt x="4010" y="10037"/>
                  </a:lnTo>
                  <a:lnTo>
                    <a:pt x="4018" y="10042"/>
                  </a:lnTo>
                  <a:cubicBezTo>
                    <a:pt x="3965" y="10120"/>
                    <a:pt x="3927" y="1020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772">
              <a:extLst>
                <a:ext uri="{FF2B5EF4-FFF2-40B4-BE49-F238E27FC236}">
                  <a16:creationId xmlns:a16="http://schemas.microsoft.com/office/drawing/2014/main" id="{87176EF2-ECAE-445E-9DAE-C9133CB790AA}"/>
                </a:ext>
              </a:extLst>
            </p:cNvPr>
            <p:cNvSpPr/>
            <p:nvPr/>
          </p:nvSpPr>
          <p:spPr bwMode="gray">
            <a:xfrm>
              <a:off x="8367800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2273" y="12764"/>
                  </a:moveTo>
                  <a:lnTo>
                    <a:pt x="17182" y="12764"/>
                  </a:lnTo>
                  <a:cubicBezTo>
                    <a:pt x="17453" y="12764"/>
                    <a:pt x="17673" y="12544"/>
                    <a:pt x="17673" y="12273"/>
                  </a:cubicBezTo>
                  <a:cubicBezTo>
                    <a:pt x="17673" y="12002"/>
                    <a:pt x="17453" y="11782"/>
                    <a:pt x="17182" y="11782"/>
                  </a:cubicBezTo>
                  <a:lnTo>
                    <a:pt x="12273" y="11782"/>
                  </a:lnTo>
                  <a:cubicBezTo>
                    <a:pt x="12002" y="11782"/>
                    <a:pt x="11782" y="12002"/>
                    <a:pt x="11782" y="12273"/>
                  </a:cubicBezTo>
                  <a:cubicBezTo>
                    <a:pt x="11782" y="12544"/>
                    <a:pt x="12002" y="12764"/>
                    <a:pt x="12273" y="12764"/>
                  </a:cubicBezTo>
                  <a:moveTo>
                    <a:pt x="4909" y="6873"/>
                  </a:moveTo>
                  <a:lnTo>
                    <a:pt x="8836" y="6873"/>
                  </a:lnTo>
                  <a:lnTo>
                    <a:pt x="8836" y="11782"/>
                  </a:lnTo>
                  <a:lnTo>
                    <a:pt x="4909" y="11782"/>
                  </a:lnTo>
                  <a:cubicBezTo>
                    <a:pt x="4909" y="11782"/>
                    <a:pt x="4909" y="6873"/>
                    <a:pt x="4909" y="6873"/>
                  </a:cubicBezTo>
                  <a:close/>
                  <a:moveTo>
                    <a:pt x="4909" y="12764"/>
                  </a:moveTo>
                  <a:lnTo>
                    <a:pt x="8836" y="12764"/>
                  </a:lnTo>
                  <a:cubicBezTo>
                    <a:pt x="9378" y="12764"/>
                    <a:pt x="9818" y="12325"/>
                    <a:pt x="9818" y="11782"/>
                  </a:cubicBezTo>
                  <a:lnTo>
                    <a:pt x="9818" y="6873"/>
                  </a:lnTo>
                  <a:cubicBezTo>
                    <a:pt x="9818" y="6331"/>
                    <a:pt x="9378" y="5891"/>
                    <a:pt x="8836" y="5891"/>
                  </a:cubicBezTo>
                  <a:lnTo>
                    <a:pt x="4909" y="5891"/>
                  </a:lnTo>
                  <a:cubicBezTo>
                    <a:pt x="4367" y="5891"/>
                    <a:pt x="3927" y="6331"/>
                    <a:pt x="3927" y="6873"/>
                  </a:cubicBezTo>
                  <a:lnTo>
                    <a:pt x="3927" y="11782"/>
                  </a:lnTo>
                  <a:cubicBezTo>
                    <a:pt x="3927" y="12325"/>
                    <a:pt x="4367" y="12764"/>
                    <a:pt x="4909" y="12764"/>
                  </a:cubicBezTo>
                  <a:moveTo>
                    <a:pt x="12273" y="10800"/>
                  </a:moveTo>
                  <a:lnTo>
                    <a:pt x="14236" y="10800"/>
                  </a:lnTo>
                  <a:cubicBezTo>
                    <a:pt x="14507" y="10800"/>
                    <a:pt x="14727" y="10580"/>
                    <a:pt x="14727" y="10309"/>
                  </a:cubicBezTo>
                  <a:cubicBezTo>
                    <a:pt x="14727" y="10038"/>
                    <a:pt x="14507" y="9818"/>
                    <a:pt x="14236" y="9818"/>
                  </a:cubicBezTo>
                  <a:lnTo>
                    <a:pt x="12273" y="9818"/>
                  </a:lnTo>
                  <a:cubicBezTo>
                    <a:pt x="12002" y="9818"/>
                    <a:pt x="11782" y="10038"/>
                    <a:pt x="11782" y="10309"/>
                  </a:cubicBezTo>
                  <a:cubicBezTo>
                    <a:pt x="11782" y="10580"/>
                    <a:pt x="12002" y="10800"/>
                    <a:pt x="12273" y="10800"/>
                  </a:cubicBezTo>
                  <a:moveTo>
                    <a:pt x="12273" y="6873"/>
                  </a:moveTo>
                  <a:lnTo>
                    <a:pt x="15218" y="6873"/>
                  </a:lnTo>
                  <a:cubicBezTo>
                    <a:pt x="15489" y="6873"/>
                    <a:pt x="15709" y="6653"/>
                    <a:pt x="15709" y="6382"/>
                  </a:cubicBezTo>
                  <a:cubicBezTo>
                    <a:pt x="15709" y="6111"/>
                    <a:pt x="15489" y="5891"/>
                    <a:pt x="15218" y="5891"/>
                  </a:cubicBezTo>
                  <a:lnTo>
                    <a:pt x="12273" y="5891"/>
                  </a:lnTo>
                  <a:cubicBezTo>
                    <a:pt x="12002" y="5891"/>
                    <a:pt x="11782" y="6111"/>
                    <a:pt x="11782" y="6382"/>
                  </a:cubicBezTo>
                  <a:cubicBezTo>
                    <a:pt x="11782" y="6653"/>
                    <a:pt x="12002" y="6873"/>
                    <a:pt x="12273" y="6873"/>
                  </a:cubicBezTo>
                  <a:moveTo>
                    <a:pt x="12273" y="8836"/>
                  </a:moveTo>
                  <a:lnTo>
                    <a:pt x="17182" y="8836"/>
                  </a:lnTo>
                  <a:cubicBezTo>
                    <a:pt x="17453" y="8836"/>
                    <a:pt x="17673" y="8617"/>
                    <a:pt x="17673" y="8345"/>
                  </a:cubicBezTo>
                  <a:cubicBezTo>
                    <a:pt x="17673" y="8075"/>
                    <a:pt x="17453" y="7855"/>
                    <a:pt x="17182" y="7855"/>
                  </a:cubicBezTo>
                  <a:lnTo>
                    <a:pt x="12273" y="7855"/>
                  </a:lnTo>
                  <a:cubicBezTo>
                    <a:pt x="12002" y="7855"/>
                    <a:pt x="11782" y="8075"/>
                    <a:pt x="11782" y="8345"/>
                  </a:cubicBezTo>
                  <a:cubicBezTo>
                    <a:pt x="11782" y="8617"/>
                    <a:pt x="12002" y="8836"/>
                    <a:pt x="12273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773">
              <a:extLst>
                <a:ext uri="{FF2B5EF4-FFF2-40B4-BE49-F238E27FC236}">
                  <a16:creationId xmlns:a16="http://schemas.microsoft.com/office/drawing/2014/main" id="{988A4F50-5AD4-432A-922A-32308CABC1CE}"/>
                </a:ext>
              </a:extLst>
            </p:cNvPr>
            <p:cNvSpPr/>
            <p:nvPr/>
          </p:nvSpPr>
          <p:spPr bwMode="gray">
            <a:xfrm>
              <a:off x="8919514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8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4909" y="12764"/>
                  </a:moveTo>
                  <a:cubicBezTo>
                    <a:pt x="5180" y="12764"/>
                    <a:pt x="5400" y="12544"/>
                    <a:pt x="5400" y="12273"/>
                  </a:cubicBezTo>
                  <a:cubicBezTo>
                    <a:pt x="5400" y="9290"/>
                    <a:pt x="7818" y="6873"/>
                    <a:pt x="10800" y="6873"/>
                  </a:cubicBezTo>
                  <a:cubicBezTo>
                    <a:pt x="13782" y="6873"/>
                    <a:pt x="16200" y="9290"/>
                    <a:pt x="16200" y="12273"/>
                  </a:cubicBezTo>
                  <a:cubicBezTo>
                    <a:pt x="16200" y="12544"/>
                    <a:pt x="16420" y="12764"/>
                    <a:pt x="16691" y="12764"/>
                  </a:cubicBezTo>
                  <a:cubicBezTo>
                    <a:pt x="16962" y="12764"/>
                    <a:pt x="17182" y="12544"/>
                    <a:pt x="17182" y="12273"/>
                  </a:cubicBezTo>
                  <a:cubicBezTo>
                    <a:pt x="17182" y="8748"/>
                    <a:pt x="14325" y="5891"/>
                    <a:pt x="10800" y="5891"/>
                  </a:cubicBezTo>
                  <a:cubicBezTo>
                    <a:pt x="7275" y="5891"/>
                    <a:pt x="4418" y="8748"/>
                    <a:pt x="4418" y="12273"/>
                  </a:cubicBezTo>
                  <a:cubicBezTo>
                    <a:pt x="4418" y="12544"/>
                    <a:pt x="4638" y="12764"/>
                    <a:pt x="4909" y="12764"/>
                  </a:cubicBezTo>
                  <a:moveTo>
                    <a:pt x="10800" y="11782"/>
                  </a:moveTo>
                  <a:cubicBezTo>
                    <a:pt x="10529" y="11782"/>
                    <a:pt x="10309" y="12002"/>
                    <a:pt x="10309" y="12273"/>
                  </a:cubicBezTo>
                  <a:cubicBezTo>
                    <a:pt x="10309" y="12544"/>
                    <a:pt x="10529" y="12764"/>
                    <a:pt x="10800" y="12764"/>
                  </a:cubicBezTo>
                  <a:cubicBezTo>
                    <a:pt x="11071" y="12764"/>
                    <a:pt x="11291" y="12544"/>
                    <a:pt x="11291" y="12273"/>
                  </a:cubicBezTo>
                  <a:cubicBezTo>
                    <a:pt x="11291" y="12002"/>
                    <a:pt x="11071" y="11782"/>
                    <a:pt x="10800" y="11782"/>
                  </a:cubicBezTo>
                  <a:moveTo>
                    <a:pt x="10800" y="8836"/>
                  </a:moveTo>
                  <a:cubicBezTo>
                    <a:pt x="8903" y="8836"/>
                    <a:pt x="7364" y="10375"/>
                    <a:pt x="7364" y="12273"/>
                  </a:cubicBezTo>
                  <a:cubicBezTo>
                    <a:pt x="7364" y="12544"/>
                    <a:pt x="7583" y="12764"/>
                    <a:pt x="7855" y="12764"/>
                  </a:cubicBezTo>
                  <a:cubicBezTo>
                    <a:pt x="8126" y="12764"/>
                    <a:pt x="8345" y="12544"/>
                    <a:pt x="8345" y="12273"/>
                  </a:cubicBezTo>
                  <a:cubicBezTo>
                    <a:pt x="8345" y="10917"/>
                    <a:pt x="9444" y="9818"/>
                    <a:pt x="10800" y="9818"/>
                  </a:cubicBezTo>
                  <a:cubicBezTo>
                    <a:pt x="12156" y="9818"/>
                    <a:pt x="13255" y="10917"/>
                    <a:pt x="13255" y="12273"/>
                  </a:cubicBezTo>
                  <a:cubicBezTo>
                    <a:pt x="13255" y="12544"/>
                    <a:pt x="13474" y="12764"/>
                    <a:pt x="13745" y="12764"/>
                  </a:cubicBezTo>
                  <a:cubicBezTo>
                    <a:pt x="14017" y="12764"/>
                    <a:pt x="14236" y="12544"/>
                    <a:pt x="14236" y="12273"/>
                  </a:cubicBezTo>
                  <a:cubicBezTo>
                    <a:pt x="14236" y="10375"/>
                    <a:pt x="12698" y="8836"/>
                    <a:pt x="108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774">
              <a:extLst>
                <a:ext uri="{FF2B5EF4-FFF2-40B4-BE49-F238E27FC236}">
                  <a16:creationId xmlns:a16="http://schemas.microsoft.com/office/drawing/2014/main" id="{76C14E1A-4544-4227-B09A-719C95045FB4}"/>
                </a:ext>
              </a:extLst>
            </p:cNvPr>
            <p:cNvSpPr/>
            <p:nvPr/>
          </p:nvSpPr>
          <p:spPr bwMode="gray">
            <a:xfrm>
              <a:off x="947122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7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39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39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1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6200" y="5891"/>
                  </a:moveTo>
                  <a:cubicBezTo>
                    <a:pt x="16471" y="5891"/>
                    <a:pt x="16691" y="6111"/>
                    <a:pt x="16691" y="6382"/>
                  </a:cubicBezTo>
                  <a:cubicBezTo>
                    <a:pt x="16691" y="6653"/>
                    <a:pt x="16471" y="6873"/>
                    <a:pt x="16200" y="6873"/>
                  </a:cubicBezTo>
                  <a:cubicBezTo>
                    <a:pt x="15929" y="6873"/>
                    <a:pt x="15709" y="6653"/>
                    <a:pt x="15709" y="6382"/>
                  </a:cubicBezTo>
                  <a:cubicBezTo>
                    <a:pt x="15709" y="6111"/>
                    <a:pt x="15929" y="5891"/>
                    <a:pt x="16200" y="5891"/>
                  </a:cubicBezTo>
                  <a:moveTo>
                    <a:pt x="16200" y="7855"/>
                  </a:moveTo>
                  <a:cubicBezTo>
                    <a:pt x="17013" y="7855"/>
                    <a:pt x="17673" y="7196"/>
                    <a:pt x="17673" y="6382"/>
                  </a:cubicBezTo>
                  <a:cubicBezTo>
                    <a:pt x="17673" y="5569"/>
                    <a:pt x="17013" y="4909"/>
                    <a:pt x="16200" y="4909"/>
                  </a:cubicBezTo>
                  <a:cubicBezTo>
                    <a:pt x="15387" y="4909"/>
                    <a:pt x="14727" y="5569"/>
                    <a:pt x="14727" y="6382"/>
                  </a:cubicBezTo>
                  <a:cubicBezTo>
                    <a:pt x="14727" y="7196"/>
                    <a:pt x="15387" y="7855"/>
                    <a:pt x="16200" y="7855"/>
                  </a:cubicBezTo>
                  <a:moveTo>
                    <a:pt x="8422" y="8135"/>
                  </a:moveTo>
                  <a:lnTo>
                    <a:pt x="11926" y="11638"/>
                  </a:lnTo>
                  <a:cubicBezTo>
                    <a:pt x="12015" y="11727"/>
                    <a:pt x="12138" y="11782"/>
                    <a:pt x="12273" y="11782"/>
                  </a:cubicBezTo>
                  <a:cubicBezTo>
                    <a:pt x="12408" y="11782"/>
                    <a:pt x="12531" y="11727"/>
                    <a:pt x="12620" y="11638"/>
                  </a:cubicBezTo>
                  <a:lnTo>
                    <a:pt x="14183" y="10075"/>
                  </a:lnTo>
                  <a:lnTo>
                    <a:pt x="16200" y="12764"/>
                  </a:lnTo>
                  <a:lnTo>
                    <a:pt x="5336" y="12764"/>
                  </a:lnTo>
                  <a:cubicBezTo>
                    <a:pt x="5336" y="12764"/>
                    <a:pt x="8422" y="8135"/>
                    <a:pt x="8422" y="8135"/>
                  </a:cubicBezTo>
                  <a:close/>
                  <a:moveTo>
                    <a:pt x="4418" y="13745"/>
                  </a:moveTo>
                  <a:lnTo>
                    <a:pt x="17182" y="13745"/>
                  </a:lnTo>
                  <a:cubicBezTo>
                    <a:pt x="17453" y="13745"/>
                    <a:pt x="17673" y="13526"/>
                    <a:pt x="17673" y="13255"/>
                  </a:cubicBezTo>
                  <a:cubicBezTo>
                    <a:pt x="17673" y="13144"/>
                    <a:pt x="17630" y="13047"/>
                    <a:pt x="17568" y="12965"/>
                  </a:cubicBezTo>
                  <a:lnTo>
                    <a:pt x="17575" y="12960"/>
                  </a:lnTo>
                  <a:lnTo>
                    <a:pt x="14629" y="9033"/>
                  </a:lnTo>
                  <a:lnTo>
                    <a:pt x="14622" y="9038"/>
                  </a:lnTo>
                  <a:cubicBezTo>
                    <a:pt x="14533" y="8919"/>
                    <a:pt x="14397" y="8836"/>
                    <a:pt x="14236" y="8836"/>
                  </a:cubicBezTo>
                  <a:cubicBezTo>
                    <a:pt x="14101" y="8836"/>
                    <a:pt x="13978" y="8891"/>
                    <a:pt x="13889" y="8980"/>
                  </a:cubicBezTo>
                  <a:lnTo>
                    <a:pt x="12273" y="10597"/>
                  </a:lnTo>
                  <a:lnTo>
                    <a:pt x="8693" y="7017"/>
                  </a:lnTo>
                  <a:cubicBezTo>
                    <a:pt x="8604" y="6928"/>
                    <a:pt x="8481" y="6873"/>
                    <a:pt x="8345" y="6873"/>
                  </a:cubicBezTo>
                  <a:cubicBezTo>
                    <a:pt x="8175" y="6873"/>
                    <a:pt x="8033" y="6965"/>
                    <a:pt x="7945" y="7097"/>
                  </a:cubicBezTo>
                  <a:lnTo>
                    <a:pt x="7937" y="7091"/>
                  </a:lnTo>
                  <a:lnTo>
                    <a:pt x="4010" y="12982"/>
                  </a:lnTo>
                  <a:lnTo>
                    <a:pt x="4017" y="12988"/>
                  </a:lnTo>
                  <a:cubicBezTo>
                    <a:pt x="3965" y="13066"/>
                    <a:pt x="3927" y="13154"/>
                    <a:pt x="3927" y="13255"/>
                  </a:cubicBezTo>
                  <a:cubicBezTo>
                    <a:pt x="3927" y="13526"/>
                    <a:pt x="4147" y="13745"/>
                    <a:pt x="4418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775">
              <a:extLst>
                <a:ext uri="{FF2B5EF4-FFF2-40B4-BE49-F238E27FC236}">
                  <a16:creationId xmlns:a16="http://schemas.microsoft.com/office/drawing/2014/main" id="{DBF389D0-4749-42D5-B03C-94D069ED00E0}"/>
                </a:ext>
              </a:extLst>
            </p:cNvPr>
            <p:cNvSpPr/>
            <p:nvPr/>
          </p:nvSpPr>
          <p:spPr bwMode="gray">
            <a:xfrm>
              <a:off x="10022941" y="5090748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755"/>
                  </a:moveTo>
                  <a:lnTo>
                    <a:pt x="1866" y="6075"/>
                  </a:lnTo>
                  <a:lnTo>
                    <a:pt x="10800" y="1395"/>
                  </a:lnTo>
                  <a:lnTo>
                    <a:pt x="19735" y="6075"/>
                  </a:lnTo>
                  <a:cubicBezTo>
                    <a:pt x="19735" y="6075"/>
                    <a:pt x="10800" y="10755"/>
                    <a:pt x="10800" y="10755"/>
                  </a:cubicBezTo>
                  <a:close/>
                  <a:moveTo>
                    <a:pt x="18031" y="17315"/>
                  </a:moveTo>
                  <a:lnTo>
                    <a:pt x="14834" y="16216"/>
                  </a:lnTo>
                  <a:lnTo>
                    <a:pt x="14832" y="16229"/>
                  </a:lnTo>
                  <a:cubicBezTo>
                    <a:pt x="14797" y="16218"/>
                    <a:pt x="14765" y="16200"/>
                    <a:pt x="14727" y="16200"/>
                  </a:cubicBezTo>
                  <a:cubicBezTo>
                    <a:pt x="14627" y="16200"/>
                    <a:pt x="14538" y="16251"/>
                    <a:pt x="14460" y="16324"/>
                  </a:cubicBezTo>
                  <a:lnTo>
                    <a:pt x="14455" y="16313"/>
                  </a:lnTo>
                  <a:lnTo>
                    <a:pt x="10820" y="20061"/>
                  </a:lnTo>
                  <a:lnTo>
                    <a:pt x="7658" y="16334"/>
                  </a:lnTo>
                  <a:lnTo>
                    <a:pt x="7653" y="16344"/>
                  </a:lnTo>
                  <a:cubicBezTo>
                    <a:pt x="7571" y="16259"/>
                    <a:pt x="7474" y="16200"/>
                    <a:pt x="7364" y="16200"/>
                  </a:cubicBezTo>
                  <a:cubicBezTo>
                    <a:pt x="7327" y="16200"/>
                    <a:pt x="7294" y="16218"/>
                    <a:pt x="7259" y="16229"/>
                  </a:cubicBezTo>
                  <a:lnTo>
                    <a:pt x="7257" y="16216"/>
                  </a:lnTo>
                  <a:lnTo>
                    <a:pt x="4013" y="17331"/>
                  </a:lnTo>
                  <a:lnTo>
                    <a:pt x="4767" y="9035"/>
                  </a:lnTo>
                  <a:lnTo>
                    <a:pt x="10589" y="12084"/>
                  </a:lnTo>
                  <a:lnTo>
                    <a:pt x="10591" y="12080"/>
                  </a:lnTo>
                  <a:cubicBezTo>
                    <a:pt x="10655" y="12122"/>
                    <a:pt x="10724" y="12150"/>
                    <a:pt x="10800" y="12150"/>
                  </a:cubicBezTo>
                  <a:cubicBezTo>
                    <a:pt x="10876" y="12150"/>
                    <a:pt x="10946" y="12122"/>
                    <a:pt x="11009" y="12080"/>
                  </a:cubicBezTo>
                  <a:lnTo>
                    <a:pt x="11011" y="12084"/>
                  </a:lnTo>
                  <a:lnTo>
                    <a:pt x="16897" y="9001"/>
                  </a:lnTo>
                  <a:cubicBezTo>
                    <a:pt x="16897" y="9001"/>
                    <a:pt x="18031" y="17315"/>
                    <a:pt x="18031" y="17315"/>
                  </a:cubicBezTo>
                  <a:close/>
                  <a:moveTo>
                    <a:pt x="21600" y="6075"/>
                  </a:moveTo>
                  <a:cubicBezTo>
                    <a:pt x="21600" y="5806"/>
                    <a:pt x="21484" y="5579"/>
                    <a:pt x="21319" y="5470"/>
                  </a:cubicBezTo>
                  <a:lnTo>
                    <a:pt x="21320" y="5466"/>
                  </a:lnTo>
                  <a:lnTo>
                    <a:pt x="21306" y="5458"/>
                  </a:lnTo>
                  <a:cubicBezTo>
                    <a:pt x="21301" y="5455"/>
                    <a:pt x="21296" y="5453"/>
                    <a:pt x="21292" y="5451"/>
                  </a:cubicBezTo>
                  <a:lnTo>
                    <a:pt x="11011" y="66"/>
                  </a:lnTo>
                  <a:lnTo>
                    <a:pt x="11009" y="70"/>
                  </a:lnTo>
                  <a:cubicBezTo>
                    <a:pt x="10946" y="28"/>
                    <a:pt x="10876" y="0"/>
                    <a:pt x="10800" y="0"/>
                  </a:cubicBezTo>
                  <a:cubicBezTo>
                    <a:pt x="10724" y="0"/>
                    <a:pt x="10655" y="28"/>
                    <a:pt x="10591" y="70"/>
                  </a:cubicBezTo>
                  <a:lnTo>
                    <a:pt x="10589" y="66"/>
                  </a:lnTo>
                  <a:lnTo>
                    <a:pt x="309" y="5451"/>
                  </a:lnTo>
                  <a:cubicBezTo>
                    <a:pt x="304" y="5453"/>
                    <a:pt x="299" y="5455"/>
                    <a:pt x="295" y="5458"/>
                  </a:cubicBezTo>
                  <a:lnTo>
                    <a:pt x="280" y="5466"/>
                  </a:lnTo>
                  <a:lnTo>
                    <a:pt x="281" y="5470"/>
                  </a:lnTo>
                  <a:cubicBezTo>
                    <a:pt x="116" y="5579"/>
                    <a:pt x="0" y="5806"/>
                    <a:pt x="0" y="6075"/>
                  </a:cubicBezTo>
                  <a:cubicBezTo>
                    <a:pt x="0" y="6344"/>
                    <a:pt x="116" y="6571"/>
                    <a:pt x="281" y="6680"/>
                  </a:cubicBezTo>
                  <a:lnTo>
                    <a:pt x="280" y="6684"/>
                  </a:lnTo>
                  <a:lnTo>
                    <a:pt x="295" y="6692"/>
                  </a:lnTo>
                  <a:cubicBezTo>
                    <a:pt x="299" y="6695"/>
                    <a:pt x="304" y="6697"/>
                    <a:pt x="309" y="6699"/>
                  </a:cubicBezTo>
                  <a:lnTo>
                    <a:pt x="1230" y="7182"/>
                  </a:lnTo>
                  <a:lnTo>
                    <a:pt x="608" y="13603"/>
                  </a:lnTo>
                  <a:cubicBezTo>
                    <a:pt x="251" y="13805"/>
                    <a:pt x="0" y="14287"/>
                    <a:pt x="0" y="14850"/>
                  </a:cubicBezTo>
                  <a:cubicBezTo>
                    <a:pt x="0" y="15596"/>
                    <a:pt x="439" y="16200"/>
                    <a:pt x="982" y="16200"/>
                  </a:cubicBezTo>
                  <a:cubicBezTo>
                    <a:pt x="1524" y="16200"/>
                    <a:pt x="1964" y="15596"/>
                    <a:pt x="1964" y="14850"/>
                  </a:cubicBezTo>
                  <a:cubicBezTo>
                    <a:pt x="1964" y="14416"/>
                    <a:pt x="1812" y="14034"/>
                    <a:pt x="1580" y="13787"/>
                  </a:cubicBezTo>
                  <a:lnTo>
                    <a:pt x="2173" y="7676"/>
                  </a:lnTo>
                  <a:lnTo>
                    <a:pt x="3822" y="8540"/>
                  </a:lnTo>
                  <a:lnTo>
                    <a:pt x="2950" y="18135"/>
                  </a:lnTo>
                  <a:lnTo>
                    <a:pt x="2958" y="18138"/>
                  </a:lnTo>
                  <a:cubicBezTo>
                    <a:pt x="2955" y="18167"/>
                    <a:pt x="2945" y="18193"/>
                    <a:pt x="2945" y="18225"/>
                  </a:cubicBezTo>
                  <a:cubicBezTo>
                    <a:pt x="2945" y="18598"/>
                    <a:pt x="3165" y="18900"/>
                    <a:pt x="3436" y="18900"/>
                  </a:cubicBezTo>
                  <a:cubicBezTo>
                    <a:pt x="3474" y="18900"/>
                    <a:pt x="3506" y="18884"/>
                    <a:pt x="3541" y="18873"/>
                  </a:cubicBezTo>
                  <a:lnTo>
                    <a:pt x="3543" y="18884"/>
                  </a:lnTo>
                  <a:lnTo>
                    <a:pt x="7238" y="17613"/>
                  </a:lnTo>
                  <a:lnTo>
                    <a:pt x="10506" y="21465"/>
                  </a:lnTo>
                  <a:lnTo>
                    <a:pt x="10510" y="21456"/>
                  </a:lnTo>
                  <a:cubicBezTo>
                    <a:pt x="10593" y="21541"/>
                    <a:pt x="10690" y="21600"/>
                    <a:pt x="10800" y="21600"/>
                  </a:cubicBezTo>
                  <a:cubicBezTo>
                    <a:pt x="10901" y="21600"/>
                    <a:pt x="10989" y="21548"/>
                    <a:pt x="11068" y="21476"/>
                  </a:cubicBezTo>
                  <a:lnTo>
                    <a:pt x="11072" y="21487"/>
                  </a:lnTo>
                  <a:lnTo>
                    <a:pt x="14834" y="17607"/>
                  </a:lnTo>
                  <a:lnTo>
                    <a:pt x="18548" y="18884"/>
                  </a:lnTo>
                  <a:lnTo>
                    <a:pt x="18550" y="18871"/>
                  </a:lnTo>
                  <a:cubicBezTo>
                    <a:pt x="18585" y="18882"/>
                    <a:pt x="18618" y="18900"/>
                    <a:pt x="18655" y="18900"/>
                  </a:cubicBezTo>
                  <a:cubicBezTo>
                    <a:pt x="18926" y="18900"/>
                    <a:pt x="19145" y="18598"/>
                    <a:pt x="19145" y="18225"/>
                  </a:cubicBezTo>
                  <a:cubicBezTo>
                    <a:pt x="19145" y="18181"/>
                    <a:pt x="19135" y="18143"/>
                    <a:pt x="19130" y="18102"/>
                  </a:cubicBezTo>
                  <a:lnTo>
                    <a:pt x="19137" y="18100"/>
                  </a:lnTo>
                  <a:lnTo>
                    <a:pt x="17830" y="8513"/>
                  </a:lnTo>
                  <a:lnTo>
                    <a:pt x="21292" y="6699"/>
                  </a:lnTo>
                  <a:cubicBezTo>
                    <a:pt x="21296" y="6697"/>
                    <a:pt x="21301" y="6695"/>
                    <a:pt x="21306" y="6692"/>
                  </a:cubicBezTo>
                  <a:lnTo>
                    <a:pt x="21320" y="6684"/>
                  </a:lnTo>
                  <a:lnTo>
                    <a:pt x="21319" y="6680"/>
                  </a:lnTo>
                  <a:cubicBezTo>
                    <a:pt x="21484" y="6571"/>
                    <a:pt x="21600" y="6344"/>
                    <a:pt x="21600" y="607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776">
              <a:extLst>
                <a:ext uri="{FF2B5EF4-FFF2-40B4-BE49-F238E27FC236}">
                  <a16:creationId xmlns:a16="http://schemas.microsoft.com/office/drawing/2014/main" id="{ED0AD155-E819-4629-A6A5-51D1AE5AFF0D}"/>
                </a:ext>
              </a:extLst>
            </p:cNvPr>
            <p:cNvSpPr/>
            <p:nvPr/>
          </p:nvSpPr>
          <p:spPr bwMode="gray">
            <a:xfrm>
              <a:off x="10640335" y="5044772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00" y="7855"/>
                  </a:moveTo>
                  <a:lnTo>
                    <a:pt x="9900" y="7855"/>
                  </a:lnTo>
                  <a:lnTo>
                    <a:pt x="9900" y="9818"/>
                  </a:lnTo>
                  <a:cubicBezTo>
                    <a:pt x="9900" y="10090"/>
                    <a:pt x="10303" y="10309"/>
                    <a:pt x="10800" y="10309"/>
                  </a:cubicBezTo>
                  <a:cubicBezTo>
                    <a:pt x="11297" y="10309"/>
                    <a:pt x="11700" y="10090"/>
                    <a:pt x="11700" y="9818"/>
                  </a:cubicBezTo>
                  <a:lnTo>
                    <a:pt x="11700" y="7855"/>
                  </a:lnTo>
                  <a:lnTo>
                    <a:pt x="15300" y="7855"/>
                  </a:lnTo>
                  <a:cubicBezTo>
                    <a:pt x="15797" y="7855"/>
                    <a:pt x="16200" y="7635"/>
                    <a:pt x="16200" y="7364"/>
                  </a:cubicBezTo>
                  <a:cubicBezTo>
                    <a:pt x="16200" y="7092"/>
                    <a:pt x="15797" y="6873"/>
                    <a:pt x="15300" y="6873"/>
                  </a:cubicBezTo>
                  <a:lnTo>
                    <a:pt x="11700" y="6873"/>
                  </a:lnTo>
                  <a:lnTo>
                    <a:pt x="11700" y="4909"/>
                  </a:lnTo>
                  <a:cubicBezTo>
                    <a:pt x="11700" y="4638"/>
                    <a:pt x="11297" y="4418"/>
                    <a:pt x="10800" y="4418"/>
                  </a:cubicBezTo>
                  <a:cubicBezTo>
                    <a:pt x="10303" y="4418"/>
                    <a:pt x="9900" y="4638"/>
                    <a:pt x="9900" y="4909"/>
                  </a:cubicBezTo>
                  <a:lnTo>
                    <a:pt x="9900" y="6873"/>
                  </a:lnTo>
                  <a:lnTo>
                    <a:pt x="6300" y="6873"/>
                  </a:lnTo>
                  <a:cubicBezTo>
                    <a:pt x="5803" y="6873"/>
                    <a:pt x="5400" y="7092"/>
                    <a:pt x="5400" y="7364"/>
                  </a:cubicBezTo>
                  <a:cubicBezTo>
                    <a:pt x="5400" y="7635"/>
                    <a:pt x="5803" y="7855"/>
                    <a:pt x="6300" y="7855"/>
                  </a:cubicBezTo>
                  <a:moveTo>
                    <a:pt x="19800" y="19847"/>
                  </a:moveTo>
                  <a:lnTo>
                    <a:pt x="11464" y="14886"/>
                  </a:lnTo>
                  <a:lnTo>
                    <a:pt x="11457" y="14889"/>
                  </a:lnTo>
                  <a:cubicBezTo>
                    <a:pt x="11294" y="14791"/>
                    <a:pt x="11063" y="14727"/>
                    <a:pt x="10800" y="14727"/>
                  </a:cubicBezTo>
                  <a:cubicBezTo>
                    <a:pt x="10537" y="14727"/>
                    <a:pt x="10306" y="14791"/>
                    <a:pt x="10142" y="14889"/>
                  </a:cubicBezTo>
                  <a:lnTo>
                    <a:pt x="10136" y="14886"/>
                  </a:lnTo>
                  <a:lnTo>
                    <a:pt x="1800" y="19847"/>
                  </a:lnTo>
                  <a:lnTo>
                    <a:pt x="1800" y="982"/>
                  </a:lnTo>
                  <a:lnTo>
                    <a:pt x="19800" y="982"/>
                  </a:lnTo>
                  <a:cubicBezTo>
                    <a:pt x="19800" y="982"/>
                    <a:pt x="19800" y="19847"/>
                    <a:pt x="19800" y="19847"/>
                  </a:cubicBezTo>
                  <a:close/>
                  <a:moveTo>
                    <a:pt x="20700" y="0"/>
                  </a:moveTo>
                  <a:lnTo>
                    <a:pt x="900" y="0"/>
                  </a:ln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63" y="21600"/>
                    <a:pt x="1394" y="21536"/>
                    <a:pt x="1559" y="21438"/>
                  </a:cubicBezTo>
                  <a:lnTo>
                    <a:pt x="1564" y="21441"/>
                  </a:lnTo>
                  <a:lnTo>
                    <a:pt x="10800" y="15945"/>
                  </a:lnTo>
                  <a:lnTo>
                    <a:pt x="20036" y="21441"/>
                  </a:lnTo>
                  <a:lnTo>
                    <a:pt x="20041" y="21438"/>
                  </a:lnTo>
                  <a:cubicBezTo>
                    <a:pt x="20206" y="21536"/>
                    <a:pt x="20437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777">
              <a:extLst>
                <a:ext uri="{FF2B5EF4-FFF2-40B4-BE49-F238E27FC236}">
                  <a16:creationId xmlns:a16="http://schemas.microsoft.com/office/drawing/2014/main" id="{D77902D6-FDFD-4E09-B465-846296CB4516}"/>
                </a:ext>
              </a:extLst>
            </p:cNvPr>
            <p:cNvSpPr/>
            <p:nvPr/>
          </p:nvSpPr>
          <p:spPr bwMode="gray">
            <a:xfrm>
              <a:off x="11165776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20095"/>
                  </a:moveTo>
                  <a:lnTo>
                    <a:pt x="11298" y="14886"/>
                  </a:lnTo>
                  <a:lnTo>
                    <a:pt x="11293" y="14890"/>
                  </a:lnTo>
                  <a:cubicBezTo>
                    <a:pt x="11170" y="14791"/>
                    <a:pt x="10997" y="14727"/>
                    <a:pt x="10800" y="14727"/>
                  </a:cubicBezTo>
                  <a:cubicBezTo>
                    <a:pt x="10603" y="14727"/>
                    <a:pt x="10430" y="14791"/>
                    <a:pt x="10306" y="14890"/>
                  </a:cubicBezTo>
                  <a:lnTo>
                    <a:pt x="10302" y="14886"/>
                  </a:lnTo>
                  <a:lnTo>
                    <a:pt x="1350" y="20095"/>
                  </a:lnTo>
                  <a:lnTo>
                    <a:pt x="1350" y="982"/>
                  </a:lnTo>
                  <a:lnTo>
                    <a:pt x="20250" y="982"/>
                  </a:lnTo>
                  <a:cubicBezTo>
                    <a:pt x="20250" y="982"/>
                    <a:pt x="20250" y="20095"/>
                    <a:pt x="20250" y="20095"/>
                  </a:cubicBezTo>
                  <a:close/>
                  <a:moveTo>
                    <a:pt x="20925" y="0"/>
                  </a:moveTo>
                  <a:lnTo>
                    <a:pt x="675" y="0"/>
                  </a:lnTo>
                  <a:cubicBezTo>
                    <a:pt x="302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872" y="21600"/>
                    <a:pt x="1045" y="21537"/>
                    <a:pt x="1169" y="21438"/>
                  </a:cubicBezTo>
                  <a:lnTo>
                    <a:pt x="1173" y="21441"/>
                  </a:lnTo>
                  <a:lnTo>
                    <a:pt x="10800" y="15839"/>
                  </a:lnTo>
                  <a:lnTo>
                    <a:pt x="20427" y="21441"/>
                  </a:lnTo>
                  <a:lnTo>
                    <a:pt x="20431" y="21438"/>
                  </a:lnTo>
                  <a:cubicBezTo>
                    <a:pt x="20555" y="21537"/>
                    <a:pt x="20728" y="21600"/>
                    <a:pt x="20925" y="21600"/>
                  </a:cubicBezTo>
                  <a:cubicBezTo>
                    <a:pt x="21298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298" y="0"/>
                    <a:pt x="20925" y="0"/>
                  </a:cubicBezTo>
                  <a:moveTo>
                    <a:pt x="7337" y="7850"/>
                  </a:moveTo>
                  <a:lnTo>
                    <a:pt x="9710" y="7850"/>
                  </a:lnTo>
                  <a:lnTo>
                    <a:pt x="10039" y="7213"/>
                  </a:lnTo>
                  <a:lnTo>
                    <a:pt x="10800" y="5738"/>
                  </a:lnTo>
                  <a:lnTo>
                    <a:pt x="11561" y="7213"/>
                  </a:lnTo>
                  <a:lnTo>
                    <a:pt x="11890" y="7850"/>
                  </a:lnTo>
                  <a:lnTo>
                    <a:pt x="14263" y="7850"/>
                  </a:lnTo>
                  <a:lnTo>
                    <a:pt x="13014" y="8550"/>
                  </a:lnTo>
                  <a:lnTo>
                    <a:pt x="12253" y="8976"/>
                  </a:lnTo>
                  <a:lnTo>
                    <a:pt x="12557" y="9638"/>
                  </a:lnTo>
                  <a:lnTo>
                    <a:pt x="13240" y="11130"/>
                  </a:lnTo>
                  <a:lnTo>
                    <a:pt x="11598" y="10254"/>
                  </a:lnTo>
                  <a:lnTo>
                    <a:pt x="10800" y="9828"/>
                  </a:lnTo>
                  <a:lnTo>
                    <a:pt x="10002" y="10254"/>
                  </a:lnTo>
                  <a:lnTo>
                    <a:pt x="8360" y="11130"/>
                  </a:lnTo>
                  <a:lnTo>
                    <a:pt x="9043" y="9638"/>
                  </a:lnTo>
                  <a:lnTo>
                    <a:pt x="9347" y="8976"/>
                  </a:lnTo>
                  <a:lnTo>
                    <a:pt x="8586" y="8550"/>
                  </a:lnTo>
                  <a:cubicBezTo>
                    <a:pt x="8586" y="8550"/>
                    <a:pt x="7337" y="7850"/>
                    <a:pt x="7337" y="7850"/>
                  </a:cubicBezTo>
                  <a:close/>
                  <a:moveTo>
                    <a:pt x="5737" y="13745"/>
                  </a:moveTo>
                  <a:lnTo>
                    <a:pt x="10800" y="11045"/>
                  </a:lnTo>
                  <a:lnTo>
                    <a:pt x="15863" y="13745"/>
                  </a:lnTo>
                  <a:lnTo>
                    <a:pt x="13838" y="9328"/>
                  </a:lnTo>
                  <a:lnTo>
                    <a:pt x="18225" y="6868"/>
                  </a:lnTo>
                  <a:lnTo>
                    <a:pt x="12825" y="6868"/>
                  </a:lnTo>
                  <a:lnTo>
                    <a:pt x="10800" y="2945"/>
                  </a:lnTo>
                  <a:lnTo>
                    <a:pt x="8775" y="6868"/>
                  </a:lnTo>
                  <a:lnTo>
                    <a:pt x="3375" y="6868"/>
                  </a:lnTo>
                  <a:lnTo>
                    <a:pt x="7762" y="9328"/>
                  </a:lnTo>
                  <a:cubicBezTo>
                    <a:pt x="7762" y="9328"/>
                    <a:pt x="5737" y="13745"/>
                    <a:pt x="5737" y="137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778">
              <a:extLst>
                <a:ext uri="{FF2B5EF4-FFF2-40B4-BE49-F238E27FC236}">
                  <a16:creationId xmlns:a16="http://schemas.microsoft.com/office/drawing/2014/main" id="{14CAFABD-8BD8-449E-89AE-5790AD39B947}"/>
                </a:ext>
              </a:extLst>
            </p:cNvPr>
            <p:cNvSpPr/>
            <p:nvPr/>
          </p:nvSpPr>
          <p:spPr bwMode="gray">
            <a:xfrm>
              <a:off x="6160946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481" y="12956"/>
                  </a:moveTo>
                  <a:cubicBezTo>
                    <a:pt x="17070" y="12258"/>
                    <a:pt x="16576" y="11533"/>
                    <a:pt x="16011" y="10795"/>
                  </a:cubicBezTo>
                  <a:cubicBezTo>
                    <a:pt x="16573" y="10063"/>
                    <a:pt x="17072" y="9339"/>
                    <a:pt x="17481" y="8644"/>
                  </a:cubicBezTo>
                  <a:cubicBezTo>
                    <a:pt x="19410" y="9181"/>
                    <a:pt x="20618" y="9948"/>
                    <a:pt x="20618" y="10800"/>
                  </a:cubicBezTo>
                  <a:cubicBezTo>
                    <a:pt x="20618" y="11652"/>
                    <a:pt x="19410" y="12419"/>
                    <a:pt x="17481" y="12956"/>
                  </a:cubicBezTo>
                  <a:moveTo>
                    <a:pt x="17742" y="17743"/>
                  </a:moveTo>
                  <a:cubicBezTo>
                    <a:pt x="17140" y="18345"/>
                    <a:pt x="15740" y="18028"/>
                    <a:pt x="13996" y="17045"/>
                  </a:cubicBezTo>
                  <a:cubicBezTo>
                    <a:pt x="14198" y="16261"/>
                    <a:pt x="14365" y="15406"/>
                    <a:pt x="14487" y="14488"/>
                  </a:cubicBezTo>
                  <a:cubicBezTo>
                    <a:pt x="15405" y="14366"/>
                    <a:pt x="16261" y="14198"/>
                    <a:pt x="17044" y="13996"/>
                  </a:cubicBezTo>
                  <a:cubicBezTo>
                    <a:pt x="18028" y="15740"/>
                    <a:pt x="18345" y="17140"/>
                    <a:pt x="17742" y="17743"/>
                  </a:cubicBezTo>
                  <a:moveTo>
                    <a:pt x="15404" y="11561"/>
                  </a:moveTo>
                  <a:cubicBezTo>
                    <a:pt x="15837" y="12119"/>
                    <a:pt x="16219" y="12662"/>
                    <a:pt x="16554" y="13185"/>
                  </a:cubicBezTo>
                  <a:cubicBezTo>
                    <a:pt x="15950" y="13317"/>
                    <a:pt x="15295" y="13429"/>
                    <a:pt x="14597" y="13517"/>
                  </a:cubicBezTo>
                  <a:cubicBezTo>
                    <a:pt x="14631" y="13155"/>
                    <a:pt x="14655" y="12784"/>
                    <a:pt x="14677" y="12409"/>
                  </a:cubicBezTo>
                  <a:cubicBezTo>
                    <a:pt x="14930" y="12127"/>
                    <a:pt x="15170" y="11844"/>
                    <a:pt x="15404" y="11561"/>
                  </a:cubicBezTo>
                  <a:moveTo>
                    <a:pt x="15402" y="10032"/>
                  </a:moveTo>
                  <a:cubicBezTo>
                    <a:pt x="15170" y="9752"/>
                    <a:pt x="14928" y="9471"/>
                    <a:pt x="14677" y="9191"/>
                  </a:cubicBezTo>
                  <a:cubicBezTo>
                    <a:pt x="14655" y="8817"/>
                    <a:pt x="14631" y="8445"/>
                    <a:pt x="14597" y="8084"/>
                  </a:cubicBezTo>
                  <a:cubicBezTo>
                    <a:pt x="15295" y="8171"/>
                    <a:pt x="15950" y="8283"/>
                    <a:pt x="16554" y="8415"/>
                  </a:cubicBezTo>
                  <a:cubicBezTo>
                    <a:pt x="16221" y="8935"/>
                    <a:pt x="15832" y="9478"/>
                    <a:pt x="15402" y="10032"/>
                  </a:cubicBezTo>
                  <a:moveTo>
                    <a:pt x="17742" y="3857"/>
                  </a:moveTo>
                  <a:cubicBezTo>
                    <a:pt x="18345" y="4460"/>
                    <a:pt x="18028" y="5860"/>
                    <a:pt x="17044" y="7604"/>
                  </a:cubicBezTo>
                  <a:cubicBezTo>
                    <a:pt x="16261" y="7402"/>
                    <a:pt x="15405" y="7234"/>
                    <a:pt x="14487" y="7112"/>
                  </a:cubicBezTo>
                  <a:cubicBezTo>
                    <a:pt x="14365" y="6194"/>
                    <a:pt x="14198" y="5339"/>
                    <a:pt x="13996" y="4555"/>
                  </a:cubicBezTo>
                  <a:cubicBezTo>
                    <a:pt x="15740" y="3572"/>
                    <a:pt x="17140" y="3255"/>
                    <a:pt x="17742" y="3857"/>
                  </a:cubicBezTo>
                  <a:moveTo>
                    <a:pt x="13718" y="12012"/>
                  </a:moveTo>
                  <a:cubicBezTo>
                    <a:pt x="13448" y="12303"/>
                    <a:pt x="13172" y="12593"/>
                    <a:pt x="12882" y="12883"/>
                  </a:cubicBezTo>
                  <a:cubicBezTo>
                    <a:pt x="12593" y="13172"/>
                    <a:pt x="12303" y="13449"/>
                    <a:pt x="12012" y="13719"/>
                  </a:cubicBezTo>
                  <a:cubicBezTo>
                    <a:pt x="11614" y="13733"/>
                    <a:pt x="11212" y="13745"/>
                    <a:pt x="10800" y="13745"/>
                  </a:cubicBezTo>
                  <a:cubicBezTo>
                    <a:pt x="10387" y="13745"/>
                    <a:pt x="9985" y="13733"/>
                    <a:pt x="9587" y="13719"/>
                  </a:cubicBezTo>
                  <a:cubicBezTo>
                    <a:pt x="9297" y="13449"/>
                    <a:pt x="9006" y="13172"/>
                    <a:pt x="8717" y="12883"/>
                  </a:cubicBezTo>
                  <a:cubicBezTo>
                    <a:pt x="8428" y="12593"/>
                    <a:pt x="8152" y="12303"/>
                    <a:pt x="7881" y="12012"/>
                  </a:cubicBezTo>
                  <a:cubicBezTo>
                    <a:pt x="7866" y="11614"/>
                    <a:pt x="7855" y="11212"/>
                    <a:pt x="7855" y="10800"/>
                  </a:cubicBezTo>
                  <a:cubicBezTo>
                    <a:pt x="7855" y="10388"/>
                    <a:pt x="7866" y="9986"/>
                    <a:pt x="7881" y="9587"/>
                  </a:cubicBezTo>
                  <a:cubicBezTo>
                    <a:pt x="8152" y="9297"/>
                    <a:pt x="8428" y="9007"/>
                    <a:pt x="8717" y="8717"/>
                  </a:cubicBezTo>
                  <a:cubicBezTo>
                    <a:pt x="9006" y="8428"/>
                    <a:pt x="9297" y="8151"/>
                    <a:pt x="9587" y="7881"/>
                  </a:cubicBezTo>
                  <a:cubicBezTo>
                    <a:pt x="9985" y="7867"/>
                    <a:pt x="10387" y="7855"/>
                    <a:pt x="10800" y="7855"/>
                  </a:cubicBezTo>
                  <a:cubicBezTo>
                    <a:pt x="11212" y="7855"/>
                    <a:pt x="11614" y="7867"/>
                    <a:pt x="12012" y="7881"/>
                  </a:cubicBezTo>
                  <a:cubicBezTo>
                    <a:pt x="12303" y="8151"/>
                    <a:pt x="12593" y="8428"/>
                    <a:pt x="12882" y="8717"/>
                  </a:cubicBezTo>
                  <a:cubicBezTo>
                    <a:pt x="13172" y="9007"/>
                    <a:pt x="13448" y="9297"/>
                    <a:pt x="13718" y="9587"/>
                  </a:cubicBezTo>
                  <a:cubicBezTo>
                    <a:pt x="13733" y="9986"/>
                    <a:pt x="13745" y="10388"/>
                    <a:pt x="13745" y="10800"/>
                  </a:cubicBezTo>
                  <a:cubicBezTo>
                    <a:pt x="13745" y="11212"/>
                    <a:pt x="13733" y="11614"/>
                    <a:pt x="13718" y="12012"/>
                  </a:cubicBezTo>
                  <a:moveTo>
                    <a:pt x="13185" y="16555"/>
                  </a:moveTo>
                  <a:cubicBezTo>
                    <a:pt x="12662" y="16219"/>
                    <a:pt x="12120" y="15837"/>
                    <a:pt x="11561" y="15404"/>
                  </a:cubicBezTo>
                  <a:cubicBezTo>
                    <a:pt x="11844" y="15170"/>
                    <a:pt x="12127" y="14931"/>
                    <a:pt x="12409" y="14677"/>
                  </a:cubicBezTo>
                  <a:cubicBezTo>
                    <a:pt x="12783" y="14655"/>
                    <a:pt x="13155" y="14631"/>
                    <a:pt x="13517" y="14597"/>
                  </a:cubicBezTo>
                  <a:cubicBezTo>
                    <a:pt x="13429" y="15295"/>
                    <a:pt x="13316" y="15950"/>
                    <a:pt x="13185" y="16555"/>
                  </a:cubicBezTo>
                  <a:moveTo>
                    <a:pt x="10800" y="20618"/>
                  </a:moveTo>
                  <a:cubicBezTo>
                    <a:pt x="9948" y="20618"/>
                    <a:pt x="9181" y="19410"/>
                    <a:pt x="8643" y="17481"/>
                  </a:cubicBezTo>
                  <a:cubicBezTo>
                    <a:pt x="9339" y="17072"/>
                    <a:pt x="10062" y="16573"/>
                    <a:pt x="10795" y="16011"/>
                  </a:cubicBezTo>
                  <a:cubicBezTo>
                    <a:pt x="11532" y="16576"/>
                    <a:pt x="12258" y="17070"/>
                    <a:pt x="12957" y="17481"/>
                  </a:cubicBezTo>
                  <a:cubicBezTo>
                    <a:pt x="12419" y="19410"/>
                    <a:pt x="11652" y="20618"/>
                    <a:pt x="10800" y="20618"/>
                  </a:cubicBezTo>
                  <a:moveTo>
                    <a:pt x="8083" y="14597"/>
                  </a:moveTo>
                  <a:cubicBezTo>
                    <a:pt x="8445" y="14631"/>
                    <a:pt x="8816" y="14655"/>
                    <a:pt x="9190" y="14677"/>
                  </a:cubicBezTo>
                  <a:cubicBezTo>
                    <a:pt x="9471" y="14929"/>
                    <a:pt x="9751" y="15170"/>
                    <a:pt x="10032" y="15403"/>
                  </a:cubicBezTo>
                  <a:cubicBezTo>
                    <a:pt x="9478" y="15832"/>
                    <a:pt x="8935" y="16221"/>
                    <a:pt x="8415" y="16555"/>
                  </a:cubicBezTo>
                  <a:cubicBezTo>
                    <a:pt x="8283" y="15950"/>
                    <a:pt x="8171" y="15295"/>
                    <a:pt x="8083" y="14597"/>
                  </a:cubicBezTo>
                  <a:moveTo>
                    <a:pt x="8415" y="5045"/>
                  </a:moveTo>
                  <a:cubicBezTo>
                    <a:pt x="8938" y="5381"/>
                    <a:pt x="9480" y="5762"/>
                    <a:pt x="10038" y="6196"/>
                  </a:cubicBezTo>
                  <a:cubicBezTo>
                    <a:pt x="9756" y="6430"/>
                    <a:pt x="9473" y="6670"/>
                    <a:pt x="9190" y="6924"/>
                  </a:cubicBezTo>
                  <a:cubicBezTo>
                    <a:pt x="8816" y="6945"/>
                    <a:pt x="8445" y="6969"/>
                    <a:pt x="8083" y="7003"/>
                  </a:cubicBezTo>
                  <a:cubicBezTo>
                    <a:pt x="8171" y="6305"/>
                    <a:pt x="8283" y="5650"/>
                    <a:pt x="8415" y="5045"/>
                  </a:cubicBezTo>
                  <a:moveTo>
                    <a:pt x="10800" y="982"/>
                  </a:moveTo>
                  <a:cubicBezTo>
                    <a:pt x="11652" y="982"/>
                    <a:pt x="12419" y="2191"/>
                    <a:pt x="12957" y="4119"/>
                  </a:cubicBezTo>
                  <a:cubicBezTo>
                    <a:pt x="12261" y="4528"/>
                    <a:pt x="11537" y="5027"/>
                    <a:pt x="10804" y="5589"/>
                  </a:cubicBezTo>
                  <a:cubicBezTo>
                    <a:pt x="10067" y="5024"/>
                    <a:pt x="9341" y="4530"/>
                    <a:pt x="8643" y="4119"/>
                  </a:cubicBezTo>
                  <a:cubicBezTo>
                    <a:pt x="9181" y="2191"/>
                    <a:pt x="9948" y="982"/>
                    <a:pt x="10800" y="982"/>
                  </a:cubicBezTo>
                  <a:moveTo>
                    <a:pt x="13517" y="7003"/>
                  </a:moveTo>
                  <a:cubicBezTo>
                    <a:pt x="13155" y="6969"/>
                    <a:pt x="12783" y="6945"/>
                    <a:pt x="12409" y="6924"/>
                  </a:cubicBezTo>
                  <a:cubicBezTo>
                    <a:pt x="12129" y="6671"/>
                    <a:pt x="11848" y="6430"/>
                    <a:pt x="11568" y="6198"/>
                  </a:cubicBezTo>
                  <a:cubicBezTo>
                    <a:pt x="12122" y="5768"/>
                    <a:pt x="12665" y="5379"/>
                    <a:pt x="13185" y="5045"/>
                  </a:cubicBezTo>
                  <a:cubicBezTo>
                    <a:pt x="13316" y="5650"/>
                    <a:pt x="13429" y="6305"/>
                    <a:pt x="13517" y="7003"/>
                  </a:cubicBezTo>
                  <a:moveTo>
                    <a:pt x="7112" y="7112"/>
                  </a:moveTo>
                  <a:cubicBezTo>
                    <a:pt x="6194" y="7234"/>
                    <a:pt x="5339" y="7402"/>
                    <a:pt x="4555" y="7604"/>
                  </a:cubicBezTo>
                  <a:cubicBezTo>
                    <a:pt x="3572" y="5860"/>
                    <a:pt x="3255" y="4460"/>
                    <a:pt x="3858" y="3857"/>
                  </a:cubicBezTo>
                  <a:cubicBezTo>
                    <a:pt x="4460" y="3255"/>
                    <a:pt x="5860" y="3572"/>
                    <a:pt x="7604" y="4555"/>
                  </a:cubicBezTo>
                  <a:cubicBezTo>
                    <a:pt x="7402" y="5339"/>
                    <a:pt x="7234" y="6194"/>
                    <a:pt x="7112" y="7112"/>
                  </a:cubicBezTo>
                  <a:moveTo>
                    <a:pt x="3858" y="17743"/>
                  </a:moveTo>
                  <a:cubicBezTo>
                    <a:pt x="3255" y="17140"/>
                    <a:pt x="3572" y="15740"/>
                    <a:pt x="4555" y="13996"/>
                  </a:cubicBezTo>
                  <a:cubicBezTo>
                    <a:pt x="5339" y="14198"/>
                    <a:pt x="6194" y="14366"/>
                    <a:pt x="7112" y="14488"/>
                  </a:cubicBezTo>
                  <a:cubicBezTo>
                    <a:pt x="7234" y="15406"/>
                    <a:pt x="7402" y="16261"/>
                    <a:pt x="7604" y="17045"/>
                  </a:cubicBezTo>
                  <a:cubicBezTo>
                    <a:pt x="5860" y="18028"/>
                    <a:pt x="4460" y="18345"/>
                    <a:pt x="3858" y="17743"/>
                  </a:cubicBezTo>
                  <a:moveTo>
                    <a:pt x="7003" y="13517"/>
                  </a:moveTo>
                  <a:cubicBezTo>
                    <a:pt x="6305" y="13429"/>
                    <a:pt x="5650" y="13317"/>
                    <a:pt x="5045" y="13185"/>
                  </a:cubicBezTo>
                  <a:cubicBezTo>
                    <a:pt x="5379" y="12665"/>
                    <a:pt x="5768" y="12122"/>
                    <a:pt x="6197" y="11568"/>
                  </a:cubicBezTo>
                  <a:cubicBezTo>
                    <a:pt x="6429" y="11848"/>
                    <a:pt x="6671" y="12129"/>
                    <a:pt x="6923" y="12409"/>
                  </a:cubicBezTo>
                  <a:cubicBezTo>
                    <a:pt x="6944" y="12784"/>
                    <a:pt x="6968" y="13155"/>
                    <a:pt x="7003" y="13517"/>
                  </a:cubicBezTo>
                  <a:moveTo>
                    <a:pt x="6923" y="9191"/>
                  </a:moveTo>
                  <a:cubicBezTo>
                    <a:pt x="6669" y="9473"/>
                    <a:pt x="6429" y="9756"/>
                    <a:pt x="6196" y="10039"/>
                  </a:cubicBezTo>
                  <a:cubicBezTo>
                    <a:pt x="5763" y="9481"/>
                    <a:pt x="5381" y="8938"/>
                    <a:pt x="5045" y="8415"/>
                  </a:cubicBezTo>
                  <a:cubicBezTo>
                    <a:pt x="5650" y="8283"/>
                    <a:pt x="6305" y="8171"/>
                    <a:pt x="7003" y="8084"/>
                  </a:cubicBezTo>
                  <a:cubicBezTo>
                    <a:pt x="6968" y="8445"/>
                    <a:pt x="6944" y="8816"/>
                    <a:pt x="6923" y="9191"/>
                  </a:cubicBezTo>
                  <a:moveTo>
                    <a:pt x="982" y="10800"/>
                  </a:moveTo>
                  <a:cubicBezTo>
                    <a:pt x="982" y="9948"/>
                    <a:pt x="2190" y="9181"/>
                    <a:pt x="4119" y="8644"/>
                  </a:cubicBezTo>
                  <a:cubicBezTo>
                    <a:pt x="4530" y="9342"/>
                    <a:pt x="5023" y="10067"/>
                    <a:pt x="5588" y="10805"/>
                  </a:cubicBezTo>
                  <a:cubicBezTo>
                    <a:pt x="5027" y="11537"/>
                    <a:pt x="4528" y="12262"/>
                    <a:pt x="4119" y="12956"/>
                  </a:cubicBezTo>
                  <a:cubicBezTo>
                    <a:pt x="2190" y="12419"/>
                    <a:pt x="982" y="11652"/>
                    <a:pt x="982" y="10800"/>
                  </a:cubicBezTo>
                  <a:moveTo>
                    <a:pt x="21600" y="10800"/>
                  </a:moveTo>
                  <a:cubicBezTo>
                    <a:pt x="21600" y="9624"/>
                    <a:pt x="20173" y="8571"/>
                    <a:pt x="17918" y="7853"/>
                  </a:cubicBezTo>
                  <a:cubicBezTo>
                    <a:pt x="19002" y="5750"/>
                    <a:pt x="19269" y="3995"/>
                    <a:pt x="18437" y="3163"/>
                  </a:cubicBezTo>
                  <a:cubicBezTo>
                    <a:pt x="17605" y="2332"/>
                    <a:pt x="15850" y="2598"/>
                    <a:pt x="13748" y="3682"/>
                  </a:cubicBezTo>
                  <a:cubicBezTo>
                    <a:pt x="13029" y="1427"/>
                    <a:pt x="11976" y="0"/>
                    <a:pt x="10800" y="0"/>
                  </a:cubicBezTo>
                  <a:cubicBezTo>
                    <a:pt x="9623" y="0"/>
                    <a:pt x="8571" y="1427"/>
                    <a:pt x="7852" y="3682"/>
                  </a:cubicBezTo>
                  <a:cubicBezTo>
                    <a:pt x="5750" y="2598"/>
                    <a:pt x="3995" y="2332"/>
                    <a:pt x="3163" y="3163"/>
                  </a:cubicBezTo>
                  <a:cubicBezTo>
                    <a:pt x="2331" y="3995"/>
                    <a:pt x="2598" y="5750"/>
                    <a:pt x="3682" y="7853"/>
                  </a:cubicBezTo>
                  <a:cubicBezTo>
                    <a:pt x="1426" y="8571"/>
                    <a:pt x="0" y="9624"/>
                    <a:pt x="0" y="10800"/>
                  </a:cubicBezTo>
                  <a:cubicBezTo>
                    <a:pt x="0" y="11976"/>
                    <a:pt x="1426" y="13029"/>
                    <a:pt x="3682" y="13748"/>
                  </a:cubicBezTo>
                  <a:cubicBezTo>
                    <a:pt x="2598" y="15851"/>
                    <a:pt x="2331" y="17605"/>
                    <a:pt x="3163" y="18437"/>
                  </a:cubicBezTo>
                  <a:cubicBezTo>
                    <a:pt x="3995" y="19268"/>
                    <a:pt x="5750" y="19002"/>
                    <a:pt x="7852" y="17918"/>
                  </a:cubicBezTo>
                  <a:cubicBezTo>
                    <a:pt x="8571" y="20173"/>
                    <a:pt x="9623" y="21600"/>
                    <a:pt x="10800" y="21600"/>
                  </a:cubicBezTo>
                  <a:cubicBezTo>
                    <a:pt x="11976" y="21600"/>
                    <a:pt x="13029" y="20173"/>
                    <a:pt x="13748" y="17918"/>
                  </a:cubicBezTo>
                  <a:cubicBezTo>
                    <a:pt x="15850" y="19002"/>
                    <a:pt x="17605" y="19268"/>
                    <a:pt x="18437" y="18437"/>
                  </a:cubicBezTo>
                  <a:cubicBezTo>
                    <a:pt x="19269" y="17605"/>
                    <a:pt x="19002" y="15851"/>
                    <a:pt x="17918" y="13748"/>
                  </a:cubicBezTo>
                  <a:cubicBezTo>
                    <a:pt x="20173" y="13029"/>
                    <a:pt x="21600" y="11976"/>
                    <a:pt x="21600" y="10800"/>
                  </a:cubicBezTo>
                  <a:moveTo>
                    <a:pt x="10800" y="9818"/>
                  </a:move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779">
              <a:extLst>
                <a:ext uri="{FF2B5EF4-FFF2-40B4-BE49-F238E27FC236}">
                  <a16:creationId xmlns:a16="http://schemas.microsoft.com/office/drawing/2014/main" id="{8FB66548-CE3F-4F97-807A-AB34A35578C7}"/>
                </a:ext>
              </a:extLst>
            </p:cNvPr>
            <p:cNvSpPr/>
            <p:nvPr/>
          </p:nvSpPr>
          <p:spPr bwMode="gray">
            <a:xfrm>
              <a:off x="6752068" y="559648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7" y="16691"/>
                  </a:moveTo>
                  <a:lnTo>
                    <a:pt x="5303" y="12525"/>
                  </a:lnTo>
                  <a:lnTo>
                    <a:pt x="5294" y="12521"/>
                  </a:lnTo>
                  <a:cubicBezTo>
                    <a:pt x="5355" y="12447"/>
                    <a:pt x="5400" y="12365"/>
                    <a:pt x="5400" y="12273"/>
                  </a:cubicBezTo>
                  <a:cubicBezTo>
                    <a:pt x="5400" y="12001"/>
                    <a:pt x="5098" y="11782"/>
                    <a:pt x="4725" y="11782"/>
                  </a:cubicBezTo>
                  <a:lnTo>
                    <a:pt x="3375" y="11782"/>
                  </a:lnTo>
                  <a:lnTo>
                    <a:pt x="6615" y="8640"/>
                  </a:lnTo>
                  <a:lnTo>
                    <a:pt x="6606" y="8635"/>
                  </a:lnTo>
                  <a:cubicBezTo>
                    <a:pt x="6691" y="8553"/>
                    <a:pt x="6750" y="8456"/>
                    <a:pt x="6750" y="8345"/>
                  </a:cubicBezTo>
                  <a:cubicBezTo>
                    <a:pt x="6750" y="8075"/>
                    <a:pt x="6448" y="7855"/>
                    <a:pt x="6075" y="7855"/>
                  </a:cubicBezTo>
                  <a:lnTo>
                    <a:pt x="4855" y="7855"/>
                  </a:lnTo>
                  <a:lnTo>
                    <a:pt x="8548" y="4785"/>
                  </a:lnTo>
                  <a:lnTo>
                    <a:pt x="8544" y="4782"/>
                  </a:lnTo>
                  <a:cubicBezTo>
                    <a:pt x="8683" y="4691"/>
                    <a:pt x="8775" y="4564"/>
                    <a:pt x="8775" y="4418"/>
                  </a:cubicBezTo>
                  <a:cubicBezTo>
                    <a:pt x="8775" y="4147"/>
                    <a:pt x="8473" y="3927"/>
                    <a:pt x="8100" y="3927"/>
                  </a:cubicBezTo>
                  <a:lnTo>
                    <a:pt x="7029" y="3927"/>
                  </a:lnTo>
                  <a:lnTo>
                    <a:pt x="10800" y="1185"/>
                  </a:lnTo>
                  <a:lnTo>
                    <a:pt x="14571" y="3927"/>
                  </a:lnTo>
                  <a:lnTo>
                    <a:pt x="13500" y="3927"/>
                  </a:lnTo>
                  <a:cubicBezTo>
                    <a:pt x="13128" y="3927"/>
                    <a:pt x="12825" y="4147"/>
                    <a:pt x="12825" y="4418"/>
                  </a:cubicBezTo>
                  <a:cubicBezTo>
                    <a:pt x="12825" y="4564"/>
                    <a:pt x="12917" y="4691"/>
                    <a:pt x="13056" y="4782"/>
                  </a:cubicBezTo>
                  <a:lnTo>
                    <a:pt x="13052" y="4785"/>
                  </a:lnTo>
                  <a:lnTo>
                    <a:pt x="16744" y="7855"/>
                  </a:lnTo>
                  <a:lnTo>
                    <a:pt x="15525" y="7855"/>
                  </a:lnTo>
                  <a:cubicBezTo>
                    <a:pt x="15153" y="7855"/>
                    <a:pt x="14850" y="8075"/>
                    <a:pt x="14850" y="8345"/>
                  </a:cubicBezTo>
                  <a:cubicBezTo>
                    <a:pt x="14850" y="8456"/>
                    <a:pt x="14909" y="8553"/>
                    <a:pt x="14994" y="8635"/>
                  </a:cubicBezTo>
                  <a:lnTo>
                    <a:pt x="14985" y="8640"/>
                  </a:lnTo>
                  <a:lnTo>
                    <a:pt x="18225" y="11782"/>
                  </a:lnTo>
                  <a:lnTo>
                    <a:pt x="16875" y="11782"/>
                  </a:lnTo>
                  <a:cubicBezTo>
                    <a:pt x="16503" y="11782"/>
                    <a:pt x="16200" y="12001"/>
                    <a:pt x="16200" y="12273"/>
                  </a:cubicBezTo>
                  <a:cubicBezTo>
                    <a:pt x="16200" y="12365"/>
                    <a:pt x="16244" y="12447"/>
                    <a:pt x="16306" y="12521"/>
                  </a:cubicBezTo>
                  <a:lnTo>
                    <a:pt x="16296" y="12525"/>
                  </a:lnTo>
                  <a:lnTo>
                    <a:pt x="19733" y="16691"/>
                  </a:lnTo>
                  <a:cubicBezTo>
                    <a:pt x="19733" y="16691"/>
                    <a:pt x="1867" y="16691"/>
                    <a:pt x="1867" y="16691"/>
                  </a:cubicBezTo>
                  <a:close/>
                  <a:moveTo>
                    <a:pt x="12150" y="20618"/>
                  </a:moveTo>
                  <a:lnTo>
                    <a:pt x="9450" y="20618"/>
                  </a:lnTo>
                  <a:lnTo>
                    <a:pt x="9450" y="17673"/>
                  </a:lnTo>
                  <a:lnTo>
                    <a:pt x="12150" y="17673"/>
                  </a:lnTo>
                  <a:cubicBezTo>
                    <a:pt x="12150" y="17673"/>
                    <a:pt x="12150" y="20618"/>
                    <a:pt x="12150" y="20618"/>
                  </a:cubicBezTo>
                  <a:close/>
                  <a:moveTo>
                    <a:pt x="21494" y="16933"/>
                  </a:moveTo>
                  <a:lnTo>
                    <a:pt x="21503" y="16929"/>
                  </a:lnTo>
                  <a:lnTo>
                    <a:pt x="18067" y="12764"/>
                  </a:lnTo>
                  <a:lnTo>
                    <a:pt x="19575" y="12764"/>
                  </a:lnTo>
                  <a:cubicBezTo>
                    <a:pt x="19948" y="12764"/>
                    <a:pt x="20250" y="12544"/>
                    <a:pt x="20250" y="12273"/>
                  </a:cubicBezTo>
                  <a:cubicBezTo>
                    <a:pt x="20250" y="12162"/>
                    <a:pt x="20191" y="12066"/>
                    <a:pt x="20106" y="11983"/>
                  </a:cubicBezTo>
                  <a:lnTo>
                    <a:pt x="20115" y="11978"/>
                  </a:lnTo>
                  <a:lnTo>
                    <a:pt x="16875" y="8836"/>
                  </a:lnTo>
                  <a:lnTo>
                    <a:pt x="18225" y="8836"/>
                  </a:lnTo>
                  <a:cubicBezTo>
                    <a:pt x="18598" y="8836"/>
                    <a:pt x="18900" y="8617"/>
                    <a:pt x="18900" y="8345"/>
                  </a:cubicBezTo>
                  <a:cubicBezTo>
                    <a:pt x="18900" y="8200"/>
                    <a:pt x="18808" y="8072"/>
                    <a:pt x="18669" y="7982"/>
                  </a:cubicBezTo>
                  <a:lnTo>
                    <a:pt x="18673" y="7978"/>
                  </a:lnTo>
                  <a:lnTo>
                    <a:pt x="14980" y="4909"/>
                  </a:lnTo>
                  <a:lnTo>
                    <a:pt x="16200" y="4909"/>
                  </a:lnTo>
                  <a:cubicBezTo>
                    <a:pt x="16573" y="4909"/>
                    <a:pt x="16875" y="4690"/>
                    <a:pt x="16875" y="4418"/>
                  </a:cubicBezTo>
                  <a:cubicBezTo>
                    <a:pt x="16875" y="4283"/>
                    <a:pt x="16800" y="4160"/>
                    <a:pt x="16677" y="4071"/>
                  </a:cubicBezTo>
                  <a:lnTo>
                    <a:pt x="11277" y="144"/>
                  </a:lnTo>
                  <a:cubicBezTo>
                    <a:pt x="11155" y="55"/>
                    <a:pt x="10986" y="0"/>
                    <a:pt x="10800" y="0"/>
                  </a:cubicBezTo>
                  <a:cubicBezTo>
                    <a:pt x="10614" y="0"/>
                    <a:pt x="10445" y="55"/>
                    <a:pt x="10323" y="144"/>
                  </a:cubicBezTo>
                  <a:lnTo>
                    <a:pt x="4923" y="4071"/>
                  </a:lnTo>
                  <a:cubicBezTo>
                    <a:pt x="4801" y="4160"/>
                    <a:pt x="4725" y="4283"/>
                    <a:pt x="4725" y="4418"/>
                  </a:cubicBezTo>
                  <a:cubicBezTo>
                    <a:pt x="4725" y="4690"/>
                    <a:pt x="5028" y="4909"/>
                    <a:pt x="5400" y="4909"/>
                  </a:cubicBezTo>
                  <a:lnTo>
                    <a:pt x="6619" y="4909"/>
                  </a:lnTo>
                  <a:lnTo>
                    <a:pt x="2927" y="7978"/>
                  </a:lnTo>
                  <a:lnTo>
                    <a:pt x="2931" y="7982"/>
                  </a:lnTo>
                  <a:cubicBezTo>
                    <a:pt x="2792" y="8072"/>
                    <a:pt x="2700" y="8200"/>
                    <a:pt x="2700" y="8345"/>
                  </a:cubicBezTo>
                  <a:cubicBezTo>
                    <a:pt x="2700" y="8617"/>
                    <a:pt x="3003" y="8836"/>
                    <a:pt x="3375" y="8836"/>
                  </a:cubicBezTo>
                  <a:lnTo>
                    <a:pt x="4725" y="8836"/>
                  </a:lnTo>
                  <a:lnTo>
                    <a:pt x="1485" y="11978"/>
                  </a:lnTo>
                  <a:lnTo>
                    <a:pt x="1494" y="11983"/>
                  </a:lnTo>
                  <a:cubicBezTo>
                    <a:pt x="1409" y="12066"/>
                    <a:pt x="1350" y="12162"/>
                    <a:pt x="1350" y="12273"/>
                  </a:cubicBezTo>
                  <a:cubicBezTo>
                    <a:pt x="1350" y="12544"/>
                    <a:pt x="1653" y="12764"/>
                    <a:pt x="2025" y="12764"/>
                  </a:cubicBezTo>
                  <a:lnTo>
                    <a:pt x="3533" y="12764"/>
                  </a:lnTo>
                  <a:lnTo>
                    <a:pt x="96" y="16929"/>
                  </a:lnTo>
                  <a:lnTo>
                    <a:pt x="106" y="16933"/>
                  </a:lnTo>
                  <a:cubicBezTo>
                    <a:pt x="44" y="17007"/>
                    <a:pt x="0" y="17089"/>
                    <a:pt x="0" y="17182"/>
                  </a:cubicBezTo>
                  <a:cubicBezTo>
                    <a:pt x="0" y="17453"/>
                    <a:pt x="303" y="17673"/>
                    <a:pt x="675" y="17673"/>
                  </a:cubicBezTo>
                  <a:lnTo>
                    <a:pt x="8100" y="17673"/>
                  </a:lnTo>
                  <a:lnTo>
                    <a:pt x="8100" y="21109"/>
                  </a:lnTo>
                  <a:cubicBezTo>
                    <a:pt x="8100" y="21380"/>
                    <a:pt x="8403" y="21600"/>
                    <a:pt x="8775" y="21600"/>
                  </a:cubicBezTo>
                  <a:lnTo>
                    <a:pt x="12825" y="21600"/>
                  </a:lnTo>
                  <a:cubicBezTo>
                    <a:pt x="13198" y="21600"/>
                    <a:pt x="13500" y="21380"/>
                    <a:pt x="13500" y="21109"/>
                  </a:cubicBezTo>
                  <a:lnTo>
                    <a:pt x="13500" y="17673"/>
                  </a:lnTo>
                  <a:lnTo>
                    <a:pt x="20925" y="17673"/>
                  </a:lnTo>
                  <a:cubicBezTo>
                    <a:pt x="21298" y="17673"/>
                    <a:pt x="21600" y="17453"/>
                    <a:pt x="21600" y="17182"/>
                  </a:cubicBezTo>
                  <a:cubicBezTo>
                    <a:pt x="21600" y="17089"/>
                    <a:pt x="21555" y="17007"/>
                    <a:pt x="21494" y="1693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780">
              <a:extLst>
                <a:ext uri="{FF2B5EF4-FFF2-40B4-BE49-F238E27FC236}">
                  <a16:creationId xmlns:a16="http://schemas.microsoft.com/office/drawing/2014/main" id="{71170C2F-80BE-49B1-BB90-E88B7D65A9B9}"/>
                </a:ext>
              </a:extLst>
            </p:cNvPr>
            <p:cNvSpPr/>
            <p:nvPr/>
          </p:nvSpPr>
          <p:spPr bwMode="gray">
            <a:xfrm>
              <a:off x="7343189" y="559648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4727"/>
                  </a:moveTo>
                  <a:lnTo>
                    <a:pt x="2160" y="14727"/>
                  </a:lnTo>
                  <a:lnTo>
                    <a:pt x="2160" y="4909"/>
                  </a:lnTo>
                  <a:cubicBezTo>
                    <a:pt x="2160" y="2740"/>
                    <a:pt x="6028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4909"/>
                    <a:pt x="19440" y="14727"/>
                    <a:pt x="19440" y="14727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8"/>
                    <a:pt x="0" y="4909"/>
                  </a:cubicBezTo>
                  <a:lnTo>
                    <a:pt x="0" y="14727"/>
                  </a:lnTo>
                  <a:cubicBezTo>
                    <a:pt x="0" y="15269"/>
                    <a:pt x="968" y="15709"/>
                    <a:pt x="2160" y="15709"/>
                  </a:cubicBezTo>
                  <a:lnTo>
                    <a:pt x="9720" y="15709"/>
                  </a:lnTo>
                  <a:lnTo>
                    <a:pt x="9720" y="21109"/>
                  </a:lnTo>
                  <a:cubicBezTo>
                    <a:pt x="9720" y="21380"/>
                    <a:pt x="10204" y="21600"/>
                    <a:pt x="10800" y="21600"/>
                  </a:cubicBezTo>
                  <a:cubicBezTo>
                    <a:pt x="11396" y="21600"/>
                    <a:pt x="11880" y="21380"/>
                    <a:pt x="11880" y="21109"/>
                  </a:cubicBezTo>
                  <a:lnTo>
                    <a:pt x="11880" y="15709"/>
                  </a:lnTo>
                  <a:lnTo>
                    <a:pt x="19440" y="15709"/>
                  </a:lnTo>
                  <a:cubicBezTo>
                    <a:pt x="20632" y="15709"/>
                    <a:pt x="21600" y="15269"/>
                    <a:pt x="21600" y="14727"/>
                  </a:cubicBezTo>
                  <a:lnTo>
                    <a:pt x="21600" y="4909"/>
                  </a:lnTo>
                  <a:cubicBezTo>
                    <a:pt x="21600" y="2198"/>
                    <a:pt x="16765" y="0"/>
                    <a:pt x="10800" y="0"/>
                  </a:cubicBezTo>
                  <a:moveTo>
                    <a:pt x="7560" y="4909"/>
                  </a:moveTo>
                  <a:cubicBezTo>
                    <a:pt x="6964" y="4909"/>
                    <a:pt x="6480" y="5129"/>
                    <a:pt x="6480" y="5400"/>
                  </a:cubicBezTo>
                  <a:lnTo>
                    <a:pt x="6480" y="12273"/>
                  </a:lnTo>
                  <a:cubicBezTo>
                    <a:pt x="6480" y="12544"/>
                    <a:pt x="6964" y="12764"/>
                    <a:pt x="7560" y="12764"/>
                  </a:cubicBezTo>
                  <a:cubicBezTo>
                    <a:pt x="8156" y="12764"/>
                    <a:pt x="8640" y="12544"/>
                    <a:pt x="8640" y="12273"/>
                  </a:cubicBezTo>
                  <a:lnTo>
                    <a:pt x="8640" y="5400"/>
                  </a:lnTo>
                  <a:cubicBezTo>
                    <a:pt x="8640" y="5129"/>
                    <a:pt x="8156" y="4909"/>
                    <a:pt x="7560" y="4909"/>
                  </a:cubicBezTo>
                  <a:moveTo>
                    <a:pt x="14040" y="4909"/>
                  </a:moveTo>
                  <a:cubicBezTo>
                    <a:pt x="13444" y="4909"/>
                    <a:pt x="12960" y="5129"/>
                    <a:pt x="12960" y="5400"/>
                  </a:cubicBezTo>
                  <a:lnTo>
                    <a:pt x="12960" y="12273"/>
                  </a:lnTo>
                  <a:cubicBezTo>
                    <a:pt x="12960" y="12544"/>
                    <a:pt x="13444" y="12764"/>
                    <a:pt x="14040" y="12764"/>
                  </a:cubicBezTo>
                  <a:cubicBezTo>
                    <a:pt x="14636" y="12764"/>
                    <a:pt x="15120" y="12544"/>
                    <a:pt x="15120" y="12273"/>
                  </a:cubicBezTo>
                  <a:lnTo>
                    <a:pt x="15120" y="5400"/>
                  </a:lnTo>
                  <a:cubicBezTo>
                    <a:pt x="15120" y="5129"/>
                    <a:pt x="14636" y="4909"/>
                    <a:pt x="14040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781">
              <a:extLst>
                <a:ext uri="{FF2B5EF4-FFF2-40B4-BE49-F238E27FC236}">
                  <a16:creationId xmlns:a16="http://schemas.microsoft.com/office/drawing/2014/main" id="{17B8C613-889D-4287-BFA7-5CE643834FA4}"/>
                </a:ext>
              </a:extLst>
            </p:cNvPr>
            <p:cNvSpPr/>
            <p:nvPr/>
          </p:nvSpPr>
          <p:spPr bwMode="gray">
            <a:xfrm>
              <a:off x="781608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6873"/>
                  </a:moveTo>
                  <a:cubicBezTo>
                    <a:pt x="6162" y="6873"/>
                    <a:pt x="6382" y="6653"/>
                    <a:pt x="6382" y="6382"/>
                  </a:cubicBezTo>
                  <a:lnTo>
                    <a:pt x="6382" y="1473"/>
                  </a:lnTo>
                  <a:cubicBezTo>
                    <a:pt x="6382" y="1201"/>
                    <a:pt x="6162" y="982"/>
                    <a:pt x="5891" y="982"/>
                  </a:cubicBezTo>
                  <a:cubicBezTo>
                    <a:pt x="5620" y="982"/>
                    <a:pt x="5400" y="1201"/>
                    <a:pt x="5400" y="1473"/>
                  </a:cubicBezTo>
                  <a:lnTo>
                    <a:pt x="5400" y="6382"/>
                  </a:lnTo>
                  <a:cubicBezTo>
                    <a:pt x="5400" y="6653"/>
                    <a:pt x="5620" y="6873"/>
                    <a:pt x="5891" y="6873"/>
                  </a:cubicBezTo>
                  <a:moveTo>
                    <a:pt x="2945" y="5891"/>
                  </a:moveTo>
                  <a:cubicBezTo>
                    <a:pt x="3216" y="5891"/>
                    <a:pt x="3436" y="5671"/>
                    <a:pt x="3436" y="5400"/>
                  </a:cubicBezTo>
                  <a:lnTo>
                    <a:pt x="3436" y="2455"/>
                  </a:lnTo>
                  <a:cubicBezTo>
                    <a:pt x="3436" y="2183"/>
                    <a:pt x="3216" y="1964"/>
                    <a:pt x="2945" y="1964"/>
                  </a:cubicBezTo>
                  <a:cubicBezTo>
                    <a:pt x="2675" y="1964"/>
                    <a:pt x="2455" y="2183"/>
                    <a:pt x="2455" y="2455"/>
                  </a:cubicBezTo>
                  <a:lnTo>
                    <a:pt x="2455" y="5400"/>
                  </a:lnTo>
                  <a:cubicBezTo>
                    <a:pt x="2455" y="5671"/>
                    <a:pt x="2675" y="5891"/>
                    <a:pt x="2945" y="5891"/>
                  </a:cubicBezTo>
                  <a:moveTo>
                    <a:pt x="18655" y="15218"/>
                  </a:moveTo>
                  <a:lnTo>
                    <a:pt x="17648" y="15218"/>
                  </a:lnTo>
                  <a:cubicBezTo>
                    <a:pt x="17660" y="15056"/>
                    <a:pt x="17673" y="14893"/>
                    <a:pt x="17673" y="14727"/>
                  </a:cubicBezTo>
                  <a:lnTo>
                    <a:pt x="17673" y="11291"/>
                  </a:lnTo>
                  <a:lnTo>
                    <a:pt x="18655" y="11291"/>
                  </a:lnTo>
                  <a:cubicBezTo>
                    <a:pt x="19739" y="11291"/>
                    <a:pt x="20618" y="12170"/>
                    <a:pt x="20618" y="13255"/>
                  </a:cubicBezTo>
                  <a:cubicBezTo>
                    <a:pt x="20618" y="14339"/>
                    <a:pt x="19739" y="15218"/>
                    <a:pt x="18655" y="15218"/>
                  </a:cubicBezTo>
                  <a:moveTo>
                    <a:pt x="16691" y="14727"/>
                  </a:moveTo>
                  <a:cubicBezTo>
                    <a:pt x="16691" y="15802"/>
                    <a:pt x="16399" y="16805"/>
                    <a:pt x="15896" y="17673"/>
                  </a:cubicBezTo>
                  <a:lnTo>
                    <a:pt x="1777" y="17673"/>
                  </a:lnTo>
                  <a:cubicBezTo>
                    <a:pt x="1274" y="16805"/>
                    <a:pt x="982" y="15802"/>
                    <a:pt x="982" y="14727"/>
                  </a:cubicBezTo>
                  <a:lnTo>
                    <a:pt x="982" y="8836"/>
                  </a:lnTo>
                  <a:lnTo>
                    <a:pt x="16691" y="8836"/>
                  </a:lnTo>
                  <a:cubicBezTo>
                    <a:pt x="16691" y="8836"/>
                    <a:pt x="16691" y="14727"/>
                    <a:pt x="16691" y="14727"/>
                  </a:cubicBezTo>
                  <a:close/>
                  <a:moveTo>
                    <a:pt x="10800" y="20618"/>
                  </a:moveTo>
                  <a:lnTo>
                    <a:pt x="6873" y="20618"/>
                  </a:lnTo>
                  <a:cubicBezTo>
                    <a:pt x="5131" y="20618"/>
                    <a:pt x="3569" y="19857"/>
                    <a:pt x="2491" y="18655"/>
                  </a:cubicBezTo>
                  <a:lnTo>
                    <a:pt x="15182" y="18655"/>
                  </a:lnTo>
                  <a:cubicBezTo>
                    <a:pt x="14103" y="19857"/>
                    <a:pt x="12542" y="20618"/>
                    <a:pt x="10800" y="20618"/>
                  </a:cubicBezTo>
                  <a:moveTo>
                    <a:pt x="18655" y="10309"/>
                  </a:moveTo>
                  <a:lnTo>
                    <a:pt x="17673" y="10309"/>
                  </a:lnTo>
                  <a:lnTo>
                    <a:pt x="17673" y="8836"/>
                  </a:lnTo>
                  <a:cubicBezTo>
                    <a:pt x="17673" y="8295"/>
                    <a:pt x="17233" y="7855"/>
                    <a:pt x="16691" y="7855"/>
                  </a:cubicBez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4727"/>
                  </a:lnTo>
                  <a:cubicBezTo>
                    <a:pt x="0" y="17232"/>
                    <a:pt x="1344" y="19417"/>
                    <a:pt x="3346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cubicBezTo>
                    <a:pt x="17673" y="20838"/>
                    <a:pt x="17453" y="20618"/>
                    <a:pt x="17182" y="20618"/>
                  </a:cubicBezTo>
                  <a:lnTo>
                    <a:pt x="14330" y="20618"/>
                  </a:lnTo>
                  <a:cubicBezTo>
                    <a:pt x="15925" y="19659"/>
                    <a:pt x="17101" y="18074"/>
                    <a:pt x="17511" y="16200"/>
                  </a:cubicBezTo>
                  <a:lnTo>
                    <a:pt x="18655" y="16200"/>
                  </a:lnTo>
                  <a:cubicBezTo>
                    <a:pt x="20281" y="16200"/>
                    <a:pt x="21600" y="14882"/>
                    <a:pt x="21600" y="13255"/>
                  </a:cubicBezTo>
                  <a:cubicBezTo>
                    <a:pt x="21600" y="11628"/>
                    <a:pt x="20281" y="10309"/>
                    <a:pt x="18655" y="10309"/>
                  </a:cubicBezTo>
                  <a:moveTo>
                    <a:pt x="11782" y="5891"/>
                  </a:moveTo>
                  <a:cubicBezTo>
                    <a:pt x="12053" y="5891"/>
                    <a:pt x="12273" y="5671"/>
                    <a:pt x="12273" y="5400"/>
                  </a:cubicBezTo>
                  <a:lnTo>
                    <a:pt x="12273" y="2455"/>
                  </a:lnTo>
                  <a:cubicBezTo>
                    <a:pt x="12273" y="2183"/>
                    <a:pt x="12053" y="1964"/>
                    <a:pt x="11782" y="1964"/>
                  </a:cubicBezTo>
                  <a:cubicBezTo>
                    <a:pt x="11511" y="1964"/>
                    <a:pt x="11291" y="2183"/>
                    <a:pt x="11291" y="2455"/>
                  </a:cubicBezTo>
                  <a:lnTo>
                    <a:pt x="11291" y="5400"/>
                  </a:lnTo>
                  <a:cubicBezTo>
                    <a:pt x="11291" y="5671"/>
                    <a:pt x="11511" y="5891"/>
                    <a:pt x="11782" y="5891"/>
                  </a:cubicBezTo>
                  <a:moveTo>
                    <a:pt x="14727" y="6873"/>
                  </a:moveTo>
                  <a:cubicBezTo>
                    <a:pt x="14998" y="6873"/>
                    <a:pt x="15218" y="6653"/>
                    <a:pt x="15218" y="6382"/>
                  </a:cubicBezTo>
                  <a:lnTo>
                    <a:pt x="15218" y="1473"/>
                  </a:lnTo>
                  <a:cubicBezTo>
                    <a:pt x="15218" y="1201"/>
                    <a:pt x="14998" y="982"/>
                    <a:pt x="14727" y="982"/>
                  </a:cubicBezTo>
                  <a:cubicBezTo>
                    <a:pt x="14456" y="982"/>
                    <a:pt x="14236" y="1201"/>
                    <a:pt x="14236" y="1473"/>
                  </a:cubicBezTo>
                  <a:lnTo>
                    <a:pt x="14236" y="6382"/>
                  </a:lnTo>
                  <a:cubicBezTo>
                    <a:pt x="14236" y="6653"/>
                    <a:pt x="14456" y="6873"/>
                    <a:pt x="14727" y="6873"/>
                  </a:cubicBezTo>
                  <a:moveTo>
                    <a:pt x="8836" y="5891"/>
                  </a:moveTo>
                  <a:cubicBezTo>
                    <a:pt x="9107" y="5891"/>
                    <a:pt x="9327" y="5671"/>
                    <a:pt x="9327" y="5400"/>
                  </a:cubicBezTo>
                  <a:lnTo>
                    <a:pt x="9327" y="491"/>
                  </a:lnTo>
                  <a:cubicBezTo>
                    <a:pt x="9327" y="220"/>
                    <a:pt x="9107" y="0"/>
                    <a:pt x="8836" y="0"/>
                  </a:cubicBezTo>
                  <a:cubicBezTo>
                    <a:pt x="8566" y="0"/>
                    <a:pt x="8345" y="220"/>
                    <a:pt x="8345" y="491"/>
                  </a:cubicBezTo>
                  <a:lnTo>
                    <a:pt x="8345" y="5400"/>
                  </a:lnTo>
                  <a:cubicBezTo>
                    <a:pt x="8345" y="5671"/>
                    <a:pt x="8566" y="5891"/>
                    <a:pt x="8836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782">
              <a:extLst>
                <a:ext uri="{FF2B5EF4-FFF2-40B4-BE49-F238E27FC236}">
                  <a16:creationId xmlns:a16="http://schemas.microsoft.com/office/drawing/2014/main" id="{A7751017-1199-4F09-9215-6106DCA4FC2E}"/>
                </a:ext>
              </a:extLst>
            </p:cNvPr>
            <p:cNvSpPr/>
            <p:nvPr/>
          </p:nvSpPr>
          <p:spPr bwMode="gray">
            <a:xfrm>
              <a:off x="8367800" y="5616190"/>
              <a:ext cx="289272" cy="2496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3" h="20545" extrusionOk="0">
                  <a:moveTo>
                    <a:pt x="9621" y="9676"/>
                  </a:moveTo>
                  <a:cubicBezTo>
                    <a:pt x="9621" y="9676"/>
                    <a:pt x="9621" y="9675"/>
                    <a:pt x="9621" y="9675"/>
                  </a:cubicBezTo>
                  <a:lnTo>
                    <a:pt x="9620" y="9674"/>
                  </a:lnTo>
                  <a:cubicBezTo>
                    <a:pt x="9620" y="9674"/>
                    <a:pt x="9621" y="9676"/>
                    <a:pt x="9621" y="9676"/>
                  </a:cubicBezTo>
                  <a:close/>
                  <a:moveTo>
                    <a:pt x="19582" y="1266"/>
                  </a:moveTo>
                  <a:cubicBezTo>
                    <a:pt x="18115" y="-422"/>
                    <a:pt x="15737" y="-422"/>
                    <a:pt x="14270" y="1266"/>
                  </a:cubicBezTo>
                  <a:lnTo>
                    <a:pt x="14934" y="2030"/>
                  </a:lnTo>
                  <a:cubicBezTo>
                    <a:pt x="16034" y="765"/>
                    <a:pt x="17818" y="765"/>
                    <a:pt x="18918" y="2030"/>
                  </a:cubicBezTo>
                  <a:cubicBezTo>
                    <a:pt x="20019" y="3297"/>
                    <a:pt x="20019" y="5351"/>
                    <a:pt x="18918" y="6618"/>
                  </a:cubicBezTo>
                  <a:lnTo>
                    <a:pt x="8956" y="17881"/>
                  </a:lnTo>
                  <a:lnTo>
                    <a:pt x="9621" y="18645"/>
                  </a:lnTo>
                  <a:lnTo>
                    <a:pt x="19582" y="7382"/>
                  </a:lnTo>
                  <a:cubicBezTo>
                    <a:pt x="21050" y="5693"/>
                    <a:pt x="21050" y="2955"/>
                    <a:pt x="19582" y="1266"/>
                  </a:cubicBezTo>
                  <a:moveTo>
                    <a:pt x="2315" y="17881"/>
                  </a:moveTo>
                  <a:cubicBezTo>
                    <a:pt x="481" y="15770"/>
                    <a:pt x="481" y="12551"/>
                    <a:pt x="2315" y="10439"/>
                  </a:cubicBezTo>
                  <a:cubicBezTo>
                    <a:pt x="2317" y="10437"/>
                    <a:pt x="2320" y="10434"/>
                    <a:pt x="2323" y="10431"/>
                  </a:cubicBezTo>
                  <a:lnTo>
                    <a:pt x="2323" y="10431"/>
                  </a:lnTo>
                  <a:lnTo>
                    <a:pt x="9289" y="2413"/>
                  </a:lnTo>
                  <a:cubicBezTo>
                    <a:pt x="9472" y="2201"/>
                    <a:pt x="9472" y="1859"/>
                    <a:pt x="9289" y="1648"/>
                  </a:cubicBezTo>
                  <a:cubicBezTo>
                    <a:pt x="9105" y="1437"/>
                    <a:pt x="8808" y="1437"/>
                    <a:pt x="8624" y="1648"/>
                  </a:cubicBezTo>
                  <a:lnTo>
                    <a:pt x="1651" y="9675"/>
                  </a:lnTo>
                  <a:cubicBezTo>
                    <a:pt x="-550" y="12208"/>
                    <a:pt x="-550" y="16112"/>
                    <a:pt x="1651" y="18645"/>
                  </a:cubicBezTo>
                  <a:cubicBezTo>
                    <a:pt x="3852" y="21178"/>
                    <a:pt x="7420" y="21178"/>
                    <a:pt x="9621" y="18645"/>
                  </a:cubicBezTo>
                  <a:lnTo>
                    <a:pt x="8948" y="17889"/>
                  </a:lnTo>
                  <a:cubicBezTo>
                    <a:pt x="7114" y="19991"/>
                    <a:pt x="4147" y="19989"/>
                    <a:pt x="2315" y="17881"/>
                  </a:cubicBezTo>
                  <a:moveTo>
                    <a:pt x="6300" y="13497"/>
                  </a:moveTo>
                  <a:cubicBezTo>
                    <a:pt x="7033" y="14341"/>
                    <a:pt x="8223" y="14341"/>
                    <a:pt x="8956" y="13497"/>
                  </a:cubicBezTo>
                  <a:lnTo>
                    <a:pt x="13937" y="7764"/>
                  </a:lnTo>
                  <a:cubicBezTo>
                    <a:pt x="14121" y="7553"/>
                    <a:pt x="14121" y="7211"/>
                    <a:pt x="13937" y="7000"/>
                  </a:cubicBezTo>
                  <a:cubicBezTo>
                    <a:pt x="13754" y="6789"/>
                    <a:pt x="13457" y="6789"/>
                    <a:pt x="13273" y="7000"/>
                  </a:cubicBezTo>
                  <a:lnTo>
                    <a:pt x="8292" y="12732"/>
                  </a:lnTo>
                  <a:cubicBezTo>
                    <a:pt x="7926" y="13155"/>
                    <a:pt x="7331" y="13155"/>
                    <a:pt x="6964" y="12732"/>
                  </a:cubicBezTo>
                  <a:cubicBezTo>
                    <a:pt x="6597" y="12310"/>
                    <a:pt x="6597" y="11626"/>
                    <a:pt x="6964" y="11204"/>
                  </a:cubicBezTo>
                  <a:lnTo>
                    <a:pt x="8292" y="9675"/>
                  </a:lnTo>
                  <a:lnTo>
                    <a:pt x="14934" y="2030"/>
                  </a:lnTo>
                  <a:lnTo>
                    <a:pt x="14270" y="1266"/>
                  </a:lnTo>
                  <a:lnTo>
                    <a:pt x="6300" y="10439"/>
                  </a:lnTo>
                  <a:cubicBezTo>
                    <a:pt x="5566" y="11284"/>
                    <a:pt x="5566" y="12653"/>
                    <a:pt x="6300" y="1349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783">
              <a:extLst>
                <a:ext uri="{FF2B5EF4-FFF2-40B4-BE49-F238E27FC236}">
                  <a16:creationId xmlns:a16="http://schemas.microsoft.com/office/drawing/2014/main" id="{4435B092-62B9-4F98-A156-8A22A39C9504}"/>
                </a:ext>
              </a:extLst>
            </p:cNvPr>
            <p:cNvSpPr/>
            <p:nvPr/>
          </p:nvSpPr>
          <p:spPr bwMode="gray">
            <a:xfrm>
              <a:off x="8919514" y="5616189"/>
              <a:ext cx="288993" cy="2495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855"/>
                  </a:moveTo>
                  <a:lnTo>
                    <a:pt x="1633" y="10800"/>
                  </a:lnTo>
                  <a:lnTo>
                    <a:pt x="4615" y="9156"/>
                  </a:lnTo>
                  <a:lnTo>
                    <a:pt x="10589" y="12450"/>
                  </a:lnTo>
                  <a:lnTo>
                    <a:pt x="10591" y="12446"/>
                  </a:lnTo>
                  <a:cubicBezTo>
                    <a:pt x="10654" y="12482"/>
                    <a:pt x="10724" y="12505"/>
                    <a:pt x="10800" y="12505"/>
                  </a:cubicBezTo>
                  <a:cubicBezTo>
                    <a:pt x="10876" y="12505"/>
                    <a:pt x="10946" y="12482"/>
                    <a:pt x="11009" y="12446"/>
                  </a:cubicBezTo>
                  <a:lnTo>
                    <a:pt x="11011" y="12450"/>
                  </a:lnTo>
                  <a:lnTo>
                    <a:pt x="16985" y="9156"/>
                  </a:lnTo>
                  <a:lnTo>
                    <a:pt x="19967" y="10800"/>
                  </a:lnTo>
                  <a:cubicBezTo>
                    <a:pt x="19967" y="10800"/>
                    <a:pt x="10800" y="15855"/>
                    <a:pt x="10800" y="15855"/>
                  </a:cubicBezTo>
                  <a:close/>
                  <a:moveTo>
                    <a:pt x="19967" y="15347"/>
                  </a:moveTo>
                  <a:lnTo>
                    <a:pt x="10800" y="20402"/>
                  </a:lnTo>
                  <a:lnTo>
                    <a:pt x="1633" y="15347"/>
                  </a:lnTo>
                  <a:lnTo>
                    <a:pt x="4615" y="13703"/>
                  </a:lnTo>
                  <a:lnTo>
                    <a:pt x="10589" y="16997"/>
                  </a:lnTo>
                  <a:lnTo>
                    <a:pt x="10591" y="16994"/>
                  </a:lnTo>
                  <a:cubicBezTo>
                    <a:pt x="10654" y="17029"/>
                    <a:pt x="10724" y="17053"/>
                    <a:pt x="10800" y="17053"/>
                  </a:cubicBezTo>
                  <a:cubicBezTo>
                    <a:pt x="10876" y="17053"/>
                    <a:pt x="10946" y="17029"/>
                    <a:pt x="11009" y="16994"/>
                  </a:cubicBezTo>
                  <a:lnTo>
                    <a:pt x="11011" y="16997"/>
                  </a:lnTo>
                  <a:lnTo>
                    <a:pt x="16985" y="13703"/>
                  </a:lnTo>
                  <a:cubicBezTo>
                    <a:pt x="16985" y="13703"/>
                    <a:pt x="19967" y="15347"/>
                    <a:pt x="19967" y="15347"/>
                  </a:cubicBezTo>
                  <a:close/>
                  <a:moveTo>
                    <a:pt x="1633" y="6253"/>
                  </a:moveTo>
                  <a:lnTo>
                    <a:pt x="10800" y="1198"/>
                  </a:lnTo>
                  <a:lnTo>
                    <a:pt x="19967" y="6253"/>
                  </a:lnTo>
                  <a:lnTo>
                    <a:pt x="10800" y="11307"/>
                  </a:lnTo>
                  <a:cubicBezTo>
                    <a:pt x="10800" y="11307"/>
                    <a:pt x="1633" y="6253"/>
                    <a:pt x="1633" y="6253"/>
                  </a:cubicBezTo>
                  <a:close/>
                  <a:moveTo>
                    <a:pt x="21600" y="10800"/>
                  </a:moveTo>
                  <a:cubicBezTo>
                    <a:pt x="21600" y="10574"/>
                    <a:pt x="21484" y="10383"/>
                    <a:pt x="21319" y="10290"/>
                  </a:cubicBezTo>
                  <a:lnTo>
                    <a:pt x="21320" y="10287"/>
                  </a:lnTo>
                  <a:lnTo>
                    <a:pt x="18127" y="8526"/>
                  </a:lnTo>
                  <a:lnTo>
                    <a:pt x="21320" y="6766"/>
                  </a:lnTo>
                  <a:lnTo>
                    <a:pt x="21319" y="6762"/>
                  </a:lnTo>
                  <a:cubicBezTo>
                    <a:pt x="21484" y="6671"/>
                    <a:pt x="21600" y="6479"/>
                    <a:pt x="21600" y="6253"/>
                  </a:cubicBezTo>
                  <a:cubicBezTo>
                    <a:pt x="21600" y="6027"/>
                    <a:pt x="21484" y="5835"/>
                    <a:pt x="21319" y="5743"/>
                  </a:cubicBezTo>
                  <a:lnTo>
                    <a:pt x="21320" y="5740"/>
                  </a:lnTo>
                  <a:lnTo>
                    <a:pt x="11011" y="56"/>
                  </a:lnTo>
                  <a:lnTo>
                    <a:pt x="11009" y="59"/>
                  </a:lnTo>
                  <a:cubicBezTo>
                    <a:pt x="10946" y="23"/>
                    <a:pt x="10876" y="0"/>
                    <a:pt x="10800" y="0"/>
                  </a:cubicBezTo>
                  <a:cubicBezTo>
                    <a:pt x="10724" y="0"/>
                    <a:pt x="10654" y="23"/>
                    <a:pt x="10591" y="59"/>
                  </a:cubicBezTo>
                  <a:lnTo>
                    <a:pt x="10589" y="56"/>
                  </a:lnTo>
                  <a:lnTo>
                    <a:pt x="280" y="5740"/>
                  </a:lnTo>
                  <a:lnTo>
                    <a:pt x="281" y="5743"/>
                  </a:lnTo>
                  <a:cubicBezTo>
                    <a:pt x="116" y="5835"/>
                    <a:pt x="0" y="6027"/>
                    <a:pt x="0" y="6253"/>
                  </a:cubicBezTo>
                  <a:cubicBezTo>
                    <a:pt x="0" y="6479"/>
                    <a:pt x="116" y="6671"/>
                    <a:pt x="281" y="6762"/>
                  </a:cubicBezTo>
                  <a:lnTo>
                    <a:pt x="280" y="6766"/>
                  </a:lnTo>
                  <a:lnTo>
                    <a:pt x="3473" y="8526"/>
                  </a:lnTo>
                  <a:lnTo>
                    <a:pt x="280" y="10287"/>
                  </a:lnTo>
                  <a:lnTo>
                    <a:pt x="281" y="10290"/>
                  </a:lnTo>
                  <a:cubicBezTo>
                    <a:pt x="116" y="10383"/>
                    <a:pt x="0" y="10574"/>
                    <a:pt x="0" y="10800"/>
                  </a:cubicBezTo>
                  <a:cubicBezTo>
                    <a:pt x="0" y="11026"/>
                    <a:pt x="116" y="11218"/>
                    <a:pt x="281" y="11310"/>
                  </a:cubicBezTo>
                  <a:lnTo>
                    <a:pt x="280" y="11313"/>
                  </a:lnTo>
                  <a:lnTo>
                    <a:pt x="3473" y="13074"/>
                  </a:lnTo>
                  <a:lnTo>
                    <a:pt x="280" y="14834"/>
                  </a:lnTo>
                  <a:lnTo>
                    <a:pt x="281" y="14838"/>
                  </a:lnTo>
                  <a:cubicBezTo>
                    <a:pt x="116" y="14930"/>
                    <a:pt x="0" y="15121"/>
                    <a:pt x="0" y="15347"/>
                  </a:cubicBezTo>
                  <a:cubicBezTo>
                    <a:pt x="0" y="15574"/>
                    <a:pt x="116" y="15765"/>
                    <a:pt x="281" y="15857"/>
                  </a:cubicBezTo>
                  <a:lnTo>
                    <a:pt x="280" y="15860"/>
                  </a:lnTo>
                  <a:lnTo>
                    <a:pt x="10589" y="21544"/>
                  </a:lnTo>
                  <a:lnTo>
                    <a:pt x="10591" y="21541"/>
                  </a:lnTo>
                  <a:cubicBezTo>
                    <a:pt x="10654" y="21577"/>
                    <a:pt x="10724" y="21600"/>
                    <a:pt x="10800" y="21600"/>
                  </a:cubicBezTo>
                  <a:cubicBezTo>
                    <a:pt x="10876" y="21600"/>
                    <a:pt x="10946" y="21577"/>
                    <a:pt x="11009" y="21541"/>
                  </a:cubicBezTo>
                  <a:lnTo>
                    <a:pt x="11011" y="21544"/>
                  </a:lnTo>
                  <a:lnTo>
                    <a:pt x="21320" y="15860"/>
                  </a:lnTo>
                  <a:lnTo>
                    <a:pt x="21319" y="15857"/>
                  </a:lnTo>
                  <a:cubicBezTo>
                    <a:pt x="21484" y="15765"/>
                    <a:pt x="21600" y="15574"/>
                    <a:pt x="21600" y="15347"/>
                  </a:cubicBezTo>
                  <a:cubicBezTo>
                    <a:pt x="21600" y="15121"/>
                    <a:pt x="21484" y="14930"/>
                    <a:pt x="21319" y="14838"/>
                  </a:cubicBezTo>
                  <a:lnTo>
                    <a:pt x="21320" y="14834"/>
                  </a:lnTo>
                  <a:lnTo>
                    <a:pt x="18127" y="13074"/>
                  </a:lnTo>
                  <a:lnTo>
                    <a:pt x="21320" y="11313"/>
                  </a:lnTo>
                  <a:lnTo>
                    <a:pt x="21319" y="11310"/>
                  </a:lnTo>
                  <a:cubicBezTo>
                    <a:pt x="21484" y="11218"/>
                    <a:pt x="21600" y="1102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784">
              <a:extLst>
                <a:ext uri="{FF2B5EF4-FFF2-40B4-BE49-F238E27FC236}">
                  <a16:creationId xmlns:a16="http://schemas.microsoft.com/office/drawing/2014/main" id="{A6F87C4A-54E8-4884-86D2-085578D21A79}"/>
                </a:ext>
              </a:extLst>
            </p:cNvPr>
            <p:cNvSpPr/>
            <p:nvPr/>
          </p:nvSpPr>
          <p:spPr bwMode="gray">
            <a:xfrm>
              <a:off x="947122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53" y="11229"/>
                  </a:moveTo>
                  <a:lnTo>
                    <a:pt x="20356" y="11234"/>
                  </a:lnTo>
                  <a:lnTo>
                    <a:pt x="11029" y="16143"/>
                  </a:lnTo>
                  <a:lnTo>
                    <a:pt x="11026" y="16138"/>
                  </a:lnTo>
                  <a:cubicBezTo>
                    <a:pt x="10957" y="16174"/>
                    <a:pt x="10883" y="16200"/>
                    <a:pt x="10800" y="16200"/>
                  </a:cubicBezTo>
                  <a:cubicBezTo>
                    <a:pt x="10717" y="16200"/>
                    <a:pt x="10643" y="16174"/>
                    <a:pt x="10574" y="16138"/>
                  </a:cubicBezTo>
                  <a:lnTo>
                    <a:pt x="10571" y="16143"/>
                  </a:lnTo>
                  <a:lnTo>
                    <a:pt x="1244" y="11234"/>
                  </a:lnTo>
                  <a:lnTo>
                    <a:pt x="1247" y="11229"/>
                  </a:lnTo>
                  <a:cubicBezTo>
                    <a:pt x="1091" y="11147"/>
                    <a:pt x="982" y="10988"/>
                    <a:pt x="982" y="10800"/>
                  </a:cubicBezTo>
                  <a:cubicBezTo>
                    <a:pt x="982" y="10612"/>
                    <a:pt x="1091" y="10453"/>
                    <a:pt x="1247" y="10371"/>
                  </a:cubicBezTo>
                  <a:lnTo>
                    <a:pt x="1244" y="10366"/>
                  </a:lnTo>
                  <a:lnTo>
                    <a:pt x="3562" y="9146"/>
                  </a:lnTo>
                  <a:lnTo>
                    <a:pt x="10113" y="12594"/>
                  </a:lnTo>
                  <a:lnTo>
                    <a:pt x="10117" y="12588"/>
                  </a:lnTo>
                  <a:cubicBezTo>
                    <a:pt x="10322" y="12697"/>
                    <a:pt x="10552" y="12764"/>
                    <a:pt x="10800" y="12764"/>
                  </a:cubicBezTo>
                  <a:cubicBezTo>
                    <a:pt x="11048" y="12764"/>
                    <a:pt x="11278" y="12697"/>
                    <a:pt x="11483" y="12588"/>
                  </a:cubicBezTo>
                  <a:lnTo>
                    <a:pt x="11486" y="12594"/>
                  </a:lnTo>
                  <a:lnTo>
                    <a:pt x="18038" y="9146"/>
                  </a:lnTo>
                  <a:lnTo>
                    <a:pt x="20356" y="10366"/>
                  </a:lnTo>
                  <a:lnTo>
                    <a:pt x="20353" y="10371"/>
                  </a:lnTo>
                  <a:cubicBezTo>
                    <a:pt x="20509" y="10453"/>
                    <a:pt x="20618" y="10612"/>
                    <a:pt x="20618" y="10800"/>
                  </a:cubicBezTo>
                  <a:cubicBezTo>
                    <a:pt x="20618" y="10988"/>
                    <a:pt x="20509" y="11147"/>
                    <a:pt x="20353" y="11229"/>
                  </a:cubicBezTo>
                  <a:moveTo>
                    <a:pt x="20356" y="14784"/>
                  </a:moveTo>
                  <a:lnTo>
                    <a:pt x="20353" y="14790"/>
                  </a:lnTo>
                  <a:cubicBezTo>
                    <a:pt x="20509" y="14872"/>
                    <a:pt x="20618" y="15030"/>
                    <a:pt x="20618" y="15218"/>
                  </a:cubicBezTo>
                  <a:cubicBezTo>
                    <a:pt x="20618" y="15407"/>
                    <a:pt x="20509" y="15565"/>
                    <a:pt x="20353" y="15647"/>
                  </a:cubicBezTo>
                  <a:lnTo>
                    <a:pt x="20356" y="15653"/>
                  </a:lnTo>
                  <a:lnTo>
                    <a:pt x="11029" y="20562"/>
                  </a:lnTo>
                  <a:lnTo>
                    <a:pt x="11026" y="20556"/>
                  </a:lnTo>
                  <a:cubicBezTo>
                    <a:pt x="10957" y="20592"/>
                    <a:pt x="10883" y="20618"/>
                    <a:pt x="10800" y="20618"/>
                  </a:cubicBezTo>
                  <a:cubicBezTo>
                    <a:pt x="10717" y="20618"/>
                    <a:pt x="10643" y="20592"/>
                    <a:pt x="10574" y="20556"/>
                  </a:cubicBezTo>
                  <a:lnTo>
                    <a:pt x="10571" y="20562"/>
                  </a:lnTo>
                  <a:lnTo>
                    <a:pt x="1244" y="15653"/>
                  </a:lnTo>
                  <a:lnTo>
                    <a:pt x="1247" y="15647"/>
                  </a:lnTo>
                  <a:cubicBezTo>
                    <a:pt x="1091" y="15565"/>
                    <a:pt x="982" y="15407"/>
                    <a:pt x="982" y="15218"/>
                  </a:cubicBezTo>
                  <a:cubicBezTo>
                    <a:pt x="982" y="15030"/>
                    <a:pt x="1091" y="14872"/>
                    <a:pt x="1247" y="14790"/>
                  </a:cubicBezTo>
                  <a:lnTo>
                    <a:pt x="1244" y="14784"/>
                  </a:lnTo>
                  <a:lnTo>
                    <a:pt x="3562" y="13564"/>
                  </a:lnTo>
                  <a:lnTo>
                    <a:pt x="10113" y="17012"/>
                  </a:lnTo>
                  <a:lnTo>
                    <a:pt x="10117" y="17006"/>
                  </a:lnTo>
                  <a:cubicBezTo>
                    <a:pt x="10322" y="17115"/>
                    <a:pt x="10552" y="17182"/>
                    <a:pt x="10800" y="17182"/>
                  </a:cubicBezTo>
                  <a:cubicBezTo>
                    <a:pt x="11048" y="17182"/>
                    <a:pt x="11278" y="17115"/>
                    <a:pt x="11483" y="17006"/>
                  </a:cubicBezTo>
                  <a:lnTo>
                    <a:pt x="11486" y="17012"/>
                  </a:lnTo>
                  <a:lnTo>
                    <a:pt x="18038" y="13564"/>
                  </a:lnTo>
                  <a:cubicBezTo>
                    <a:pt x="18038" y="13564"/>
                    <a:pt x="20356" y="14784"/>
                    <a:pt x="20356" y="14784"/>
                  </a:cubicBezTo>
                  <a:close/>
                  <a:moveTo>
                    <a:pt x="1244" y="6816"/>
                  </a:moveTo>
                  <a:lnTo>
                    <a:pt x="1247" y="6811"/>
                  </a:lnTo>
                  <a:cubicBezTo>
                    <a:pt x="1091" y="6728"/>
                    <a:pt x="982" y="6570"/>
                    <a:pt x="982" y="6382"/>
                  </a:cubicBezTo>
                  <a:cubicBezTo>
                    <a:pt x="982" y="6194"/>
                    <a:pt x="1091" y="6035"/>
                    <a:pt x="1247" y="5953"/>
                  </a:cubicBezTo>
                  <a:lnTo>
                    <a:pt x="1244" y="5947"/>
                  </a:lnTo>
                  <a:lnTo>
                    <a:pt x="10571" y="1038"/>
                  </a:lnTo>
                  <a:lnTo>
                    <a:pt x="10574" y="1044"/>
                  </a:lnTo>
                  <a:cubicBezTo>
                    <a:pt x="10643" y="1008"/>
                    <a:pt x="10717" y="982"/>
                    <a:pt x="10800" y="982"/>
                  </a:cubicBezTo>
                  <a:cubicBezTo>
                    <a:pt x="10883" y="982"/>
                    <a:pt x="10957" y="1008"/>
                    <a:pt x="11026" y="1044"/>
                  </a:cubicBezTo>
                  <a:lnTo>
                    <a:pt x="11029" y="1038"/>
                  </a:lnTo>
                  <a:lnTo>
                    <a:pt x="20356" y="5947"/>
                  </a:lnTo>
                  <a:lnTo>
                    <a:pt x="20353" y="5953"/>
                  </a:lnTo>
                  <a:cubicBezTo>
                    <a:pt x="20509" y="6035"/>
                    <a:pt x="20618" y="6194"/>
                    <a:pt x="20618" y="6382"/>
                  </a:cubicBezTo>
                  <a:cubicBezTo>
                    <a:pt x="20618" y="6570"/>
                    <a:pt x="20509" y="6728"/>
                    <a:pt x="20353" y="6811"/>
                  </a:cubicBezTo>
                  <a:lnTo>
                    <a:pt x="20356" y="6816"/>
                  </a:lnTo>
                  <a:lnTo>
                    <a:pt x="11029" y="11725"/>
                  </a:lnTo>
                  <a:lnTo>
                    <a:pt x="11026" y="11720"/>
                  </a:lnTo>
                  <a:cubicBezTo>
                    <a:pt x="10957" y="11756"/>
                    <a:pt x="10883" y="11782"/>
                    <a:pt x="10800" y="11782"/>
                  </a:cubicBezTo>
                  <a:cubicBezTo>
                    <a:pt x="10717" y="11782"/>
                    <a:pt x="10643" y="11756"/>
                    <a:pt x="10574" y="11720"/>
                  </a:cubicBezTo>
                  <a:lnTo>
                    <a:pt x="10571" y="11725"/>
                  </a:lnTo>
                  <a:cubicBezTo>
                    <a:pt x="10571" y="11725"/>
                    <a:pt x="1244" y="6816"/>
                    <a:pt x="1244" y="6816"/>
                  </a:cubicBezTo>
                  <a:close/>
                  <a:moveTo>
                    <a:pt x="21600" y="10800"/>
                  </a:moveTo>
                  <a:cubicBezTo>
                    <a:pt x="21600" y="10234"/>
                    <a:pt x="21278" y="9749"/>
                    <a:pt x="20810" y="9503"/>
                  </a:cubicBezTo>
                  <a:lnTo>
                    <a:pt x="20813" y="9497"/>
                  </a:lnTo>
                  <a:lnTo>
                    <a:pt x="19092" y="8591"/>
                  </a:lnTo>
                  <a:lnTo>
                    <a:pt x="20813" y="7685"/>
                  </a:lnTo>
                  <a:lnTo>
                    <a:pt x="20810" y="7679"/>
                  </a:lnTo>
                  <a:cubicBezTo>
                    <a:pt x="21278" y="7433"/>
                    <a:pt x="21600" y="6948"/>
                    <a:pt x="21600" y="6382"/>
                  </a:cubicBezTo>
                  <a:cubicBezTo>
                    <a:pt x="21600" y="5816"/>
                    <a:pt x="21278" y="5331"/>
                    <a:pt x="20810" y="5085"/>
                  </a:cubicBezTo>
                  <a:lnTo>
                    <a:pt x="20813" y="5079"/>
                  </a:lnTo>
                  <a:lnTo>
                    <a:pt x="11486" y="170"/>
                  </a:lnTo>
                  <a:lnTo>
                    <a:pt x="11483" y="175"/>
                  </a:lnTo>
                  <a:cubicBezTo>
                    <a:pt x="11278" y="67"/>
                    <a:pt x="11048" y="0"/>
                    <a:pt x="10800" y="0"/>
                  </a:cubicBezTo>
                  <a:cubicBezTo>
                    <a:pt x="10552" y="0"/>
                    <a:pt x="10322" y="67"/>
                    <a:pt x="10117" y="175"/>
                  </a:cubicBezTo>
                  <a:lnTo>
                    <a:pt x="10113" y="170"/>
                  </a:lnTo>
                  <a:lnTo>
                    <a:pt x="786" y="5079"/>
                  </a:lnTo>
                  <a:lnTo>
                    <a:pt x="790" y="5085"/>
                  </a:lnTo>
                  <a:cubicBezTo>
                    <a:pt x="322" y="5331"/>
                    <a:pt x="0" y="5816"/>
                    <a:pt x="0" y="6382"/>
                  </a:cubicBezTo>
                  <a:cubicBezTo>
                    <a:pt x="0" y="6948"/>
                    <a:pt x="322" y="7433"/>
                    <a:pt x="790" y="7679"/>
                  </a:cubicBezTo>
                  <a:lnTo>
                    <a:pt x="786" y="7685"/>
                  </a:lnTo>
                  <a:lnTo>
                    <a:pt x="2508" y="8591"/>
                  </a:lnTo>
                  <a:lnTo>
                    <a:pt x="786" y="9497"/>
                  </a:lnTo>
                  <a:lnTo>
                    <a:pt x="790" y="9503"/>
                  </a:lnTo>
                  <a:cubicBezTo>
                    <a:pt x="322" y="9749"/>
                    <a:pt x="0" y="10234"/>
                    <a:pt x="0" y="10800"/>
                  </a:cubicBezTo>
                  <a:cubicBezTo>
                    <a:pt x="0" y="11366"/>
                    <a:pt x="322" y="11851"/>
                    <a:pt x="790" y="12097"/>
                  </a:cubicBezTo>
                  <a:lnTo>
                    <a:pt x="786" y="12103"/>
                  </a:lnTo>
                  <a:lnTo>
                    <a:pt x="2508" y="13009"/>
                  </a:lnTo>
                  <a:lnTo>
                    <a:pt x="786" y="13915"/>
                  </a:lnTo>
                  <a:lnTo>
                    <a:pt x="790" y="13921"/>
                  </a:lnTo>
                  <a:cubicBezTo>
                    <a:pt x="322" y="14167"/>
                    <a:pt x="0" y="14652"/>
                    <a:pt x="0" y="15218"/>
                  </a:cubicBezTo>
                  <a:cubicBezTo>
                    <a:pt x="0" y="15784"/>
                    <a:pt x="322" y="16269"/>
                    <a:pt x="790" y="16515"/>
                  </a:cubicBezTo>
                  <a:lnTo>
                    <a:pt x="786" y="16521"/>
                  </a:lnTo>
                  <a:lnTo>
                    <a:pt x="10113" y="21430"/>
                  </a:lnTo>
                  <a:lnTo>
                    <a:pt x="10117" y="21425"/>
                  </a:lnTo>
                  <a:cubicBezTo>
                    <a:pt x="10322" y="21533"/>
                    <a:pt x="10552" y="21600"/>
                    <a:pt x="10800" y="21600"/>
                  </a:cubicBezTo>
                  <a:cubicBezTo>
                    <a:pt x="11048" y="21600"/>
                    <a:pt x="11278" y="21533"/>
                    <a:pt x="11483" y="21425"/>
                  </a:cubicBezTo>
                  <a:lnTo>
                    <a:pt x="11486" y="21430"/>
                  </a:lnTo>
                  <a:lnTo>
                    <a:pt x="20813" y="16521"/>
                  </a:lnTo>
                  <a:lnTo>
                    <a:pt x="20810" y="16515"/>
                  </a:lnTo>
                  <a:cubicBezTo>
                    <a:pt x="21278" y="16269"/>
                    <a:pt x="21600" y="15784"/>
                    <a:pt x="21600" y="15218"/>
                  </a:cubicBezTo>
                  <a:cubicBezTo>
                    <a:pt x="21600" y="14652"/>
                    <a:pt x="21278" y="14167"/>
                    <a:pt x="20810" y="13921"/>
                  </a:cubicBezTo>
                  <a:lnTo>
                    <a:pt x="20813" y="13915"/>
                  </a:lnTo>
                  <a:lnTo>
                    <a:pt x="19092" y="13009"/>
                  </a:lnTo>
                  <a:lnTo>
                    <a:pt x="20813" y="12103"/>
                  </a:lnTo>
                  <a:lnTo>
                    <a:pt x="20810" y="12097"/>
                  </a:lnTo>
                  <a:cubicBezTo>
                    <a:pt x="21278" y="11851"/>
                    <a:pt x="21600" y="1136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785">
              <a:extLst>
                <a:ext uri="{FF2B5EF4-FFF2-40B4-BE49-F238E27FC236}">
                  <a16:creationId xmlns:a16="http://schemas.microsoft.com/office/drawing/2014/main" id="{C3191ECA-35B8-4A8A-BAFA-E6C26E92C18F}"/>
                </a:ext>
              </a:extLst>
            </p:cNvPr>
            <p:cNvSpPr/>
            <p:nvPr/>
          </p:nvSpPr>
          <p:spPr bwMode="gray">
            <a:xfrm>
              <a:off x="10022941" y="56227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400"/>
                  </a:moveTo>
                  <a:cubicBezTo>
                    <a:pt x="14522" y="20400"/>
                    <a:pt x="12764" y="18251"/>
                    <a:pt x="12764" y="15600"/>
                  </a:cubicBezTo>
                  <a:cubicBezTo>
                    <a:pt x="12764" y="12949"/>
                    <a:pt x="14522" y="10800"/>
                    <a:pt x="16691" y="10800"/>
                  </a:cubicBezTo>
                  <a:cubicBezTo>
                    <a:pt x="18860" y="10800"/>
                    <a:pt x="20618" y="12949"/>
                    <a:pt x="20618" y="15600"/>
                  </a:cubicBezTo>
                  <a:cubicBezTo>
                    <a:pt x="20618" y="18251"/>
                    <a:pt x="18860" y="20400"/>
                    <a:pt x="16691" y="20400"/>
                  </a:cubicBezTo>
                  <a:moveTo>
                    <a:pt x="12762" y="3393"/>
                  </a:moveTo>
                  <a:lnTo>
                    <a:pt x="12781" y="3388"/>
                  </a:lnTo>
                  <a:cubicBezTo>
                    <a:pt x="12870" y="2164"/>
                    <a:pt x="13702" y="1200"/>
                    <a:pt x="14727" y="1200"/>
                  </a:cubicBezTo>
                  <a:cubicBezTo>
                    <a:pt x="15521" y="1200"/>
                    <a:pt x="16202" y="1779"/>
                    <a:pt x="16511" y="2609"/>
                  </a:cubicBezTo>
                  <a:lnTo>
                    <a:pt x="16509" y="2609"/>
                  </a:lnTo>
                  <a:lnTo>
                    <a:pt x="19162" y="10421"/>
                  </a:lnTo>
                  <a:cubicBezTo>
                    <a:pt x="18436" y="9902"/>
                    <a:pt x="17593" y="9600"/>
                    <a:pt x="16691" y="9600"/>
                  </a:cubicBezTo>
                  <a:cubicBezTo>
                    <a:pt x="15082" y="9600"/>
                    <a:pt x="13658" y="10550"/>
                    <a:pt x="12763" y="12012"/>
                  </a:cubicBezTo>
                  <a:cubicBezTo>
                    <a:pt x="12763" y="12012"/>
                    <a:pt x="12762" y="3393"/>
                    <a:pt x="12762" y="3393"/>
                  </a:cubicBezTo>
                  <a:close/>
                  <a:moveTo>
                    <a:pt x="11782" y="13200"/>
                  </a:moveTo>
                  <a:lnTo>
                    <a:pt x="9818" y="13200"/>
                  </a:lnTo>
                  <a:lnTo>
                    <a:pt x="9818" y="4800"/>
                  </a:lnTo>
                  <a:lnTo>
                    <a:pt x="11782" y="4800"/>
                  </a:lnTo>
                  <a:cubicBezTo>
                    <a:pt x="11782" y="4800"/>
                    <a:pt x="11782" y="13200"/>
                    <a:pt x="11782" y="13200"/>
                  </a:cubicBezTo>
                  <a:close/>
                  <a:moveTo>
                    <a:pt x="11782" y="15600"/>
                  </a:moveTo>
                  <a:lnTo>
                    <a:pt x="9818" y="15600"/>
                  </a:lnTo>
                  <a:lnTo>
                    <a:pt x="9818" y="14400"/>
                  </a:lnTo>
                  <a:lnTo>
                    <a:pt x="11782" y="14400"/>
                  </a:lnTo>
                  <a:cubicBezTo>
                    <a:pt x="11782" y="14400"/>
                    <a:pt x="11782" y="15600"/>
                    <a:pt x="11782" y="15600"/>
                  </a:cubicBezTo>
                  <a:close/>
                  <a:moveTo>
                    <a:pt x="8837" y="12012"/>
                  </a:moveTo>
                  <a:cubicBezTo>
                    <a:pt x="7942" y="10550"/>
                    <a:pt x="6518" y="9600"/>
                    <a:pt x="4909" y="9600"/>
                  </a:cubicBezTo>
                  <a:cubicBezTo>
                    <a:pt x="4007" y="9600"/>
                    <a:pt x="3164" y="9902"/>
                    <a:pt x="2438" y="10421"/>
                  </a:cubicBezTo>
                  <a:lnTo>
                    <a:pt x="5091" y="2609"/>
                  </a:lnTo>
                  <a:lnTo>
                    <a:pt x="5089" y="2609"/>
                  </a:lnTo>
                  <a:cubicBezTo>
                    <a:pt x="5398" y="1779"/>
                    <a:pt x="6079" y="1200"/>
                    <a:pt x="6873" y="1200"/>
                  </a:cubicBezTo>
                  <a:cubicBezTo>
                    <a:pt x="7898" y="1200"/>
                    <a:pt x="8730" y="2164"/>
                    <a:pt x="8819" y="3388"/>
                  </a:cubicBezTo>
                  <a:lnTo>
                    <a:pt x="8838" y="3393"/>
                  </a:lnTo>
                  <a:cubicBezTo>
                    <a:pt x="8838" y="3393"/>
                    <a:pt x="8837" y="12012"/>
                    <a:pt x="8837" y="12012"/>
                  </a:cubicBezTo>
                  <a:close/>
                  <a:moveTo>
                    <a:pt x="4909" y="20400"/>
                  </a:moveTo>
                  <a:cubicBezTo>
                    <a:pt x="2740" y="20400"/>
                    <a:pt x="982" y="18251"/>
                    <a:pt x="982" y="15600"/>
                  </a:cubicBezTo>
                  <a:cubicBezTo>
                    <a:pt x="982" y="12949"/>
                    <a:pt x="2740" y="10800"/>
                    <a:pt x="4909" y="10800"/>
                  </a:cubicBezTo>
                  <a:cubicBezTo>
                    <a:pt x="7078" y="10800"/>
                    <a:pt x="8836" y="12949"/>
                    <a:pt x="8836" y="15600"/>
                  </a:cubicBezTo>
                  <a:cubicBezTo>
                    <a:pt x="8836" y="18251"/>
                    <a:pt x="7078" y="20400"/>
                    <a:pt x="4909" y="20400"/>
                  </a:cubicBezTo>
                  <a:moveTo>
                    <a:pt x="21102" y="12980"/>
                  </a:moveTo>
                  <a:lnTo>
                    <a:pt x="17504" y="2400"/>
                  </a:lnTo>
                  <a:lnTo>
                    <a:pt x="17493" y="2402"/>
                  </a:lnTo>
                  <a:cubicBezTo>
                    <a:pt x="17088" y="1006"/>
                    <a:pt x="16009" y="0"/>
                    <a:pt x="14727" y="0"/>
                  </a:cubicBezTo>
                  <a:cubicBezTo>
                    <a:pt x="13101" y="0"/>
                    <a:pt x="11782" y="1612"/>
                    <a:pt x="11782" y="3600"/>
                  </a:cubicBezTo>
                  <a:lnTo>
                    <a:pt x="9818" y="3600"/>
                  </a:lnTo>
                  <a:cubicBezTo>
                    <a:pt x="9818" y="1612"/>
                    <a:pt x="8499" y="0"/>
                    <a:pt x="6873" y="0"/>
                  </a:cubicBezTo>
                  <a:cubicBezTo>
                    <a:pt x="5592" y="0"/>
                    <a:pt x="4512" y="1006"/>
                    <a:pt x="4107" y="2402"/>
                  </a:cubicBezTo>
                  <a:lnTo>
                    <a:pt x="4096" y="2400"/>
                  </a:lnTo>
                  <a:lnTo>
                    <a:pt x="498" y="12980"/>
                  </a:lnTo>
                  <a:cubicBezTo>
                    <a:pt x="182" y="13772"/>
                    <a:pt x="0" y="14659"/>
                    <a:pt x="0" y="15600"/>
                  </a:cubicBezTo>
                  <a:cubicBezTo>
                    <a:pt x="0" y="18914"/>
                    <a:pt x="2198" y="21600"/>
                    <a:pt x="4909" y="21600"/>
                  </a:cubicBezTo>
                  <a:cubicBezTo>
                    <a:pt x="7284" y="21600"/>
                    <a:pt x="9265" y="19539"/>
                    <a:pt x="9719" y="16800"/>
                  </a:cubicBezTo>
                  <a:lnTo>
                    <a:pt x="11881" y="16800"/>
                  </a:lnTo>
                  <a:cubicBezTo>
                    <a:pt x="12335" y="19539"/>
                    <a:pt x="14316" y="21600"/>
                    <a:pt x="16691" y="21600"/>
                  </a:cubicBezTo>
                  <a:cubicBezTo>
                    <a:pt x="19402" y="21600"/>
                    <a:pt x="21600" y="18914"/>
                    <a:pt x="21600" y="15600"/>
                  </a:cubicBezTo>
                  <a:cubicBezTo>
                    <a:pt x="21600" y="14659"/>
                    <a:pt x="21418" y="13772"/>
                    <a:pt x="21102" y="12980"/>
                  </a:cubicBezTo>
                  <a:moveTo>
                    <a:pt x="16691" y="12000"/>
                  </a:moveTo>
                  <a:cubicBezTo>
                    <a:pt x="15064" y="12000"/>
                    <a:pt x="13745" y="13612"/>
                    <a:pt x="13745" y="15600"/>
                  </a:cubicBezTo>
                  <a:cubicBezTo>
                    <a:pt x="13745" y="15932"/>
                    <a:pt x="13965" y="16200"/>
                    <a:pt x="14236" y="16200"/>
                  </a:cubicBezTo>
                  <a:cubicBezTo>
                    <a:pt x="14508" y="16200"/>
                    <a:pt x="14727" y="15932"/>
                    <a:pt x="14727" y="15600"/>
                  </a:cubicBezTo>
                  <a:cubicBezTo>
                    <a:pt x="14727" y="14275"/>
                    <a:pt x="15606" y="13200"/>
                    <a:pt x="16691" y="13200"/>
                  </a:cubicBezTo>
                  <a:cubicBezTo>
                    <a:pt x="16962" y="13200"/>
                    <a:pt x="17182" y="12932"/>
                    <a:pt x="17182" y="12600"/>
                  </a:cubicBezTo>
                  <a:cubicBezTo>
                    <a:pt x="17182" y="12268"/>
                    <a:pt x="16962" y="12000"/>
                    <a:pt x="16691" y="12000"/>
                  </a:cubicBezTo>
                  <a:moveTo>
                    <a:pt x="4909" y="12000"/>
                  </a:moveTo>
                  <a:cubicBezTo>
                    <a:pt x="3282" y="12000"/>
                    <a:pt x="1964" y="13612"/>
                    <a:pt x="1964" y="15600"/>
                  </a:cubicBezTo>
                  <a:cubicBezTo>
                    <a:pt x="1964" y="15932"/>
                    <a:pt x="2183" y="16200"/>
                    <a:pt x="2455" y="16200"/>
                  </a:cubicBezTo>
                  <a:cubicBezTo>
                    <a:pt x="2726" y="16200"/>
                    <a:pt x="2945" y="15932"/>
                    <a:pt x="2945" y="15600"/>
                  </a:cubicBezTo>
                  <a:cubicBezTo>
                    <a:pt x="2945" y="14275"/>
                    <a:pt x="3825" y="13200"/>
                    <a:pt x="4909" y="13200"/>
                  </a:cubicBezTo>
                  <a:cubicBezTo>
                    <a:pt x="5180" y="13200"/>
                    <a:pt x="5400" y="12932"/>
                    <a:pt x="5400" y="12600"/>
                  </a:cubicBezTo>
                  <a:cubicBezTo>
                    <a:pt x="5400" y="12268"/>
                    <a:pt x="5180" y="12000"/>
                    <a:pt x="4909" y="120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786">
              <a:extLst>
                <a:ext uri="{FF2B5EF4-FFF2-40B4-BE49-F238E27FC236}">
                  <a16:creationId xmlns:a16="http://schemas.microsoft.com/office/drawing/2014/main" id="{1A38E5B5-C711-4459-BE91-DB92056E48EF}"/>
                </a:ext>
              </a:extLst>
            </p:cNvPr>
            <p:cNvSpPr/>
            <p:nvPr/>
          </p:nvSpPr>
          <p:spPr bwMode="gray">
            <a:xfrm>
              <a:off x="10574655" y="5609621"/>
              <a:ext cx="288785" cy="2627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79" h="20458" extrusionOk="0">
                  <a:moveTo>
                    <a:pt x="8629" y="9718"/>
                  </a:moveTo>
                  <a:cubicBezTo>
                    <a:pt x="8364" y="9718"/>
                    <a:pt x="8150" y="9946"/>
                    <a:pt x="8150" y="10229"/>
                  </a:cubicBezTo>
                  <a:cubicBezTo>
                    <a:pt x="8150" y="10512"/>
                    <a:pt x="8364" y="10740"/>
                    <a:pt x="8629" y="10740"/>
                  </a:cubicBezTo>
                  <a:cubicBezTo>
                    <a:pt x="8894" y="10740"/>
                    <a:pt x="9109" y="10512"/>
                    <a:pt x="9109" y="10229"/>
                  </a:cubicBezTo>
                  <a:cubicBezTo>
                    <a:pt x="9109" y="9946"/>
                    <a:pt x="8894" y="9718"/>
                    <a:pt x="8629" y="9718"/>
                  </a:cubicBezTo>
                  <a:moveTo>
                    <a:pt x="19841" y="17227"/>
                  </a:moveTo>
                  <a:cubicBezTo>
                    <a:pt x="18962" y="17974"/>
                    <a:pt x="18122" y="17900"/>
                    <a:pt x="18122" y="17900"/>
                  </a:cubicBezTo>
                  <a:cubicBezTo>
                    <a:pt x="17681" y="17900"/>
                    <a:pt x="16277" y="16919"/>
                    <a:pt x="9448" y="11852"/>
                  </a:cubicBezTo>
                  <a:lnTo>
                    <a:pt x="10866" y="10844"/>
                  </a:lnTo>
                  <a:cubicBezTo>
                    <a:pt x="10866" y="10844"/>
                    <a:pt x="19841" y="17227"/>
                    <a:pt x="19841" y="17227"/>
                  </a:cubicBezTo>
                  <a:close/>
                  <a:moveTo>
                    <a:pt x="6661" y="12605"/>
                  </a:moveTo>
                  <a:cubicBezTo>
                    <a:pt x="6010" y="12349"/>
                    <a:pt x="5264" y="12239"/>
                    <a:pt x="4521" y="12267"/>
                  </a:cubicBezTo>
                  <a:cubicBezTo>
                    <a:pt x="15686" y="3965"/>
                    <a:pt x="17591" y="2558"/>
                    <a:pt x="18122" y="2558"/>
                  </a:cubicBezTo>
                  <a:cubicBezTo>
                    <a:pt x="18122" y="2558"/>
                    <a:pt x="18962" y="2484"/>
                    <a:pt x="19841" y="3231"/>
                  </a:cubicBezTo>
                  <a:cubicBezTo>
                    <a:pt x="19841" y="3231"/>
                    <a:pt x="6661" y="12605"/>
                    <a:pt x="6661" y="12605"/>
                  </a:cubicBezTo>
                  <a:close/>
                  <a:moveTo>
                    <a:pt x="5586" y="19031"/>
                  </a:moveTo>
                  <a:cubicBezTo>
                    <a:pt x="4111" y="19863"/>
                    <a:pt x="2224" y="19369"/>
                    <a:pt x="1372" y="17927"/>
                  </a:cubicBezTo>
                  <a:cubicBezTo>
                    <a:pt x="520" y="16485"/>
                    <a:pt x="1026" y="14640"/>
                    <a:pt x="2501" y="13808"/>
                  </a:cubicBezTo>
                  <a:cubicBezTo>
                    <a:pt x="3977" y="12975"/>
                    <a:pt x="6532" y="13092"/>
                    <a:pt x="7383" y="14534"/>
                  </a:cubicBezTo>
                  <a:cubicBezTo>
                    <a:pt x="8235" y="15977"/>
                    <a:pt x="7062" y="18198"/>
                    <a:pt x="5586" y="19031"/>
                  </a:cubicBezTo>
                  <a:moveTo>
                    <a:pt x="4521" y="8191"/>
                  </a:moveTo>
                  <a:cubicBezTo>
                    <a:pt x="5264" y="8219"/>
                    <a:pt x="6010" y="8109"/>
                    <a:pt x="6661" y="7853"/>
                  </a:cubicBezTo>
                  <a:lnTo>
                    <a:pt x="7765" y="8638"/>
                  </a:lnTo>
                  <a:cubicBezTo>
                    <a:pt x="7345" y="8950"/>
                    <a:pt x="6901" y="9281"/>
                    <a:pt x="6443" y="9621"/>
                  </a:cubicBezTo>
                  <a:cubicBezTo>
                    <a:pt x="5833" y="9167"/>
                    <a:pt x="5200" y="8696"/>
                    <a:pt x="4521" y="8191"/>
                  </a:cubicBezTo>
                  <a:moveTo>
                    <a:pt x="2501" y="6650"/>
                  </a:moveTo>
                  <a:cubicBezTo>
                    <a:pt x="1026" y="5818"/>
                    <a:pt x="520" y="3973"/>
                    <a:pt x="1372" y="2531"/>
                  </a:cubicBezTo>
                  <a:cubicBezTo>
                    <a:pt x="2224" y="1089"/>
                    <a:pt x="4111" y="595"/>
                    <a:pt x="5586" y="1427"/>
                  </a:cubicBezTo>
                  <a:cubicBezTo>
                    <a:pt x="7062" y="2260"/>
                    <a:pt x="8235" y="4481"/>
                    <a:pt x="7383" y="5924"/>
                  </a:cubicBezTo>
                  <a:cubicBezTo>
                    <a:pt x="6532" y="7366"/>
                    <a:pt x="3977" y="7483"/>
                    <a:pt x="2501" y="6650"/>
                  </a:cubicBezTo>
                  <a:moveTo>
                    <a:pt x="21079" y="3580"/>
                  </a:moveTo>
                  <a:cubicBezTo>
                    <a:pt x="21079" y="2451"/>
                    <a:pt x="19262" y="1535"/>
                    <a:pt x="18203" y="1535"/>
                  </a:cubicBezTo>
                  <a:lnTo>
                    <a:pt x="18122" y="1535"/>
                  </a:lnTo>
                  <a:cubicBezTo>
                    <a:pt x="17404" y="1535"/>
                    <a:pt x="17139" y="1673"/>
                    <a:pt x="8610" y="8009"/>
                  </a:cubicBezTo>
                  <a:lnTo>
                    <a:pt x="7613" y="7300"/>
                  </a:lnTo>
                  <a:cubicBezTo>
                    <a:pt x="7876" y="7084"/>
                    <a:pt x="8104" y="6833"/>
                    <a:pt x="8275" y="6534"/>
                  </a:cubicBezTo>
                  <a:cubicBezTo>
                    <a:pt x="9372" y="4611"/>
                    <a:pt x="7861" y="1650"/>
                    <a:pt x="5960" y="539"/>
                  </a:cubicBezTo>
                  <a:cubicBezTo>
                    <a:pt x="4060" y="-571"/>
                    <a:pt x="1629" y="88"/>
                    <a:pt x="532" y="2011"/>
                  </a:cubicBezTo>
                  <a:cubicBezTo>
                    <a:pt x="-521" y="3857"/>
                    <a:pt x="41" y="6194"/>
                    <a:pt x="1769" y="7361"/>
                  </a:cubicBezTo>
                  <a:cubicBezTo>
                    <a:pt x="3185" y="8414"/>
                    <a:pt x="4458" y="9360"/>
                    <a:pt x="5626" y="10229"/>
                  </a:cubicBezTo>
                  <a:cubicBezTo>
                    <a:pt x="4461" y="11096"/>
                    <a:pt x="3178" y="12049"/>
                    <a:pt x="1769" y="13097"/>
                  </a:cubicBezTo>
                  <a:cubicBezTo>
                    <a:pt x="40" y="14264"/>
                    <a:pt x="-521" y="16601"/>
                    <a:pt x="532" y="18447"/>
                  </a:cubicBezTo>
                  <a:cubicBezTo>
                    <a:pt x="1629" y="20371"/>
                    <a:pt x="4060" y="21029"/>
                    <a:pt x="5960" y="19919"/>
                  </a:cubicBezTo>
                  <a:cubicBezTo>
                    <a:pt x="7861" y="18808"/>
                    <a:pt x="9372" y="15847"/>
                    <a:pt x="8275" y="13924"/>
                  </a:cubicBezTo>
                  <a:cubicBezTo>
                    <a:pt x="8104" y="13625"/>
                    <a:pt x="7876" y="13374"/>
                    <a:pt x="7613" y="13158"/>
                  </a:cubicBezTo>
                  <a:lnTo>
                    <a:pt x="8610" y="12449"/>
                  </a:lnTo>
                  <a:cubicBezTo>
                    <a:pt x="17134" y="18781"/>
                    <a:pt x="17404" y="18923"/>
                    <a:pt x="18122" y="18923"/>
                  </a:cubicBezTo>
                  <a:lnTo>
                    <a:pt x="18203" y="18923"/>
                  </a:lnTo>
                  <a:cubicBezTo>
                    <a:pt x="19262" y="18923"/>
                    <a:pt x="21079" y="18007"/>
                    <a:pt x="21079" y="16878"/>
                  </a:cubicBezTo>
                  <a:lnTo>
                    <a:pt x="11731" y="10229"/>
                  </a:lnTo>
                  <a:cubicBezTo>
                    <a:pt x="11731" y="10229"/>
                    <a:pt x="21079" y="3580"/>
                    <a:pt x="21079" y="3580"/>
                  </a:cubicBezTo>
                  <a:close/>
                  <a:moveTo>
                    <a:pt x="4639" y="16789"/>
                  </a:moveTo>
                  <a:cubicBezTo>
                    <a:pt x="4496" y="16859"/>
                    <a:pt x="4332" y="16897"/>
                    <a:pt x="4162" y="16897"/>
                  </a:cubicBezTo>
                  <a:cubicBezTo>
                    <a:pt x="3846" y="16897"/>
                    <a:pt x="3544" y="16764"/>
                    <a:pt x="3411" y="16567"/>
                  </a:cubicBezTo>
                  <a:cubicBezTo>
                    <a:pt x="3347" y="16471"/>
                    <a:pt x="3351" y="16406"/>
                    <a:pt x="3362" y="16361"/>
                  </a:cubicBezTo>
                  <a:cubicBezTo>
                    <a:pt x="3392" y="16240"/>
                    <a:pt x="3511" y="16117"/>
                    <a:pt x="3682" y="16034"/>
                  </a:cubicBezTo>
                  <a:cubicBezTo>
                    <a:pt x="3891" y="15930"/>
                    <a:pt x="4198" y="15869"/>
                    <a:pt x="4503" y="15869"/>
                  </a:cubicBezTo>
                  <a:cubicBezTo>
                    <a:pt x="4935" y="15869"/>
                    <a:pt x="5194" y="15988"/>
                    <a:pt x="5273" y="16050"/>
                  </a:cubicBezTo>
                  <a:cubicBezTo>
                    <a:pt x="5252" y="16207"/>
                    <a:pt x="5019" y="16601"/>
                    <a:pt x="4639" y="16789"/>
                  </a:cubicBezTo>
                  <a:moveTo>
                    <a:pt x="4503" y="14845"/>
                  </a:moveTo>
                  <a:cubicBezTo>
                    <a:pt x="4065" y="14845"/>
                    <a:pt x="3621" y="14936"/>
                    <a:pt x="3279" y="15105"/>
                  </a:cubicBezTo>
                  <a:cubicBezTo>
                    <a:pt x="2435" y="15522"/>
                    <a:pt x="2147" y="16443"/>
                    <a:pt x="2633" y="17165"/>
                  </a:cubicBezTo>
                  <a:cubicBezTo>
                    <a:pt x="2960" y="17649"/>
                    <a:pt x="3553" y="17919"/>
                    <a:pt x="4162" y="17919"/>
                  </a:cubicBezTo>
                  <a:cubicBezTo>
                    <a:pt x="4461" y="17919"/>
                    <a:pt x="4764" y="17854"/>
                    <a:pt x="5041" y="17717"/>
                  </a:cubicBezTo>
                  <a:cubicBezTo>
                    <a:pt x="5885" y="17300"/>
                    <a:pt x="6555" y="16190"/>
                    <a:pt x="6069" y="15469"/>
                  </a:cubicBezTo>
                  <a:cubicBezTo>
                    <a:pt x="5779" y="15040"/>
                    <a:pt x="5146" y="14845"/>
                    <a:pt x="4503" y="14845"/>
                  </a:cubicBezTo>
                  <a:moveTo>
                    <a:pt x="4503" y="4590"/>
                  </a:moveTo>
                  <a:cubicBezTo>
                    <a:pt x="4198" y="4590"/>
                    <a:pt x="3891" y="4528"/>
                    <a:pt x="3682" y="4425"/>
                  </a:cubicBezTo>
                  <a:cubicBezTo>
                    <a:pt x="3511" y="4341"/>
                    <a:pt x="3392" y="4219"/>
                    <a:pt x="3362" y="4098"/>
                  </a:cubicBezTo>
                  <a:cubicBezTo>
                    <a:pt x="3351" y="4052"/>
                    <a:pt x="3347" y="3987"/>
                    <a:pt x="3411" y="3891"/>
                  </a:cubicBezTo>
                  <a:cubicBezTo>
                    <a:pt x="3544" y="3694"/>
                    <a:pt x="3846" y="3561"/>
                    <a:pt x="4162" y="3561"/>
                  </a:cubicBezTo>
                  <a:cubicBezTo>
                    <a:pt x="4332" y="3561"/>
                    <a:pt x="4496" y="3599"/>
                    <a:pt x="4639" y="3669"/>
                  </a:cubicBezTo>
                  <a:cubicBezTo>
                    <a:pt x="5019" y="3857"/>
                    <a:pt x="5252" y="4252"/>
                    <a:pt x="5273" y="4408"/>
                  </a:cubicBezTo>
                  <a:cubicBezTo>
                    <a:pt x="5194" y="4470"/>
                    <a:pt x="4935" y="4590"/>
                    <a:pt x="4503" y="4590"/>
                  </a:cubicBezTo>
                  <a:moveTo>
                    <a:pt x="5041" y="2741"/>
                  </a:moveTo>
                  <a:cubicBezTo>
                    <a:pt x="4764" y="2604"/>
                    <a:pt x="4461" y="2539"/>
                    <a:pt x="4162" y="2539"/>
                  </a:cubicBezTo>
                  <a:cubicBezTo>
                    <a:pt x="3553" y="2539"/>
                    <a:pt x="2960" y="2809"/>
                    <a:pt x="2633" y="3294"/>
                  </a:cubicBezTo>
                  <a:cubicBezTo>
                    <a:pt x="2147" y="4015"/>
                    <a:pt x="2435" y="4937"/>
                    <a:pt x="3279" y="5353"/>
                  </a:cubicBezTo>
                  <a:cubicBezTo>
                    <a:pt x="3621" y="5522"/>
                    <a:pt x="4065" y="5613"/>
                    <a:pt x="4503" y="5613"/>
                  </a:cubicBezTo>
                  <a:cubicBezTo>
                    <a:pt x="5146" y="5613"/>
                    <a:pt x="5779" y="5418"/>
                    <a:pt x="6069" y="4990"/>
                  </a:cubicBezTo>
                  <a:cubicBezTo>
                    <a:pt x="6555" y="4268"/>
                    <a:pt x="5885" y="3158"/>
                    <a:pt x="5041" y="2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787">
              <a:extLst>
                <a:ext uri="{FF2B5EF4-FFF2-40B4-BE49-F238E27FC236}">
                  <a16:creationId xmlns:a16="http://schemas.microsoft.com/office/drawing/2014/main" id="{F5650743-773C-42E5-9FAC-370826FBC1E1}"/>
                </a:ext>
              </a:extLst>
            </p:cNvPr>
            <p:cNvSpPr/>
            <p:nvPr/>
          </p:nvSpPr>
          <p:spPr bwMode="gray">
            <a:xfrm>
              <a:off x="11126368" y="5596485"/>
              <a:ext cx="288814" cy="2890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6" h="21600" extrusionOk="0">
                  <a:moveTo>
                    <a:pt x="11502" y="10309"/>
                  </a:moveTo>
                  <a:cubicBezTo>
                    <a:pt x="11767" y="10309"/>
                    <a:pt x="11981" y="10090"/>
                    <a:pt x="11981" y="9818"/>
                  </a:cubicBezTo>
                  <a:cubicBezTo>
                    <a:pt x="11981" y="9547"/>
                    <a:pt x="11767" y="9327"/>
                    <a:pt x="11502" y="9327"/>
                  </a:cubicBezTo>
                  <a:cubicBezTo>
                    <a:pt x="11237" y="9327"/>
                    <a:pt x="11022" y="9547"/>
                    <a:pt x="11022" y="9818"/>
                  </a:cubicBezTo>
                  <a:cubicBezTo>
                    <a:pt x="11022" y="10090"/>
                    <a:pt x="11237" y="10309"/>
                    <a:pt x="11502" y="10309"/>
                  </a:cubicBezTo>
                  <a:moveTo>
                    <a:pt x="15818" y="4909"/>
                  </a:moveTo>
                  <a:cubicBezTo>
                    <a:pt x="16083" y="4909"/>
                    <a:pt x="16297" y="5129"/>
                    <a:pt x="16297" y="5400"/>
                  </a:cubicBezTo>
                  <a:cubicBezTo>
                    <a:pt x="16297" y="5672"/>
                    <a:pt x="16083" y="5891"/>
                    <a:pt x="15818" y="5891"/>
                  </a:cubicBezTo>
                  <a:cubicBezTo>
                    <a:pt x="15553" y="5891"/>
                    <a:pt x="15338" y="5672"/>
                    <a:pt x="15338" y="5400"/>
                  </a:cubicBezTo>
                  <a:cubicBezTo>
                    <a:pt x="15338" y="5129"/>
                    <a:pt x="15553" y="4909"/>
                    <a:pt x="15818" y="4909"/>
                  </a:cubicBezTo>
                  <a:moveTo>
                    <a:pt x="15818" y="6873"/>
                  </a:moveTo>
                  <a:cubicBezTo>
                    <a:pt x="16612" y="6873"/>
                    <a:pt x="17256" y="6213"/>
                    <a:pt x="17256" y="5400"/>
                  </a:cubicBezTo>
                  <a:cubicBezTo>
                    <a:pt x="17256" y="4587"/>
                    <a:pt x="16612" y="3928"/>
                    <a:pt x="15818" y="3928"/>
                  </a:cubicBezTo>
                  <a:cubicBezTo>
                    <a:pt x="15023" y="3928"/>
                    <a:pt x="14379" y="4587"/>
                    <a:pt x="14379" y="5400"/>
                  </a:cubicBezTo>
                  <a:cubicBezTo>
                    <a:pt x="14379" y="6213"/>
                    <a:pt x="15023" y="6873"/>
                    <a:pt x="15818" y="6873"/>
                  </a:cubicBezTo>
                  <a:moveTo>
                    <a:pt x="12941" y="11782"/>
                  </a:moveTo>
                  <a:cubicBezTo>
                    <a:pt x="13206" y="11782"/>
                    <a:pt x="13420" y="11562"/>
                    <a:pt x="13420" y="11291"/>
                  </a:cubicBezTo>
                  <a:cubicBezTo>
                    <a:pt x="13420" y="11020"/>
                    <a:pt x="13206" y="10800"/>
                    <a:pt x="12941" y="10800"/>
                  </a:cubicBezTo>
                  <a:cubicBezTo>
                    <a:pt x="12675" y="10800"/>
                    <a:pt x="12461" y="11020"/>
                    <a:pt x="12461" y="11291"/>
                  </a:cubicBezTo>
                  <a:cubicBezTo>
                    <a:pt x="12461" y="11562"/>
                    <a:pt x="12675" y="11782"/>
                    <a:pt x="12941" y="11782"/>
                  </a:cubicBezTo>
                  <a:moveTo>
                    <a:pt x="10063" y="7855"/>
                  </a:moveTo>
                  <a:cubicBezTo>
                    <a:pt x="9798" y="7855"/>
                    <a:pt x="9584" y="8074"/>
                    <a:pt x="9584" y="8346"/>
                  </a:cubicBezTo>
                  <a:cubicBezTo>
                    <a:pt x="9584" y="8617"/>
                    <a:pt x="9798" y="8836"/>
                    <a:pt x="10063" y="8836"/>
                  </a:cubicBezTo>
                  <a:cubicBezTo>
                    <a:pt x="10328" y="8836"/>
                    <a:pt x="10543" y="8617"/>
                    <a:pt x="10543" y="8346"/>
                  </a:cubicBezTo>
                  <a:cubicBezTo>
                    <a:pt x="10543" y="8074"/>
                    <a:pt x="10328" y="7855"/>
                    <a:pt x="10063" y="7855"/>
                  </a:cubicBezTo>
                  <a:moveTo>
                    <a:pt x="1718" y="19842"/>
                  </a:moveTo>
                  <a:lnTo>
                    <a:pt x="3451" y="15392"/>
                  </a:lnTo>
                  <a:cubicBezTo>
                    <a:pt x="3684" y="15834"/>
                    <a:pt x="3973" y="16253"/>
                    <a:pt x="4312" y="16642"/>
                  </a:cubicBezTo>
                  <a:cubicBezTo>
                    <a:pt x="4824" y="17230"/>
                    <a:pt x="5418" y="17711"/>
                    <a:pt x="6061" y="18068"/>
                  </a:cubicBezTo>
                  <a:cubicBezTo>
                    <a:pt x="6061" y="18068"/>
                    <a:pt x="1718" y="19842"/>
                    <a:pt x="1718" y="19842"/>
                  </a:cubicBezTo>
                  <a:close/>
                  <a:moveTo>
                    <a:pt x="3717" y="12060"/>
                  </a:moveTo>
                  <a:lnTo>
                    <a:pt x="0" y="21600"/>
                  </a:lnTo>
                  <a:lnTo>
                    <a:pt x="9319" y="17795"/>
                  </a:lnTo>
                  <a:cubicBezTo>
                    <a:pt x="9153" y="17815"/>
                    <a:pt x="8987" y="17824"/>
                    <a:pt x="8822" y="17824"/>
                  </a:cubicBezTo>
                  <a:cubicBezTo>
                    <a:pt x="5971" y="17824"/>
                    <a:pt x="3389" y="15002"/>
                    <a:pt x="3717" y="12060"/>
                  </a:cubicBezTo>
                  <a:moveTo>
                    <a:pt x="16115" y="10657"/>
                  </a:moveTo>
                  <a:cubicBezTo>
                    <a:pt x="15925" y="10851"/>
                    <a:pt x="15627" y="11171"/>
                    <a:pt x="15280" y="11542"/>
                  </a:cubicBezTo>
                  <a:cubicBezTo>
                    <a:pt x="14662" y="12204"/>
                    <a:pt x="13712" y="13221"/>
                    <a:pt x="13147" y="13753"/>
                  </a:cubicBezTo>
                  <a:lnTo>
                    <a:pt x="7665" y="8141"/>
                  </a:lnTo>
                  <a:cubicBezTo>
                    <a:pt x="8185" y="7563"/>
                    <a:pt x="9179" y="6590"/>
                    <a:pt x="9825" y="5958"/>
                  </a:cubicBezTo>
                  <a:cubicBezTo>
                    <a:pt x="10188" y="5603"/>
                    <a:pt x="10500" y="5298"/>
                    <a:pt x="10690" y="5103"/>
                  </a:cubicBezTo>
                  <a:cubicBezTo>
                    <a:pt x="13284" y="2447"/>
                    <a:pt x="18271" y="993"/>
                    <a:pt x="20136" y="982"/>
                  </a:cubicBezTo>
                  <a:cubicBezTo>
                    <a:pt x="20132" y="2572"/>
                    <a:pt x="18824" y="7884"/>
                    <a:pt x="16115" y="10657"/>
                  </a:cubicBezTo>
                  <a:moveTo>
                    <a:pt x="12477" y="14563"/>
                  </a:moveTo>
                  <a:cubicBezTo>
                    <a:pt x="12127" y="15873"/>
                    <a:pt x="11665" y="17072"/>
                    <a:pt x="11154" y="18035"/>
                  </a:cubicBezTo>
                  <a:cubicBezTo>
                    <a:pt x="10943" y="17454"/>
                    <a:pt x="10642" y="16798"/>
                    <a:pt x="10214" y="16110"/>
                  </a:cubicBezTo>
                  <a:cubicBezTo>
                    <a:pt x="10035" y="15823"/>
                    <a:pt x="9728" y="15656"/>
                    <a:pt x="9405" y="15656"/>
                  </a:cubicBezTo>
                  <a:cubicBezTo>
                    <a:pt x="9329" y="15656"/>
                    <a:pt x="9252" y="15665"/>
                    <a:pt x="9176" y="15684"/>
                  </a:cubicBezTo>
                  <a:cubicBezTo>
                    <a:pt x="8990" y="15731"/>
                    <a:pt x="8799" y="15755"/>
                    <a:pt x="8610" y="15755"/>
                  </a:cubicBezTo>
                  <a:cubicBezTo>
                    <a:pt x="7905" y="15755"/>
                    <a:pt x="7217" y="15432"/>
                    <a:pt x="6621" y="14822"/>
                  </a:cubicBezTo>
                  <a:cubicBezTo>
                    <a:pt x="5861" y="14044"/>
                    <a:pt x="5561" y="13114"/>
                    <a:pt x="5779" y="12206"/>
                  </a:cubicBezTo>
                  <a:cubicBezTo>
                    <a:pt x="5877" y="11797"/>
                    <a:pt x="5709" y="11370"/>
                    <a:pt x="5363" y="11144"/>
                  </a:cubicBezTo>
                  <a:cubicBezTo>
                    <a:pt x="4690" y="10706"/>
                    <a:pt x="4050" y="10398"/>
                    <a:pt x="3482" y="10183"/>
                  </a:cubicBezTo>
                  <a:cubicBezTo>
                    <a:pt x="4423" y="9658"/>
                    <a:pt x="5594" y="9186"/>
                    <a:pt x="6874" y="8827"/>
                  </a:cubicBezTo>
                  <a:cubicBezTo>
                    <a:pt x="6900" y="8820"/>
                    <a:pt x="6921" y="8803"/>
                    <a:pt x="6946" y="8793"/>
                  </a:cubicBezTo>
                  <a:lnTo>
                    <a:pt x="12510" y="14490"/>
                  </a:lnTo>
                  <a:cubicBezTo>
                    <a:pt x="12501" y="14515"/>
                    <a:pt x="12484" y="14536"/>
                    <a:pt x="12477" y="14563"/>
                  </a:cubicBezTo>
                  <a:moveTo>
                    <a:pt x="20922" y="167"/>
                  </a:moveTo>
                  <a:cubicBezTo>
                    <a:pt x="20813" y="55"/>
                    <a:pt x="20545" y="0"/>
                    <a:pt x="20157" y="0"/>
                  </a:cubicBezTo>
                  <a:cubicBezTo>
                    <a:pt x="18131" y="0"/>
                    <a:pt x="12842" y="1511"/>
                    <a:pt x="10012" y="4409"/>
                  </a:cubicBezTo>
                  <a:cubicBezTo>
                    <a:pt x="9345" y="5092"/>
                    <a:pt x="7134" y="7175"/>
                    <a:pt x="6621" y="7880"/>
                  </a:cubicBezTo>
                  <a:cubicBezTo>
                    <a:pt x="4961" y="8346"/>
                    <a:pt x="2544" y="9277"/>
                    <a:pt x="1196" y="10657"/>
                  </a:cubicBezTo>
                  <a:cubicBezTo>
                    <a:pt x="1196" y="10657"/>
                    <a:pt x="2841" y="10663"/>
                    <a:pt x="4848" y="11972"/>
                  </a:cubicBezTo>
                  <a:cubicBezTo>
                    <a:pt x="4556" y="13190"/>
                    <a:pt x="4926" y="14475"/>
                    <a:pt x="5943" y="15516"/>
                  </a:cubicBezTo>
                  <a:cubicBezTo>
                    <a:pt x="6735" y="16327"/>
                    <a:pt x="7672" y="16737"/>
                    <a:pt x="8610" y="16737"/>
                  </a:cubicBezTo>
                  <a:cubicBezTo>
                    <a:pt x="8876" y="16737"/>
                    <a:pt x="9142" y="16704"/>
                    <a:pt x="9405" y="16637"/>
                  </a:cubicBezTo>
                  <a:cubicBezTo>
                    <a:pt x="10683" y="18692"/>
                    <a:pt x="10690" y="20376"/>
                    <a:pt x="10690" y="20376"/>
                  </a:cubicBezTo>
                  <a:cubicBezTo>
                    <a:pt x="12038" y="18996"/>
                    <a:pt x="12948" y="16521"/>
                    <a:pt x="13402" y="14822"/>
                  </a:cubicBezTo>
                  <a:cubicBezTo>
                    <a:pt x="14091" y="14297"/>
                    <a:pt x="16126" y="12034"/>
                    <a:pt x="16793" y="11351"/>
                  </a:cubicBezTo>
                  <a:cubicBezTo>
                    <a:pt x="20164" y="7900"/>
                    <a:pt x="21600" y="861"/>
                    <a:pt x="20922" y="16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A94B032-2E16-4CAA-8E4D-56ACB992935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751411428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B128AE1-1137-4A12-8461-9792A2802B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3234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B128AE1-1137-4A12-8461-9792A2802B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4F6583-7EBC-4A76-AB1F-119505AC9BC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3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357BD0-5A99-4929-8210-05D1632972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-Commerce &amp; Web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13D2B68-557C-4B7B-9638-E3B1B8F55B4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B66C76B-65A7-4FD9-9446-F7F1FBF444CA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790FC60-F1A5-425B-81D5-D161492B73C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1</a:t>
            </a:fld>
            <a:endParaRPr lang="de-DE" dirty="0"/>
          </a:p>
        </p:txBody>
      </p:sp>
      <p:sp>
        <p:nvSpPr>
          <p:cNvPr id="16" name="Shape 2790">
            <a:extLst>
              <a:ext uri="{FF2B5EF4-FFF2-40B4-BE49-F238E27FC236}">
                <a16:creationId xmlns:a16="http://schemas.microsoft.com/office/drawing/2014/main" id="{18C42729-D208-48FE-8CA9-64B8C1935583}"/>
              </a:ext>
            </a:extLst>
          </p:cNvPr>
          <p:cNvSpPr/>
          <p:nvPr/>
        </p:nvSpPr>
        <p:spPr bwMode="gray">
          <a:xfrm>
            <a:off x="617539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17550"/>
                </a:moveTo>
                <a:lnTo>
                  <a:pt x="10309" y="17550"/>
                </a:lnTo>
                <a:cubicBezTo>
                  <a:pt x="10580" y="17550"/>
                  <a:pt x="10800" y="17248"/>
                  <a:pt x="10800" y="16875"/>
                </a:cubicBezTo>
                <a:cubicBezTo>
                  <a:pt x="10800" y="16503"/>
                  <a:pt x="10580" y="16200"/>
                  <a:pt x="10309" y="16200"/>
                </a:cubicBezTo>
                <a:lnTo>
                  <a:pt x="3436" y="16200"/>
                </a:lnTo>
                <a:cubicBezTo>
                  <a:pt x="3166" y="16200"/>
                  <a:pt x="2945" y="16503"/>
                  <a:pt x="2945" y="16875"/>
                </a:cubicBezTo>
                <a:cubicBezTo>
                  <a:pt x="2945" y="17248"/>
                  <a:pt x="3166" y="17550"/>
                  <a:pt x="3436" y="17550"/>
                </a:cubicBezTo>
                <a:moveTo>
                  <a:pt x="3436" y="14850"/>
                </a:moveTo>
                <a:lnTo>
                  <a:pt x="12273" y="14850"/>
                </a:lnTo>
                <a:cubicBezTo>
                  <a:pt x="12544" y="14850"/>
                  <a:pt x="12764" y="14548"/>
                  <a:pt x="12764" y="14175"/>
                </a:cubicBezTo>
                <a:cubicBezTo>
                  <a:pt x="12764" y="13803"/>
                  <a:pt x="12544" y="13500"/>
                  <a:pt x="12273" y="13500"/>
                </a:cubicBezTo>
                <a:lnTo>
                  <a:pt x="3436" y="13500"/>
                </a:lnTo>
                <a:cubicBezTo>
                  <a:pt x="3166" y="13500"/>
                  <a:pt x="2945" y="13803"/>
                  <a:pt x="2945" y="14175"/>
                </a:cubicBezTo>
                <a:cubicBezTo>
                  <a:pt x="2945" y="14548"/>
                  <a:pt x="3166" y="14850"/>
                  <a:pt x="3436" y="14850"/>
                </a:cubicBezTo>
                <a:moveTo>
                  <a:pt x="20618" y="4050"/>
                </a:moveTo>
                <a:lnTo>
                  <a:pt x="982" y="40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4050"/>
                  <a:pt x="20618" y="4050"/>
                </a:cubicBezTo>
                <a:close/>
                <a:moveTo>
                  <a:pt x="20618" y="20250"/>
                </a:moveTo>
                <a:lnTo>
                  <a:pt x="982" y="20250"/>
                </a:lnTo>
                <a:lnTo>
                  <a:pt x="982" y="9450"/>
                </a:lnTo>
                <a:lnTo>
                  <a:pt x="20618" y="9450"/>
                </a:lnTo>
                <a:cubicBezTo>
                  <a:pt x="20618" y="94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16200" y="17550"/>
                </a:moveTo>
                <a:lnTo>
                  <a:pt x="18164" y="17550"/>
                </a:lnTo>
                <a:cubicBezTo>
                  <a:pt x="18434" y="17550"/>
                  <a:pt x="18655" y="17248"/>
                  <a:pt x="18655" y="16875"/>
                </a:cubicBezTo>
                <a:lnTo>
                  <a:pt x="18655" y="14175"/>
                </a:lnTo>
                <a:cubicBezTo>
                  <a:pt x="18655" y="13803"/>
                  <a:pt x="18434" y="13500"/>
                  <a:pt x="18164" y="13500"/>
                </a:cubicBezTo>
                <a:lnTo>
                  <a:pt x="16200" y="13500"/>
                </a:lnTo>
                <a:cubicBezTo>
                  <a:pt x="15929" y="13500"/>
                  <a:pt x="15709" y="13803"/>
                  <a:pt x="15709" y="14175"/>
                </a:cubicBezTo>
                <a:lnTo>
                  <a:pt x="15709" y="16875"/>
                </a:lnTo>
                <a:cubicBezTo>
                  <a:pt x="15709" y="17248"/>
                  <a:pt x="15929" y="17550"/>
                  <a:pt x="16200" y="175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2791">
            <a:extLst>
              <a:ext uri="{FF2B5EF4-FFF2-40B4-BE49-F238E27FC236}">
                <a16:creationId xmlns:a16="http://schemas.microsoft.com/office/drawing/2014/main" id="{015D5892-B803-4D77-B620-42220236C6D5}"/>
              </a:ext>
            </a:extLst>
          </p:cNvPr>
          <p:cNvSpPr/>
          <p:nvPr/>
        </p:nvSpPr>
        <p:spPr bwMode="gray">
          <a:xfrm>
            <a:off x="1171851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538"/>
                  <a:pt x="3927" y="1200"/>
                </a:cubicBezTo>
                <a:lnTo>
                  <a:pt x="3927" y="3000"/>
                </a:lnTo>
                <a:cubicBezTo>
                  <a:pt x="3927" y="3332"/>
                  <a:pt x="4147" y="3600"/>
                  <a:pt x="4418" y="3600"/>
                </a:cubicBezTo>
                <a:cubicBezTo>
                  <a:pt x="4689" y="3600"/>
                  <a:pt x="4909" y="3332"/>
                  <a:pt x="4909" y="3000"/>
                </a:cubicBezTo>
                <a:lnTo>
                  <a:pt x="4909" y="1200"/>
                </a:lnTo>
                <a:lnTo>
                  <a:pt x="20618" y="1200"/>
                </a:lnTo>
                <a:lnTo>
                  <a:pt x="20618" y="15600"/>
                </a:lnTo>
                <a:lnTo>
                  <a:pt x="19145" y="15600"/>
                </a:lnTo>
                <a:cubicBezTo>
                  <a:pt x="18875" y="15600"/>
                  <a:pt x="18655" y="15869"/>
                  <a:pt x="18655" y="16200"/>
                </a:cubicBezTo>
                <a:cubicBezTo>
                  <a:pt x="18655" y="16532"/>
                  <a:pt x="18875" y="16800"/>
                  <a:pt x="19145" y="16800"/>
                </a:cubicBezTo>
                <a:lnTo>
                  <a:pt x="20618" y="16800"/>
                </a:lnTo>
                <a:cubicBezTo>
                  <a:pt x="21160" y="16800"/>
                  <a:pt x="21600" y="16262"/>
                  <a:pt x="21600" y="15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6691" y="8400"/>
                </a:moveTo>
                <a:lnTo>
                  <a:pt x="982" y="8400"/>
                </a:lnTo>
                <a:lnTo>
                  <a:pt x="982" y="6000"/>
                </a:lnTo>
                <a:lnTo>
                  <a:pt x="16691" y="6000"/>
                </a:lnTo>
                <a:cubicBezTo>
                  <a:pt x="16691" y="6000"/>
                  <a:pt x="16691" y="8400"/>
                  <a:pt x="16691" y="8400"/>
                </a:cubicBezTo>
                <a:close/>
                <a:moveTo>
                  <a:pt x="16691" y="20400"/>
                </a:moveTo>
                <a:lnTo>
                  <a:pt x="982" y="20400"/>
                </a:lnTo>
                <a:lnTo>
                  <a:pt x="982" y="12000"/>
                </a:lnTo>
                <a:lnTo>
                  <a:pt x="16691" y="12000"/>
                </a:lnTo>
                <a:cubicBezTo>
                  <a:pt x="16691" y="12000"/>
                  <a:pt x="16691" y="20400"/>
                  <a:pt x="16691" y="20400"/>
                </a:cubicBezTo>
                <a:close/>
                <a:moveTo>
                  <a:pt x="16691" y="4800"/>
                </a:moveTo>
                <a:lnTo>
                  <a:pt x="982" y="4800"/>
                </a:lnTo>
                <a:cubicBezTo>
                  <a:pt x="440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062"/>
                  <a:pt x="17673" y="20400"/>
                </a:cubicBezTo>
                <a:lnTo>
                  <a:pt x="17673" y="6000"/>
                </a:lnTo>
                <a:cubicBezTo>
                  <a:pt x="17673" y="5338"/>
                  <a:pt x="17233" y="4800"/>
                  <a:pt x="16691" y="4800"/>
                </a:cubicBezTo>
                <a:moveTo>
                  <a:pt x="3436" y="18000"/>
                </a:moveTo>
                <a:lnTo>
                  <a:pt x="7364" y="18000"/>
                </a:lnTo>
                <a:cubicBezTo>
                  <a:pt x="7634" y="18000"/>
                  <a:pt x="7855" y="17732"/>
                  <a:pt x="7855" y="17400"/>
                </a:cubicBezTo>
                <a:cubicBezTo>
                  <a:pt x="7855" y="17069"/>
                  <a:pt x="7634" y="16800"/>
                  <a:pt x="7364" y="16800"/>
                </a:cubicBezTo>
                <a:lnTo>
                  <a:pt x="3436" y="16800"/>
                </a:lnTo>
                <a:cubicBezTo>
                  <a:pt x="3166" y="16800"/>
                  <a:pt x="2945" y="17069"/>
                  <a:pt x="2945" y="17400"/>
                </a:cubicBezTo>
                <a:cubicBezTo>
                  <a:pt x="2945" y="17732"/>
                  <a:pt x="3166" y="18000"/>
                  <a:pt x="3436" y="18000"/>
                </a:cubicBezTo>
                <a:moveTo>
                  <a:pt x="3436" y="15600"/>
                </a:moveTo>
                <a:lnTo>
                  <a:pt x="9327" y="15600"/>
                </a:lnTo>
                <a:cubicBezTo>
                  <a:pt x="9598" y="15600"/>
                  <a:pt x="9818" y="15332"/>
                  <a:pt x="9818" y="15000"/>
                </a:cubicBezTo>
                <a:cubicBezTo>
                  <a:pt x="9818" y="14668"/>
                  <a:pt x="9598" y="14400"/>
                  <a:pt x="9327" y="14400"/>
                </a:cubicBezTo>
                <a:lnTo>
                  <a:pt x="3436" y="14400"/>
                </a:lnTo>
                <a:cubicBezTo>
                  <a:pt x="3166" y="14400"/>
                  <a:pt x="2945" y="14668"/>
                  <a:pt x="2945" y="15000"/>
                </a:cubicBezTo>
                <a:cubicBezTo>
                  <a:pt x="2945" y="15332"/>
                  <a:pt x="3166" y="15600"/>
                  <a:pt x="3436" y="15600"/>
                </a:cubicBezTo>
                <a:moveTo>
                  <a:pt x="12273" y="18000"/>
                </a:moveTo>
                <a:lnTo>
                  <a:pt x="14236" y="18000"/>
                </a:lnTo>
                <a:cubicBezTo>
                  <a:pt x="14507" y="18000"/>
                  <a:pt x="14727" y="17732"/>
                  <a:pt x="14727" y="17400"/>
                </a:cubicBezTo>
                <a:lnTo>
                  <a:pt x="14727" y="15000"/>
                </a:lnTo>
                <a:cubicBezTo>
                  <a:pt x="14727" y="14668"/>
                  <a:pt x="14507" y="14400"/>
                  <a:pt x="14236" y="14400"/>
                </a:cubicBezTo>
                <a:lnTo>
                  <a:pt x="12273" y="14400"/>
                </a:lnTo>
                <a:cubicBezTo>
                  <a:pt x="12002" y="14400"/>
                  <a:pt x="11782" y="14668"/>
                  <a:pt x="11782" y="15000"/>
                </a:cubicBezTo>
                <a:lnTo>
                  <a:pt x="11782" y="17400"/>
                </a:lnTo>
                <a:cubicBezTo>
                  <a:pt x="11782" y="17732"/>
                  <a:pt x="12002" y="18000"/>
                  <a:pt x="12273" y="18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2792">
            <a:extLst>
              <a:ext uri="{FF2B5EF4-FFF2-40B4-BE49-F238E27FC236}">
                <a16:creationId xmlns:a16="http://schemas.microsoft.com/office/drawing/2014/main" id="{3E21FFF6-092B-4D40-B402-2886F4D06CDD}"/>
              </a:ext>
            </a:extLst>
          </p:cNvPr>
          <p:cNvSpPr/>
          <p:nvPr/>
        </p:nvSpPr>
        <p:spPr bwMode="gray">
          <a:xfrm>
            <a:off x="1726163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949" y="13580"/>
                </a:moveTo>
                <a:cubicBezTo>
                  <a:pt x="11701" y="13784"/>
                  <a:pt x="11474" y="13901"/>
                  <a:pt x="11085" y="13931"/>
                </a:cubicBezTo>
                <a:lnTo>
                  <a:pt x="11085" y="11339"/>
                </a:lnTo>
                <a:cubicBezTo>
                  <a:pt x="11251" y="11383"/>
                  <a:pt x="11321" y="11435"/>
                  <a:pt x="11479" y="11494"/>
                </a:cubicBezTo>
                <a:cubicBezTo>
                  <a:pt x="11638" y="11554"/>
                  <a:pt x="11780" y="11632"/>
                  <a:pt x="11906" y="11728"/>
                </a:cubicBezTo>
                <a:cubicBezTo>
                  <a:pt x="12032" y="11824"/>
                  <a:pt x="12133" y="11943"/>
                  <a:pt x="12208" y="12084"/>
                </a:cubicBezTo>
                <a:cubicBezTo>
                  <a:pt x="12284" y="12225"/>
                  <a:pt x="12322" y="12399"/>
                  <a:pt x="12322" y="12607"/>
                </a:cubicBezTo>
                <a:cubicBezTo>
                  <a:pt x="12322" y="13052"/>
                  <a:pt x="12198" y="13376"/>
                  <a:pt x="11949" y="13580"/>
                </a:cubicBezTo>
                <a:moveTo>
                  <a:pt x="10437" y="9837"/>
                </a:moveTo>
                <a:cubicBezTo>
                  <a:pt x="10286" y="9800"/>
                  <a:pt x="10228" y="9753"/>
                  <a:pt x="10081" y="9698"/>
                </a:cubicBezTo>
                <a:cubicBezTo>
                  <a:pt x="9933" y="9642"/>
                  <a:pt x="9803" y="9570"/>
                  <a:pt x="9692" y="9481"/>
                </a:cubicBezTo>
                <a:cubicBezTo>
                  <a:pt x="9581" y="9392"/>
                  <a:pt x="9489" y="9285"/>
                  <a:pt x="9417" y="9159"/>
                </a:cubicBezTo>
                <a:cubicBezTo>
                  <a:pt x="9345" y="9032"/>
                  <a:pt x="9309" y="8880"/>
                  <a:pt x="9309" y="8702"/>
                </a:cubicBezTo>
                <a:cubicBezTo>
                  <a:pt x="9309" y="8309"/>
                  <a:pt x="9415" y="8030"/>
                  <a:pt x="9627" y="7862"/>
                </a:cubicBezTo>
                <a:cubicBezTo>
                  <a:pt x="9839" y="7696"/>
                  <a:pt x="10048" y="7612"/>
                  <a:pt x="10437" y="7612"/>
                </a:cubicBezTo>
                <a:cubicBezTo>
                  <a:pt x="10437" y="7612"/>
                  <a:pt x="10437" y="9837"/>
                  <a:pt x="10437" y="9837"/>
                </a:cubicBezTo>
                <a:close/>
                <a:moveTo>
                  <a:pt x="12765" y="10727"/>
                </a:moveTo>
                <a:cubicBezTo>
                  <a:pt x="12527" y="10542"/>
                  <a:pt x="12253" y="10390"/>
                  <a:pt x="11944" y="10271"/>
                </a:cubicBezTo>
                <a:cubicBezTo>
                  <a:pt x="11634" y="10153"/>
                  <a:pt x="11410" y="10049"/>
                  <a:pt x="11085" y="9959"/>
                </a:cubicBezTo>
                <a:lnTo>
                  <a:pt x="11085" y="7612"/>
                </a:lnTo>
                <a:cubicBezTo>
                  <a:pt x="11474" y="7612"/>
                  <a:pt x="11665" y="7713"/>
                  <a:pt x="11841" y="7913"/>
                </a:cubicBezTo>
                <a:cubicBezTo>
                  <a:pt x="12017" y="8113"/>
                  <a:pt x="12113" y="8402"/>
                  <a:pt x="12127" y="8781"/>
                </a:cubicBezTo>
                <a:lnTo>
                  <a:pt x="13359" y="8781"/>
                </a:lnTo>
                <a:cubicBezTo>
                  <a:pt x="13359" y="8417"/>
                  <a:pt x="13295" y="8098"/>
                  <a:pt x="13170" y="7824"/>
                </a:cubicBezTo>
                <a:cubicBezTo>
                  <a:pt x="13043" y="7550"/>
                  <a:pt x="12875" y="7323"/>
                  <a:pt x="12662" y="7145"/>
                </a:cubicBezTo>
                <a:cubicBezTo>
                  <a:pt x="12449" y="6967"/>
                  <a:pt x="12200" y="6833"/>
                  <a:pt x="11911" y="6744"/>
                </a:cubicBezTo>
                <a:cubicBezTo>
                  <a:pt x="11623" y="6656"/>
                  <a:pt x="11410" y="6611"/>
                  <a:pt x="11085" y="6611"/>
                </a:cubicBezTo>
                <a:lnTo>
                  <a:pt x="11085" y="5881"/>
                </a:lnTo>
                <a:lnTo>
                  <a:pt x="10437" y="5881"/>
                </a:lnTo>
                <a:lnTo>
                  <a:pt x="10437" y="6611"/>
                </a:lnTo>
                <a:cubicBezTo>
                  <a:pt x="10113" y="6611"/>
                  <a:pt x="9895" y="6659"/>
                  <a:pt x="9600" y="6756"/>
                </a:cubicBezTo>
                <a:cubicBezTo>
                  <a:pt x="9305" y="6852"/>
                  <a:pt x="9044" y="6991"/>
                  <a:pt x="8817" y="7173"/>
                </a:cubicBezTo>
                <a:cubicBezTo>
                  <a:pt x="8590" y="7355"/>
                  <a:pt x="8410" y="7581"/>
                  <a:pt x="8277" y="7852"/>
                </a:cubicBezTo>
                <a:cubicBezTo>
                  <a:pt x="8144" y="8122"/>
                  <a:pt x="8077" y="8436"/>
                  <a:pt x="8077" y="8791"/>
                </a:cubicBezTo>
                <a:cubicBezTo>
                  <a:pt x="8077" y="9199"/>
                  <a:pt x="8150" y="9541"/>
                  <a:pt x="8293" y="9815"/>
                </a:cubicBezTo>
                <a:cubicBezTo>
                  <a:pt x="8438" y="10089"/>
                  <a:pt x="8626" y="10317"/>
                  <a:pt x="8860" y="10499"/>
                </a:cubicBezTo>
                <a:cubicBezTo>
                  <a:pt x="9094" y="10681"/>
                  <a:pt x="9357" y="10829"/>
                  <a:pt x="9649" y="10944"/>
                </a:cubicBezTo>
                <a:cubicBezTo>
                  <a:pt x="9940" y="11059"/>
                  <a:pt x="10142" y="11157"/>
                  <a:pt x="10437" y="11239"/>
                </a:cubicBezTo>
                <a:lnTo>
                  <a:pt x="10437" y="13931"/>
                </a:lnTo>
                <a:cubicBezTo>
                  <a:pt x="9940" y="13916"/>
                  <a:pt x="9676" y="13768"/>
                  <a:pt x="9460" y="13486"/>
                </a:cubicBezTo>
                <a:cubicBezTo>
                  <a:pt x="9244" y="13204"/>
                  <a:pt x="9139" y="12818"/>
                  <a:pt x="9147" y="12329"/>
                </a:cubicBezTo>
                <a:lnTo>
                  <a:pt x="7915" y="12329"/>
                </a:lnTo>
                <a:cubicBezTo>
                  <a:pt x="7908" y="12744"/>
                  <a:pt x="7967" y="13111"/>
                  <a:pt x="8094" y="13430"/>
                </a:cubicBezTo>
                <a:cubicBezTo>
                  <a:pt x="8220" y="13749"/>
                  <a:pt x="8397" y="14018"/>
                  <a:pt x="8628" y="14236"/>
                </a:cubicBezTo>
                <a:cubicBezTo>
                  <a:pt x="8858" y="14455"/>
                  <a:pt x="9136" y="14624"/>
                  <a:pt x="9460" y="14743"/>
                </a:cubicBezTo>
                <a:cubicBezTo>
                  <a:pt x="9784" y="14861"/>
                  <a:pt x="10048" y="14924"/>
                  <a:pt x="10437" y="14932"/>
                </a:cubicBezTo>
                <a:lnTo>
                  <a:pt x="10437" y="15692"/>
                </a:lnTo>
                <a:lnTo>
                  <a:pt x="11085" y="15692"/>
                </a:lnTo>
                <a:lnTo>
                  <a:pt x="11085" y="14932"/>
                </a:lnTo>
                <a:cubicBezTo>
                  <a:pt x="11446" y="14917"/>
                  <a:pt x="11688" y="14856"/>
                  <a:pt x="11998" y="14748"/>
                </a:cubicBezTo>
                <a:cubicBezTo>
                  <a:pt x="12307" y="14641"/>
                  <a:pt x="12578" y="14485"/>
                  <a:pt x="12808" y="14281"/>
                </a:cubicBezTo>
                <a:cubicBezTo>
                  <a:pt x="13038" y="14077"/>
                  <a:pt x="13220" y="13821"/>
                  <a:pt x="13353" y="13513"/>
                </a:cubicBezTo>
                <a:cubicBezTo>
                  <a:pt x="13486" y="13206"/>
                  <a:pt x="13553" y="12844"/>
                  <a:pt x="13553" y="12429"/>
                </a:cubicBezTo>
                <a:cubicBezTo>
                  <a:pt x="13553" y="12028"/>
                  <a:pt x="13481" y="11691"/>
                  <a:pt x="13337" y="11417"/>
                </a:cubicBezTo>
                <a:cubicBezTo>
                  <a:pt x="13193" y="11142"/>
                  <a:pt x="13002" y="10912"/>
                  <a:pt x="12765" y="10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2793">
            <a:extLst>
              <a:ext uri="{FF2B5EF4-FFF2-40B4-BE49-F238E27FC236}">
                <a16:creationId xmlns:a16="http://schemas.microsoft.com/office/drawing/2014/main" id="{AD4331D2-D25A-4470-89EC-3AA10A7F7974}"/>
              </a:ext>
            </a:extLst>
          </p:cNvPr>
          <p:cNvSpPr/>
          <p:nvPr/>
        </p:nvSpPr>
        <p:spPr bwMode="gray">
          <a:xfrm>
            <a:off x="2280475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86" y="14720"/>
                </a:moveTo>
                <a:cubicBezTo>
                  <a:pt x="9513" y="14863"/>
                  <a:pt x="9355" y="14945"/>
                  <a:pt x="9084" y="14965"/>
                </a:cubicBezTo>
                <a:lnTo>
                  <a:pt x="9084" y="13151"/>
                </a:lnTo>
                <a:cubicBezTo>
                  <a:pt x="9199" y="13182"/>
                  <a:pt x="9248" y="13219"/>
                  <a:pt x="9358" y="13260"/>
                </a:cubicBezTo>
                <a:cubicBezTo>
                  <a:pt x="9469" y="13302"/>
                  <a:pt x="9568" y="13357"/>
                  <a:pt x="9656" y="13424"/>
                </a:cubicBezTo>
                <a:cubicBezTo>
                  <a:pt x="9744" y="13491"/>
                  <a:pt x="9814" y="13575"/>
                  <a:pt x="9867" y="13673"/>
                </a:cubicBezTo>
                <a:cubicBezTo>
                  <a:pt x="9920" y="13772"/>
                  <a:pt x="9946" y="13894"/>
                  <a:pt x="9946" y="14039"/>
                </a:cubicBezTo>
                <a:cubicBezTo>
                  <a:pt x="9946" y="14350"/>
                  <a:pt x="9859" y="14577"/>
                  <a:pt x="9686" y="14720"/>
                </a:cubicBezTo>
                <a:moveTo>
                  <a:pt x="8631" y="12100"/>
                </a:moveTo>
                <a:cubicBezTo>
                  <a:pt x="8526" y="12074"/>
                  <a:pt x="8486" y="12041"/>
                  <a:pt x="8383" y="12003"/>
                </a:cubicBezTo>
                <a:cubicBezTo>
                  <a:pt x="8280" y="11964"/>
                  <a:pt x="8189" y="11913"/>
                  <a:pt x="8112" y="11851"/>
                </a:cubicBezTo>
                <a:cubicBezTo>
                  <a:pt x="8034" y="11789"/>
                  <a:pt x="7969" y="11714"/>
                  <a:pt x="7919" y="11625"/>
                </a:cubicBezTo>
                <a:cubicBezTo>
                  <a:pt x="7869" y="11537"/>
                  <a:pt x="7844" y="11431"/>
                  <a:pt x="7844" y="11306"/>
                </a:cubicBezTo>
                <a:cubicBezTo>
                  <a:pt x="7844" y="11031"/>
                  <a:pt x="7918" y="10835"/>
                  <a:pt x="8067" y="10718"/>
                </a:cubicBezTo>
                <a:cubicBezTo>
                  <a:pt x="8214" y="10601"/>
                  <a:pt x="8360" y="10543"/>
                  <a:pt x="8631" y="10543"/>
                </a:cubicBezTo>
                <a:cubicBezTo>
                  <a:pt x="8631" y="10543"/>
                  <a:pt x="8631" y="12100"/>
                  <a:pt x="8631" y="12100"/>
                </a:cubicBezTo>
                <a:close/>
                <a:moveTo>
                  <a:pt x="10255" y="12723"/>
                </a:moveTo>
                <a:cubicBezTo>
                  <a:pt x="10089" y="12593"/>
                  <a:pt x="9898" y="12487"/>
                  <a:pt x="9683" y="12404"/>
                </a:cubicBezTo>
                <a:cubicBezTo>
                  <a:pt x="9466" y="12321"/>
                  <a:pt x="9310" y="12248"/>
                  <a:pt x="9084" y="12186"/>
                </a:cubicBezTo>
                <a:lnTo>
                  <a:pt x="9084" y="10543"/>
                </a:lnTo>
                <a:cubicBezTo>
                  <a:pt x="9355" y="10543"/>
                  <a:pt x="9488" y="10613"/>
                  <a:pt x="9611" y="10753"/>
                </a:cubicBezTo>
                <a:cubicBezTo>
                  <a:pt x="9734" y="10893"/>
                  <a:pt x="9800" y="11096"/>
                  <a:pt x="9810" y="11361"/>
                </a:cubicBezTo>
                <a:lnTo>
                  <a:pt x="10669" y="11361"/>
                </a:lnTo>
                <a:cubicBezTo>
                  <a:pt x="10669" y="11106"/>
                  <a:pt x="10625" y="10883"/>
                  <a:pt x="10537" y="10690"/>
                </a:cubicBezTo>
                <a:cubicBezTo>
                  <a:pt x="10450" y="10499"/>
                  <a:pt x="10331" y="10340"/>
                  <a:pt x="10183" y="10216"/>
                </a:cubicBezTo>
                <a:cubicBezTo>
                  <a:pt x="10035" y="10091"/>
                  <a:pt x="9860" y="9998"/>
                  <a:pt x="9659" y="9935"/>
                </a:cubicBezTo>
                <a:cubicBezTo>
                  <a:pt x="9459" y="9873"/>
                  <a:pt x="9310" y="9842"/>
                  <a:pt x="9084" y="9842"/>
                </a:cubicBezTo>
                <a:lnTo>
                  <a:pt x="9084" y="9331"/>
                </a:lnTo>
                <a:lnTo>
                  <a:pt x="8631" y="9331"/>
                </a:lnTo>
                <a:lnTo>
                  <a:pt x="8631" y="9842"/>
                </a:lnTo>
                <a:cubicBezTo>
                  <a:pt x="8405" y="9842"/>
                  <a:pt x="8253" y="9876"/>
                  <a:pt x="8048" y="9943"/>
                </a:cubicBezTo>
                <a:cubicBezTo>
                  <a:pt x="7842" y="10011"/>
                  <a:pt x="7660" y="10108"/>
                  <a:pt x="7501" y="10235"/>
                </a:cubicBezTo>
                <a:cubicBezTo>
                  <a:pt x="7343" y="10363"/>
                  <a:pt x="7218" y="10521"/>
                  <a:pt x="7125" y="10710"/>
                </a:cubicBezTo>
                <a:cubicBezTo>
                  <a:pt x="7032" y="10899"/>
                  <a:pt x="6985" y="11119"/>
                  <a:pt x="6985" y="11368"/>
                </a:cubicBezTo>
                <a:cubicBezTo>
                  <a:pt x="6985" y="11654"/>
                  <a:pt x="7035" y="11892"/>
                  <a:pt x="7136" y="12085"/>
                </a:cubicBezTo>
                <a:cubicBezTo>
                  <a:pt x="7237" y="12277"/>
                  <a:pt x="7368" y="12436"/>
                  <a:pt x="7531" y="12563"/>
                </a:cubicBezTo>
                <a:cubicBezTo>
                  <a:pt x="7694" y="12691"/>
                  <a:pt x="7878" y="12794"/>
                  <a:pt x="8081" y="12875"/>
                </a:cubicBezTo>
                <a:cubicBezTo>
                  <a:pt x="8285" y="12956"/>
                  <a:pt x="8426" y="13024"/>
                  <a:pt x="8631" y="13081"/>
                </a:cubicBezTo>
                <a:lnTo>
                  <a:pt x="8631" y="14965"/>
                </a:lnTo>
                <a:cubicBezTo>
                  <a:pt x="8285" y="14955"/>
                  <a:pt x="8100" y="14852"/>
                  <a:pt x="7950" y="14654"/>
                </a:cubicBezTo>
                <a:cubicBezTo>
                  <a:pt x="7799" y="14457"/>
                  <a:pt x="7726" y="14187"/>
                  <a:pt x="7731" y="13844"/>
                </a:cubicBezTo>
                <a:lnTo>
                  <a:pt x="6872" y="13844"/>
                </a:lnTo>
                <a:cubicBezTo>
                  <a:pt x="6867" y="14135"/>
                  <a:pt x="6908" y="14392"/>
                  <a:pt x="6996" y="14615"/>
                </a:cubicBezTo>
                <a:cubicBezTo>
                  <a:pt x="7085" y="14839"/>
                  <a:pt x="7209" y="15027"/>
                  <a:pt x="7369" y="15180"/>
                </a:cubicBezTo>
                <a:cubicBezTo>
                  <a:pt x="7530" y="15333"/>
                  <a:pt x="7723" y="15451"/>
                  <a:pt x="7950" y="15534"/>
                </a:cubicBezTo>
                <a:cubicBezTo>
                  <a:pt x="8176" y="15617"/>
                  <a:pt x="8360" y="15661"/>
                  <a:pt x="8631" y="15667"/>
                </a:cubicBezTo>
                <a:lnTo>
                  <a:pt x="8631" y="16199"/>
                </a:lnTo>
                <a:lnTo>
                  <a:pt x="9084" y="16199"/>
                </a:lnTo>
                <a:lnTo>
                  <a:pt x="9084" y="15667"/>
                </a:lnTo>
                <a:cubicBezTo>
                  <a:pt x="9335" y="15656"/>
                  <a:pt x="9504" y="15613"/>
                  <a:pt x="9720" y="15538"/>
                </a:cubicBezTo>
                <a:cubicBezTo>
                  <a:pt x="9936" y="15463"/>
                  <a:pt x="10124" y="15354"/>
                  <a:pt x="10285" y="15211"/>
                </a:cubicBezTo>
                <a:cubicBezTo>
                  <a:pt x="10445" y="15068"/>
                  <a:pt x="10573" y="14889"/>
                  <a:pt x="10666" y="14673"/>
                </a:cubicBezTo>
                <a:cubicBezTo>
                  <a:pt x="10758" y="14459"/>
                  <a:pt x="10805" y="14205"/>
                  <a:pt x="10805" y="13914"/>
                </a:cubicBezTo>
                <a:cubicBezTo>
                  <a:pt x="10805" y="13634"/>
                  <a:pt x="10755" y="13398"/>
                  <a:pt x="10654" y="13206"/>
                </a:cubicBezTo>
                <a:cubicBezTo>
                  <a:pt x="10554" y="13014"/>
                  <a:pt x="10421" y="12853"/>
                  <a:pt x="10255" y="12723"/>
                </a:cubicBezTo>
                <a:moveTo>
                  <a:pt x="12764" y="0"/>
                </a:moveTo>
                <a:cubicBezTo>
                  <a:pt x="9919" y="0"/>
                  <a:pt x="7396" y="1350"/>
                  <a:pt x="5779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9" y="987"/>
                  <a:pt x="20613" y="4502"/>
                  <a:pt x="20613" y="8836"/>
                </a:cubicBezTo>
                <a:cubicBezTo>
                  <a:pt x="20613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8836" y="20613"/>
                </a:moveTo>
                <a:cubicBezTo>
                  <a:pt x="4501" y="20613"/>
                  <a:pt x="987" y="17098"/>
                  <a:pt x="987" y="12764"/>
                </a:cubicBezTo>
                <a:cubicBezTo>
                  <a:pt x="987" y="8429"/>
                  <a:pt x="4501" y="4915"/>
                  <a:pt x="8836" y="4915"/>
                </a:cubicBezTo>
                <a:cubicBezTo>
                  <a:pt x="13172" y="4915"/>
                  <a:pt x="16685" y="8429"/>
                  <a:pt x="16685" y="12764"/>
                </a:cubicBezTo>
                <a:cubicBezTo>
                  <a:pt x="16685" y="17098"/>
                  <a:pt x="13172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6" y="21600"/>
                  <a:pt x="17673" y="17644"/>
                  <a:pt x="17673" y="12764"/>
                </a:cubicBezTo>
                <a:cubicBezTo>
                  <a:pt x="17673" y="7884"/>
                  <a:pt x="13716" y="3927"/>
                  <a:pt x="8836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2794">
            <a:extLst>
              <a:ext uri="{FF2B5EF4-FFF2-40B4-BE49-F238E27FC236}">
                <a16:creationId xmlns:a16="http://schemas.microsoft.com/office/drawing/2014/main" id="{8D39A3AB-DE67-4AD1-AE85-9205207EEB41}"/>
              </a:ext>
            </a:extLst>
          </p:cNvPr>
          <p:cNvSpPr/>
          <p:nvPr/>
        </p:nvSpPr>
        <p:spPr bwMode="gray">
          <a:xfrm>
            <a:off x="2834787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535" y="7724"/>
                </a:moveTo>
                <a:cubicBezTo>
                  <a:pt x="12082" y="7724"/>
                  <a:pt x="12586" y="7961"/>
                  <a:pt x="13047" y="8436"/>
                </a:cubicBezTo>
                <a:lnTo>
                  <a:pt x="13544" y="7424"/>
                </a:lnTo>
                <a:cubicBezTo>
                  <a:pt x="12888" y="6964"/>
                  <a:pt x="12248" y="6734"/>
                  <a:pt x="11621" y="6734"/>
                </a:cubicBezTo>
                <a:cubicBezTo>
                  <a:pt x="10757" y="6734"/>
                  <a:pt x="10048" y="7019"/>
                  <a:pt x="9494" y="7590"/>
                </a:cubicBezTo>
                <a:cubicBezTo>
                  <a:pt x="9019" y="8087"/>
                  <a:pt x="8691" y="8762"/>
                  <a:pt x="8510" y="9615"/>
                </a:cubicBezTo>
                <a:lnTo>
                  <a:pt x="7938" y="9615"/>
                </a:lnTo>
                <a:lnTo>
                  <a:pt x="7658" y="10327"/>
                </a:lnTo>
                <a:lnTo>
                  <a:pt x="8435" y="10327"/>
                </a:lnTo>
                <a:cubicBezTo>
                  <a:pt x="8428" y="10409"/>
                  <a:pt x="8423" y="10483"/>
                  <a:pt x="8419" y="10549"/>
                </a:cubicBezTo>
                <a:cubicBezTo>
                  <a:pt x="8415" y="10616"/>
                  <a:pt x="8414" y="10675"/>
                  <a:pt x="8414" y="10727"/>
                </a:cubicBezTo>
                <a:cubicBezTo>
                  <a:pt x="8414" y="10794"/>
                  <a:pt x="8415" y="10857"/>
                  <a:pt x="8419" y="10916"/>
                </a:cubicBezTo>
                <a:cubicBezTo>
                  <a:pt x="8423" y="10976"/>
                  <a:pt x="8428" y="11032"/>
                  <a:pt x="8435" y="11083"/>
                </a:cubicBezTo>
                <a:lnTo>
                  <a:pt x="7949" y="11083"/>
                </a:lnTo>
                <a:lnTo>
                  <a:pt x="7658" y="11784"/>
                </a:lnTo>
                <a:lnTo>
                  <a:pt x="8489" y="11784"/>
                </a:lnTo>
                <a:cubicBezTo>
                  <a:pt x="8604" y="12674"/>
                  <a:pt x="8896" y="13382"/>
                  <a:pt x="9364" y="13908"/>
                </a:cubicBezTo>
                <a:cubicBezTo>
                  <a:pt x="9904" y="14517"/>
                  <a:pt x="10656" y="14821"/>
                  <a:pt x="11621" y="14821"/>
                </a:cubicBezTo>
                <a:cubicBezTo>
                  <a:pt x="12219" y="14821"/>
                  <a:pt x="12762" y="14658"/>
                  <a:pt x="13252" y="14331"/>
                </a:cubicBezTo>
                <a:lnTo>
                  <a:pt x="13252" y="13097"/>
                </a:lnTo>
                <a:cubicBezTo>
                  <a:pt x="12978" y="13356"/>
                  <a:pt x="12733" y="13542"/>
                  <a:pt x="12517" y="13653"/>
                </a:cubicBezTo>
                <a:cubicBezTo>
                  <a:pt x="12280" y="13772"/>
                  <a:pt x="11981" y="13831"/>
                  <a:pt x="11621" y="13831"/>
                </a:cubicBezTo>
                <a:cubicBezTo>
                  <a:pt x="11067" y="13831"/>
                  <a:pt x="10627" y="13620"/>
                  <a:pt x="10304" y="13197"/>
                </a:cubicBezTo>
                <a:cubicBezTo>
                  <a:pt x="10023" y="12855"/>
                  <a:pt x="9839" y="12385"/>
                  <a:pt x="9753" y="11784"/>
                </a:cubicBezTo>
                <a:lnTo>
                  <a:pt x="11924" y="11784"/>
                </a:lnTo>
                <a:lnTo>
                  <a:pt x="12193" y="11083"/>
                </a:lnTo>
                <a:lnTo>
                  <a:pt x="9699" y="11083"/>
                </a:lnTo>
                <a:cubicBezTo>
                  <a:pt x="9692" y="11046"/>
                  <a:pt x="9688" y="10932"/>
                  <a:pt x="9688" y="10739"/>
                </a:cubicBezTo>
                <a:lnTo>
                  <a:pt x="9688" y="10483"/>
                </a:lnTo>
                <a:cubicBezTo>
                  <a:pt x="9688" y="10416"/>
                  <a:pt x="9692" y="10364"/>
                  <a:pt x="9699" y="10327"/>
                </a:cubicBezTo>
                <a:lnTo>
                  <a:pt x="12344" y="10327"/>
                </a:lnTo>
                <a:lnTo>
                  <a:pt x="12626" y="9615"/>
                </a:lnTo>
                <a:lnTo>
                  <a:pt x="9775" y="9615"/>
                </a:lnTo>
                <a:cubicBezTo>
                  <a:pt x="9868" y="9096"/>
                  <a:pt x="10051" y="8662"/>
                  <a:pt x="10325" y="8314"/>
                </a:cubicBezTo>
                <a:cubicBezTo>
                  <a:pt x="10649" y="7920"/>
                  <a:pt x="11052" y="7724"/>
                  <a:pt x="11535" y="772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795">
            <a:extLst>
              <a:ext uri="{FF2B5EF4-FFF2-40B4-BE49-F238E27FC236}">
                <a16:creationId xmlns:a16="http://schemas.microsoft.com/office/drawing/2014/main" id="{31FC4741-202B-4A3D-9B8A-BB5ABF30FDD0}"/>
              </a:ext>
            </a:extLst>
          </p:cNvPr>
          <p:cNvSpPr/>
          <p:nvPr/>
        </p:nvSpPr>
        <p:spPr bwMode="gray">
          <a:xfrm>
            <a:off x="3389098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5" y="1349"/>
                  <a:pt x="5780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2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9292" y="10539"/>
                </a:moveTo>
                <a:cubicBezTo>
                  <a:pt x="9702" y="10539"/>
                  <a:pt x="10080" y="10712"/>
                  <a:pt x="10426" y="11057"/>
                </a:cubicBezTo>
                <a:lnTo>
                  <a:pt x="10798" y="10320"/>
                </a:lnTo>
                <a:cubicBezTo>
                  <a:pt x="10307" y="9985"/>
                  <a:pt x="9826" y="9817"/>
                  <a:pt x="9356" y="9817"/>
                </a:cubicBezTo>
                <a:cubicBezTo>
                  <a:pt x="8708" y="9817"/>
                  <a:pt x="8176" y="10026"/>
                  <a:pt x="7761" y="10441"/>
                </a:cubicBezTo>
                <a:cubicBezTo>
                  <a:pt x="7404" y="10804"/>
                  <a:pt x="7158" y="11296"/>
                  <a:pt x="7023" y="11917"/>
                </a:cubicBezTo>
                <a:lnTo>
                  <a:pt x="6594" y="11917"/>
                </a:lnTo>
                <a:lnTo>
                  <a:pt x="6384" y="12435"/>
                </a:lnTo>
                <a:lnTo>
                  <a:pt x="6967" y="12435"/>
                </a:lnTo>
                <a:cubicBezTo>
                  <a:pt x="6961" y="12495"/>
                  <a:pt x="6957" y="12549"/>
                  <a:pt x="6955" y="12598"/>
                </a:cubicBezTo>
                <a:cubicBezTo>
                  <a:pt x="6952" y="12646"/>
                  <a:pt x="6950" y="12690"/>
                  <a:pt x="6950" y="12727"/>
                </a:cubicBezTo>
                <a:cubicBezTo>
                  <a:pt x="6950" y="12776"/>
                  <a:pt x="6952" y="12822"/>
                  <a:pt x="6955" y="12865"/>
                </a:cubicBezTo>
                <a:cubicBezTo>
                  <a:pt x="6957" y="12908"/>
                  <a:pt x="6961" y="12949"/>
                  <a:pt x="6967" y="12987"/>
                </a:cubicBezTo>
                <a:lnTo>
                  <a:pt x="6602" y="12987"/>
                </a:lnTo>
                <a:lnTo>
                  <a:pt x="6384" y="13497"/>
                </a:lnTo>
                <a:lnTo>
                  <a:pt x="7007" y="13497"/>
                </a:lnTo>
                <a:cubicBezTo>
                  <a:pt x="7093" y="14146"/>
                  <a:pt x="7313" y="14662"/>
                  <a:pt x="7663" y="15045"/>
                </a:cubicBezTo>
                <a:cubicBezTo>
                  <a:pt x="8068" y="15489"/>
                  <a:pt x="8633" y="15710"/>
                  <a:pt x="9356" y="15710"/>
                </a:cubicBezTo>
                <a:cubicBezTo>
                  <a:pt x="9805" y="15710"/>
                  <a:pt x="10212" y="15591"/>
                  <a:pt x="10579" y="15354"/>
                </a:cubicBezTo>
                <a:lnTo>
                  <a:pt x="10579" y="14454"/>
                </a:lnTo>
                <a:cubicBezTo>
                  <a:pt x="10374" y="14643"/>
                  <a:pt x="10191" y="14778"/>
                  <a:pt x="10029" y="14859"/>
                </a:cubicBezTo>
                <a:cubicBezTo>
                  <a:pt x="9850" y="14945"/>
                  <a:pt x="9626" y="14989"/>
                  <a:pt x="9356" y="14989"/>
                </a:cubicBezTo>
                <a:cubicBezTo>
                  <a:pt x="8940" y="14989"/>
                  <a:pt x="8611" y="14834"/>
                  <a:pt x="8368" y="14527"/>
                </a:cubicBezTo>
                <a:cubicBezTo>
                  <a:pt x="8158" y="14279"/>
                  <a:pt x="8020" y="13935"/>
                  <a:pt x="7955" y="13497"/>
                </a:cubicBezTo>
                <a:lnTo>
                  <a:pt x="9583" y="13497"/>
                </a:lnTo>
                <a:lnTo>
                  <a:pt x="9786" y="12987"/>
                </a:lnTo>
                <a:lnTo>
                  <a:pt x="7914" y="12987"/>
                </a:lnTo>
                <a:cubicBezTo>
                  <a:pt x="7909" y="12960"/>
                  <a:pt x="7906" y="12876"/>
                  <a:pt x="7906" y="12735"/>
                </a:cubicBezTo>
                <a:lnTo>
                  <a:pt x="7906" y="12549"/>
                </a:lnTo>
                <a:cubicBezTo>
                  <a:pt x="7906" y="12500"/>
                  <a:pt x="7909" y="12462"/>
                  <a:pt x="7914" y="12435"/>
                </a:cubicBezTo>
                <a:lnTo>
                  <a:pt x="9899" y="12435"/>
                </a:lnTo>
                <a:lnTo>
                  <a:pt x="10110" y="11917"/>
                </a:lnTo>
                <a:lnTo>
                  <a:pt x="7972" y="11917"/>
                </a:lnTo>
                <a:cubicBezTo>
                  <a:pt x="8042" y="11539"/>
                  <a:pt x="8179" y="11222"/>
                  <a:pt x="8384" y="10968"/>
                </a:cubicBezTo>
                <a:cubicBezTo>
                  <a:pt x="8627" y="10682"/>
                  <a:pt x="8929" y="10539"/>
                  <a:pt x="9292" y="1053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2796">
            <a:extLst>
              <a:ext uri="{FF2B5EF4-FFF2-40B4-BE49-F238E27FC236}">
                <a16:creationId xmlns:a16="http://schemas.microsoft.com/office/drawing/2014/main" id="{B2F80B46-A506-4F28-AA4D-3AE9F94F8138}"/>
              </a:ext>
            </a:extLst>
          </p:cNvPr>
          <p:cNvSpPr/>
          <p:nvPr/>
        </p:nvSpPr>
        <p:spPr bwMode="gray">
          <a:xfrm>
            <a:off x="3943410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797">
            <a:extLst>
              <a:ext uri="{FF2B5EF4-FFF2-40B4-BE49-F238E27FC236}">
                <a16:creationId xmlns:a16="http://schemas.microsoft.com/office/drawing/2014/main" id="{948D28FA-74F9-40CE-A8C2-A3515B451FD9}"/>
              </a:ext>
            </a:extLst>
          </p:cNvPr>
          <p:cNvSpPr/>
          <p:nvPr/>
        </p:nvSpPr>
        <p:spPr bwMode="gray">
          <a:xfrm>
            <a:off x="4497722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52" y="12079"/>
                </a:moveTo>
                <a:cubicBezTo>
                  <a:pt x="9878" y="12752"/>
                  <a:pt x="8799" y="12411"/>
                  <a:pt x="8449" y="12327"/>
                </a:cubicBezTo>
                <a:lnTo>
                  <a:pt x="8758" y="11138"/>
                </a:lnTo>
                <a:cubicBezTo>
                  <a:pt x="9107" y="11222"/>
                  <a:pt x="10234" y="11378"/>
                  <a:pt x="10052" y="12079"/>
                </a:cubicBezTo>
                <a:moveTo>
                  <a:pt x="9860" y="13998"/>
                </a:moveTo>
                <a:cubicBezTo>
                  <a:pt x="9669" y="14737"/>
                  <a:pt x="8373" y="14338"/>
                  <a:pt x="7953" y="14238"/>
                </a:cubicBezTo>
                <a:lnTo>
                  <a:pt x="8293" y="12927"/>
                </a:lnTo>
                <a:cubicBezTo>
                  <a:pt x="8714" y="13027"/>
                  <a:pt x="10060" y="13227"/>
                  <a:pt x="9860" y="13998"/>
                </a:cubicBezTo>
                <a:moveTo>
                  <a:pt x="10034" y="10721"/>
                </a:moveTo>
                <a:lnTo>
                  <a:pt x="10288" y="9743"/>
                </a:lnTo>
                <a:lnTo>
                  <a:pt x="9668" y="9595"/>
                </a:lnTo>
                <a:lnTo>
                  <a:pt x="9421" y="10547"/>
                </a:lnTo>
                <a:cubicBezTo>
                  <a:pt x="9258" y="10508"/>
                  <a:pt x="9090" y="10471"/>
                  <a:pt x="8925" y="10434"/>
                </a:cubicBezTo>
                <a:lnTo>
                  <a:pt x="9173" y="9476"/>
                </a:lnTo>
                <a:lnTo>
                  <a:pt x="8554" y="9328"/>
                </a:lnTo>
                <a:lnTo>
                  <a:pt x="8300" y="10306"/>
                </a:lnTo>
                <a:cubicBezTo>
                  <a:pt x="8165" y="10276"/>
                  <a:pt x="8033" y="10247"/>
                  <a:pt x="7904" y="10216"/>
                </a:cubicBezTo>
                <a:lnTo>
                  <a:pt x="7904" y="10213"/>
                </a:lnTo>
                <a:lnTo>
                  <a:pt x="7050" y="10008"/>
                </a:lnTo>
                <a:lnTo>
                  <a:pt x="6885" y="10644"/>
                </a:lnTo>
                <a:cubicBezTo>
                  <a:pt x="6885" y="10644"/>
                  <a:pt x="7345" y="10745"/>
                  <a:pt x="7335" y="10751"/>
                </a:cubicBezTo>
                <a:cubicBezTo>
                  <a:pt x="7586" y="10812"/>
                  <a:pt x="7632" y="10971"/>
                  <a:pt x="7624" y="11098"/>
                </a:cubicBezTo>
                <a:lnTo>
                  <a:pt x="7335" y="12213"/>
                </a:lnTo>
                <a:cubicBezTo>
                  <a:pt x="7352" y="12216"/>
                  <a:pt x="7375" y="12222"/>
                  <a:pt x="7399" y="12232"/>
                </a:cubicBezTo>
                <a:cubicBezTo>
                  <a:pt x="7379" y="12227"/>
                  <a:pt x="7357" y="12222"/>
                  <a:pt x="7334" y="12216"/>
                </a:cubicBezTo>
                <a:lnTo>
                  <a:pt x="6928" y="13777"/>
                </a:lnTo>
                <a:cubicBezTo>
                  <a:pt x="6898" y="13851"/>
                  <a:pt x="6820" y="13960"/>
                  <a:pt x="6645" y="13919"/>
                </a:cubicBezTo>
                <a:cubicBezTo>
                  <a:pt x="6651" y="13928"/>
                  <a:pt x="6194" y="13811"/>
                  <a:pt x="6194" y="13811"/>
                </a:cubicBezTo>
                <a:lnTo>
                  <a:pt x="5886" y="14492"/>
                </a:lnTo>
                <a:lnTo>
                  <a:pt x="6692" y="14686"/>
                </a:lnTo>
                <a:cubicBezTo>
                  <a:pt x="6843" y="14721"/>
                  <a:pt x="6990" y="14759"/>
                  <a:pt x="7134" y="14795"/>
                </a:cubicBezTo>
                <a:lnTo>
                  <a:pt x="6878" y="15784"/>
                </a:lnTo>
                <a:lnTo>
                  <a:pt x="7497" y="15933"/>
                </a:lnTo>
                <a:lnTo>
                  <a:pt x="7751" y="14954"/>
                </a:lnTo>
                <a:cubicBezTo>
                  <a:pt x="7921" y="14998"/>
                  <a:pt x="8085" y="15039"/>
                  <a:pt x="8245" y="15077"/>
                </a:cubicBezTo>
                <a:lnTo>
                  <a:pt x="7992" y="16051"/>
                </a:lnTo>
                <a:lnTo>
                  <a:pt x="8612" y="16200"/>
                </a:lnTo>
                <a:lnTo>
                  <a:pt x="8868" y="15212"/>
                </a:lnTo>
                <a:cubicBezTo>
                  <a:pt x="9926" y="15404"/>
                  <a:pt x="10720" y="15327"/>
                  <a:pt x="11055" y="14408"/>
                </a:cubicBezTo>
                <a:cubicBezTo>
                  <a:pt x="11324" y="13669"/>
                  <a:pt x="11041" y="13242"/>
                  <a:pt x="10485" y="12965"/>
                </a:cubicBezTo>
                <a:cubicBezTo>
                  <a:pt x="10890" y="12875"/>
                  <a:pt x="11195" y="12619"/>
                  <a:pt x="11277" y="12090"/>
                </a:cubicBezTo>
                <a:cubicBezTo>
                  <a:pt x="11389" y="11368"/>
                  <a:pt x="10816" y="10980"/>
                  <a:pt x="10034" y="10721"/>
                </a:cubicBezTo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8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1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09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798">
            <a:extLst>
              <a:ext uri="{FF2B5EF4-FFF2-40B4-BE49-F238E27FC236}">
                <a16:creationId xmlns:a16="http://schemas.microsoft.com/office/drawing/2014/main" id="{1B62DAA5-B485-4110-A59D-E18F5357F119}"/>
              </a:ext>
            </a:extLst>
          </p:cNvPr>
          <p:cNvSpPr/>
          <p:nvPr/>
        </p:nvSpPr>
        <p:spPr bwMode="gray">
          <a:xfrm>
            <a:off x="5052034" y="1825035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02" y="11838"/>
                </a:moveTo>
                <a:cubicBezTo>
                  <a:pt x="11425" y="11731"/>
                  <a:pt x="11338" y="11646"/>
                  <a:pt x="11242" y="11581"/>
                </a:cubicBezTo>
                <a:cubicBezTo>
                  <a:pt x="11144" y="11515"/>
                  <a:pt x="11102" y="11458"/>
                  <a:pt x="11001" y="11410"/>
                </a:cubicBezTo>
                <a:lnTo>
                  <a:pt x="11001" y="14261"/>
                </a:lnTo>
                <a:cubicBezTo>
                  <a:pt x="11238" y="14227"/>
                  <a:pt x="11377" y="14100"/>
                  <a:pt x="11528" y="13875"/>
                </a:cubicBezTo>
                <a:cubicBezTo>
                  <a:pt x="11680" y="13651"/>
                  <a:pt x="11756" y="13293"/>
                  <a:pt x="11756" y="12804"/>
                </a:cubicBezTo>
                <a:cubicBezTo>
                  <a:pt x="11756" y="12576"/>
                  <a:pt x="11733" y="12384"/>
                  <a:pt x="11686" y="12229"/>
                </a:cubicBezTo>
                <a:cubicBezTo>
                  <a:pt x="11640" y="12074"/>
                  <a:pt x="11579" y="11944"/>
                  <a:pt x="11502" y="11838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9" y="16200"/>
                  <a:pt x="15709" y="16602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2"/>
                  <a:pt x="17453" y="16200"/>
                  <a:pt x="17182" y="16200"/>
                </a:cubicBezTo>
                <a:moveTo>
                  <a:pt x="9917" y="8509"/>
                </a:moveTo>
                <a:cubicBezTo>
                  <a:pt x="9917" y="8706"/>
                  <a:pt x="9938" y="8872"/>
                  <a:pt x="9982" y="9011"/>
                </a:cubicBezTo>
                <a:cubicBezTo>
                  <a:pt x="10026" y="9150"/>
                  <a:pt x="10082" y="9268"/>
                  <a:pt x="10150" y="9366"/>
                </a:cubicBezTo>
                <a:cubicBezTo>
                  <a:pt x="10219" y="9464"/>
                  <a:pt x="10298" y="9544"/>
                  <a:pt x="10388" y="9605"/>
                </a:cubicBezTo>
                <a:cubicBezTo>
                  <a:pt x="10478" y="9665"/>
                  <a:pt x="10513" y="9717"/>
                  <a:pt x="10605" y="9757"/>
                </a:cubicBezTo>
                <a:lnTo>
                  <a:pt x="10605" y="7311"/>
                </a:lnTo>
                <a:cubicBezTo>
                  <a:pt x="10368" y="7311"/>
                  <a:pt x="10241" y="7402"/>
                  <a:pt x="10111" y="7585"/>
                </a:cubicBezTo>
                <a:cubicBezTo>
                  <a:pt x="9981" y="7769"/>
                  <a:pt x="9917" y="8077"/>
                  <a:pt x="9917" y="8509"/>
                </a:cubicBezTo>
                <a:moveTo>
                  <a:pt x="20127" y="3600"/>
                </a:moveTo>
                <a:cubicBezTo>
                  <a:pt x="19856" y="3600"/>
                  <a:pt x="19636" y="3197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9" y="1800"/>
                  <a:pt x="20618" y="2203"/>
                  <a:pt x="20618" y="2700"/>
                </a:cubicBezTo>
                <a:cubicBezTo>
                  <a:pt x="20618" y="3197"/>
                  <a:pt x="20399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08"/>
                  <a:pt x="18655" y="18900"/>
                </a:cubicBezTo>
                <a:cubicBezTo>
                  <a:pt x="18655" y="19217"/>
                  <a:pt x="18690" y="19517"/>
                  <a:pt x="18745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8"/>
                  <a:pt x="2286" y="16200"/>
                  <a:pt x="1473" y="16200"/>
                </a:cubicBezTo>
                <a:cubicBezTo>
                  <a:pt x="1300" y="16200"/>
                  <a:pt x="1136" y="16265"/>
                  <a:pt x="982" y="16365"/>
                </a:cubicBezTo>
                <a:lnTo>
                  <a:pt x="982" y="5234"/>
                </a:lnTo>
                <a:cubicBezTo>
                  <a:pt x="1136" y="5335"/>
                  <a:pt x="1300" y="5400"/>
                  <a:pt x="1473" y="5400"/>
                </a:cubicBezTo>
                <a:cubicBezTo>
                  <a:pt x="2286" y="5400"/>
                  <a:pt x="2945" y="4191"/>
                  <a:pt x="2945" y="2700"/>
                </a:cubicBezTo>
                <a:cubicBezTo>
                  <a:pt x="2945" y="2382"/>
                  <a:pt x="2910" y="2083"/>
                  <a:pt x="2855" y="1800"/>
                </a:cubicBezTo>
                <a:lnTo>
                  <a:pt x="18745" y="1800"/>
                </a:lnTo>
                <a:cubicBezTo>
                  <a:pt x="18690" y="2083"/>
                  <a:pt x="18655" y="2382"/>
                  <a:pt x="18655" y="2700"/>
                </a:cubicBezTo>
                <a:cubicBezTo>
                  <a:pt x="18655" y="4191"/>
                  <a:pt x="19314" y="5400"/>
                  <a:pt x="20127" y="5400"/>
                </a:cubicBezTo>
                <a:cubicBezTo>
                  <a:pt x="20300" y="5400"/>
                  <a:pt x="20464" y="5335"/>
                  <a:pt x="20618" y="5234"/>
                </a:cubicBezTo>
                <a:cubicBezTo>
                  <a:pt x="20618" y="5234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9" y="18000"/>
                  <a:pt x="20618" y="18403"/>
                  <a:pt x="20618" y="18900"/>
                </a:cubicBezTo>
                <a:cubicBezTo>
                  <a:pt x="20618" y="19397"/>
                  <a:pt x="20399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7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7"/>
                  <a:pt x="1744" y="3600"/>
                  <a:pt x="1473" y="3600"/>
                </a:cubicBezTo>
                <a:cubicBezTo>
                  <a:pt x="1201" y="3600"/>
                  <a:pt x="982" y="3197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  <a:moveTo>
                  <a:pt x="12385" y="13801"/>
                </a:moveTo>
                <a:cubicBezTo>
                  <a:pt x="12304" y="14141"/>
                  <a:pt x="12193" y="14422"/>
                  <a:pt x="12052" y="14646"/>
                </a:cubicBezTo>
                <a:cubicBezTo>
                  <a:pt x="11912" y="14871"/>
                  <a:pt x="11747" y="15042"/>
                  <a:pt x="11558" y="15160"/>
                </a:cubicBezTo>
                <a:cubicBezTo>
                  <a:pt x="11369" y="15278"/>
                  <a:pt x="11221" y="15345"/>
                  <a:pt x="11001" y="15362"/>
                </a:cubicBezTo>
                <a:lnTo>
                  <a:pt x="11001" y="16198"/>
                </a:lnTo>
                <a:lnTo>
                  <a:pt x="10605" y="16198"/>
                </a:lnTo>
                <a:lnTo>
                  <a:pt x="10605" y="15362"/>
                </a:lnTo>
                <a:cubicBezTo>
                  <a:pt x="10368" y="15353"/>
                  <a:pt x="10206" y="15284"/>
                  <a:pt x="10009" y="15154"/>
                </a:cubicBezTo>
                <a:cubicBezTo>
                  <a:pt x="9811" y="15023"/>
                  <a:pt x="9642" y="14837"/>
                  <a:pt x="9501" y="14596"/>
                </a:cubicBezTo>
                <a:cubicBezTo>
                  <a:pt x="9361" y="14356"/>
                  <a:pt x="9252" y="14061"/>
                  <a:pt x="9175" y="13710"/>
                </a:cubicBezTo>
                <a:cubicBezTo>
                  <a:pt x="9098" y="13359"/>
                  <a:pt x="9062" y="12956"/>
                  <a:pt x="9066" y="12498"/>
                </a:cubicBezTo>
                <a:lnTo>
                  <a:pt x="9818" y="12498"/>
                </a:lnTo>
                <a:cubicBezTo>
                  <a:pt x="9813" y="13036"/>
                  <a:pt x="9877" y="13461"/>
                  <a:pt x="10009" y="13770"/>
                </a:cubicBezTo>
                <a:cubicBezTo>
                  <a:pt x="10140" y="14081"/>
                  <a:pt x="10302" y="14244"/>
                  <a:pt x="10605" y="14261"/>
                </a:cubicBezTo>
                <a:lnTo>
                  <a:pt x="10605" y="11299"/>
                </a:lnTo>
                <a:cubicBezTo>
                  <a:pt x="10425" y="11209"/>
                  <a:pt x="10302" y="11101"/>
                  <a:pt x="10124" y="10974"/>
                </a:cubicBezTo>
                <a:cubicBezTo>
                  <a:pt x="9946" y="10849"/>
                  <a:pt x="9786" y="10686"/>
                  <a:pt x="9643" y="10485"/>
                </a:cubicBezTo>
                <a:cubicBezTo>
                  <a:pt x="9500" y="10285"/>
                  <a:pt x="9385" y="10035"/>
                  <a:pt x="9297" y="9733"/>
                </a:cubicBezTo>
                <a:cubicBezTo>
                  <a:pt x="9209" y="9431"/>
                  <a:pt x="9165" y="9056"/>
                  <a:pt x="9165" y="8607"/>
                </a:cubicBezTo>
                <a:cubicBezTo>
                  <a:pt x="9165" y="8216"/>
                  <a:pt x="9206" y="7871"/>
                  <a:pt x="9287" y="7574"/>
                </a:cubicBezTo>
                <a:cubicBezTo>
                  <a:pt x="9369" y="7276"/>
                  <a:pt x="9478" y="7026"/>
                  <a:pt x="9617" y="6827"/>
                </a:cubicBezTo>
                <a:cubicBezTo>
                  <a:pt x="9755" y="6627"/>
                  <a:pt x="9914" y="6474"/>
                  <a:pt x="10094" y="6368"/>
                </a:cubicBezTo>
                <a:cubicBezTo>
                  <a:pt x="10275" y="6262"/>
                  <a:pt x="10408" y="6209"/>
                  <a:pt x="10605" y="6209"/>
                </a:cubicBezTo>
                <a:lnTo>
                  <a:pt x="10605" y="5406"/>
                </a:lnTo>
                <a:lnTo>
                  <a:pt x="11001" y="5406"/>
                </a:lnTo>
                <a:lnTo>
                  <a:pt x="11001" y="6209"/>
                </a:lnTo>
                <a:cubicBezTo>
                  <a:pt x="11199" y="6209"/>
                  <a:pt x="11329" y="6257"/>
                  <a:pt x="11505" y="6356"/>
                </a:cubicBezTo>
                <a:cubicBezTo>
                  <a:pt x="11681" y="6454"/>
                  <a:pt x="11834" y="6601"/>
                  <a:pt x="11963" y="6796"/>
                </a:cubicBezTo>
                <a:cubicBezTo>
                  <a:pt x="12093" y="6992"/>
                  <a:pt x="12196" y="7241"/>
                  <a:pt x="12273" y="7543"/>
                </a:cubicBezTo>
                <a:cubicBezTo>
                  <a:pt x="12350" y="7845"/>
                  <a:pt x="12389" y="8195"/>
                  <a:pt x="12389" y="8594"/>
                </a:cubicBezTo>
                <a:lnTo>
                  <a:pt x="11637" y="8594"/>
                </a:lnTo>
                <a:cubicBezTo>
                  <a:pt x="11628" y="8179"/>
                  <a:pt x="11570" y="7860"/>
                  <a:pt x="11463" y="7641"/>
                </a:cubicBezTo>
                <a:cubicBezTo>
                  <a:pt x="11355" y="7420"/>
                  <a:pt x="11238" y="7311"/>
                  <a:pt x="11001" y="7311"/>
                </a:cubicBezTo>
                <a:lnTo>
                  <a:pt x="11001" y="9892"/>
                </a:lnTo>
                <a:cubicBezTo>
                  <a:pt x="11199" y="9990"/>
                  <a:pt x="11336" y="10104"/>
                  <a:pt x="11525" y="10235"/>
                </a:cubicBezTo>
                <a:cubicBezTo>
                  <a:pt x="11714" y="10365"/>
                  <a:pt x="11881" y="10532"/>
                  <a:pt x="12026" y="10736"/>
                </a:cubicBezTo>
                <a:cubicBezTo>
                  <a:pt x="12171" y="10940"/>
                  <a:pt x="12287" y="11193"/>
                  <a:pt x="12375" y="11495"/>
                </a:cubicBezTo>
                <a:cubicBezTo>
                  <a:pt x="12463" y="11797"/>
                  <a:pt x="12507" y="12168"/>
                  <a:pt x="12507" y="12608"/>
                </a:cubicBezTo>
                <a:cubicBezTo>
                  <a:pt x="12507" y="13065"/>
                  <a:pt x="12466" y="13463"/>
                  <a:pt x="12385" y="13801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6"/>
                  <a:pt x="8631" y="18000"/>
                  <a:pt x="10800" y="18000"/>
                </a:cubicBezTo>
                <a:cubicBezTo>
                  <a:pt x="12969" y="18000"/>
                  <a:pt x="14727" y="14776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2"/>
                  <a:pt x="3927" y="4500"/>
                </a:cubicBezTo>
                <a:cubicBezTo>
                  <a:pt x="3927" y="4997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7"/>
                  <a:pt x="5891" y="4500"/>
                </a:cubicBezTo>
                <a:cubicBezTo>
                  <a:pt x="5891" y="4002"/>
                  <a:pt x="5671" y="3600"/>
                  <a:pt x="5400" y="3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799">
            <a:extLst>
              <a:ext uri="{FF2B5EF4-FFF2-40B4-BE49-F238E27FC236}">
                <a16:creationId xmlns:a16="http://schemas.microsoft.com/office/drawing/2014/main" id="{4CD37E1A-F9C1-43D7-A85E-0DF098C2EA0C}"/>
              </a:ext>
            </a:extLst>
          </p:cNvPr>
          <p:cNvSpPr/>
          <p:nvPr/>
        </p:nvSpPr>
        <p:spPr bwMode="gray">
          <a:xfrm>
            <a:off x="5606346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16" y="11782"/>
                </a:moveTo>
                <a:cubicBezTo>
                  <a:pt x="9916" y="11929"/>
                  <a:pt x="9939" y="12054"/>
                  <a:pt x="9982" y="12159"/>
                </a:cubicBezTo>
                <a:cubicBezTo>
                  <a:pt x="10026" y="12263"/>
                  <a:pt x="10082" y="12351"/>
                  <a:pt x="10151" y="12425"/>
                </a:cubicBezTo>
                <a:cubicBezTo>
                  <a:pt x="10219" y="12498"/>
                  <a:pt x="10298" y="12557"/>
                  <a:pt x="10388" y="12604"/>
                </a:cubicBezTo>
                <a:cubicBezTo>
                  <a:pt x="10478" y="12650"/>
                  <a:pt x="10513" y="12688"/>
                  <a:pt x="10605" y="12719"/>
                </a:cubicBezTo>
                <a:lnTo>
                  <a:pt x="10605" y="10882"/>
                </a:lnTo>
                <a:cubicBezTo>
                  <a:pt x="10368" y="10882"/>
                  <a:pt x="10241" y="10952"/>
                  <a:pt x="10111" y="11090"/>
                </a:cubicBezTo>
                <a:cubicBezTo>
                  <a:pt x="9981" y="11227"/>
                  <a:pt x="9916" y="11458"/>
                  <a:pt x="9916" y="11782"/>
                </a:cubicBezTo>
                <a:moveTo>
                  <a:pt x="11501" y="14278"/>
                </a:moveTo>
                <a:cubicBezTo>
                  <a:pt x="11425" y="14199"/>
                  <a:pt x="11338" y="14135"/>
                  <a:pt x="11242" y="14086"/>
                </a:cubicBezTo>
                <a:cubicBezTo>
                  <a:pt x="11145" y="14037"/>
                  <a:pt x="11102" y="13994"/>
                  <a:pt x="11001" y="13958"/>
                </a:cubicBezTo>
                <a:lnTo>
                  <a:pt x="11001" y="16096"/>
                </a:lnTo>
                <a:cubicBezTo>
                  <a:pt x="11238" y="16071"/>
                  <a:pt x="11377" y="15975"/>
                  <a:pt x="11528" y="15806"/>
                </a:cubicBezTo>
                <a:cubicBezTo>
                  <a:pt x="11680" y="15638"/>
                  <a:pt x="11756" y="15371"/>
                  <a:pt x="11756" y="15004"/>
                </a:cubicBezTo>
                <a:cubicBezTo>
                  <a:pt x="11756" y="14833"/>
                  <a:pt x="11733" y="14689"/>
                  <a:pt x="11686" y="14572"/>
                </a:cubicBezTo>
                <a:cubicBezTo>
                  <a:pt x="11640" y="14456"/>
                  <a:pt x="11579" y="14358"/>
                  <a:pt x="11501" y="14278"/>
                </a:cubicBezTo>
                <a:moveTo>
                  <a:pt x="12385" y="15751"/>
                </a:moveTo>
                <a:cubicBezTo>
                  <a:pt x="12304" y="16006"/>
                  <a:pt x="12193" y="16216"/>
                  <a:pt x="12052" y="16385"/>
                </a:cubicBezTo>
                <a:cubicBezTo>
                  <a:pt x="11911" y="16553"/>
                  <a:pt x="11747" y="16681"/>
                  <a:pt x="11558" y="16770"/>
                </a:cubicBezTo>
                <a:cubicBezTo>
                  <a:pt x="11369" y="16859"/>
                  <a:pt x="11221" y="16910"/>
                  <a:pt x="11001" y="16922"/>
                </a:cubicBezTo>
                <a:lnTo>
                  <a:pt x="11001" y="17549"/>
                </a:lnTo>
                <a:lnTo>
                  <a:pt x="10605" y="17549"/>
                </a:lnTo>
                <a:lnTo>
                  <a:pt x="10605" y="16922"/>
                </a:lnTo>
                <a:cubicBezTo>
                  <a:pt x="10368" y="16915"/>
                  <a:pt x="10206" y="16863"/>
                  <a:pt x="10009" y="16766"/>
                </a:cubicBezTo>
                <a:cubicBezTo>
                  <a:pt x="9811" y="16667"/>
                  <a:pt x="9642" y="16528"/>
                  <a:pt x="9501" y="16348"/>
                </a:cubicBezTo>
                <a:cubicBezTo>
                  <a:pt x="9361" y="16168"/>
                  <a:pt x="9252" y="15946"/>
                  <a:pt x="9175" y="15683"/>
                </a:cubicBezTo>
                <a:cubicBezTo>
                  <a:pt x="9098" y="15420"/>
                  <a:pt x="9062" y="15117"/>
                  <a:pt x="9066" y="14775"/>
                </a:cubicBezTo>
                <a:lnTo>
                  <a:pt x="9818" y="14775"/>
                </a:lnTo>
                <a:cubicBezTo>
                  <a:pt x="9813" y="15178"/>
                  <a:pt x="9877" y="15496"/>
                  <a:pt x="10009" y="15729"/>
                </a:cubicBezTo>
                <a:cubicBezTo>
                  <a:pt x="10140" y="15961"/>
                  <a:pt x="10302" y="16083"/>
                  <a:pt x="10605" y="16096"/>
                </a:cubicBezTo>
                <a:lnTo>
                  <a:pt x="10605" y="13875"/>
                </a:lnTo>
                <a:cubicBezTo>
                  <a:pt x="10425" y="13807"/>
                  <a:pt x="10302" y="13726"/>
                  <a:pt x="10124" y="13631"/>
                </a:cubicBezTo>
                <a:cubicBezTo>
                  <a:pt x="9946" y="13537"/>
                  <a:pt x="9786" y="13414"/>
                  <a:pt x="9643" y="13264"/>
                </a:cubicBezTo>
                <a:cubicBezTo>
                  <a:pt x="9500" y="13115"/>
                  <a:pt x="9385" y="12927"/>
                  <a:pt x="9297" y="12700"/>
                </a:cubicBezTo>
                <a:cubicBezTo>
                  <a:pt x="9209" y="12474"/>
                  <a:pt x="9165" y="12192"/>
                  <a:pt x="9165" y="11855"/>
                </a:cubicBezTo>
                <a:cubicBezTo>
                  <a:pt x="9165" y="11562"/>
                  <a:pt x="9206" y="11304"/>
                  <a:pt x="9287" y="11080"/>
                </a:cubicBezTo>
                <a:cubicBezTo>
                  <a:pt x="9369" y="10857"/>
                  <a:pt x="9478" y="10670"/>
                  <a:pt x="9617" y="10520"/>
                </a:cubicBezTo>
                <a:cubicBezTo>
                  <a:pt x="9755" y="10370"/>
                  <a:pt x="9914" y="10256"/>
                  <a:pt x="10094" y="10176"/>
                </a:cubicBezTo>
                <a:cubicBezTo>
                  <a:pt x="10274" y="10097"/>
                  <a:pt x="10407" y="10057"/>
                  <a:pt x="10605" y="10057"/>
                </a:cubicBezTo>
                <a:lnTo>
                  <a:pt x="10605" y="9455"/>
                </a:lnTo>
                <a:lnTo>
                  <a:pt x="11001" y="9455"/>
                </a:lnTo>
                <a:lnTo>
                  <a:pt x="11001" y="10057"/>
                </a:lnTo>
                <a:cubicBezTo>
                  <a:pt x="11199" y="10057"/>
                  <a:pt x="11329" y="10093"/>
                  <a:pt x="11505" y="10167"/>
                </a:cubicBezTo>
                <a:cubicBezTo>
                  <a:pt x="11681" y="10240"/>
                  <a:pt x="11834" y="10350"/>
                  <a:pt x="11963" y="10498"/>
                </a:cubicBezTo>
                <a:cubicBezTo>
                  <a:pt x="12093" y="10644"/>
                  <a:pt x="12196" y="10831"/>
                  <a:pt x="12273" y="11057"/>
                </a:cubicBezTo>
                <a:cubicBezTo>
                  <a:pt x="12350" y="11284"/>
                  <a:pt x="12388" y="11547"/>
                  <a:pt x="12388" y="11847"/>
                </a:cubicBezTo>
                <a:lnTo>
                  <a:pt x="11637" y="11847"/>
                </a:lnTo>
                <a:cubicBezTo>
                  <a:pt x="11628" y="11534"/>
                  <a:pt x="11570" y="11296"/>
                  <a:pt x="11463" y="11130"/>
                </a:cubicBezTo>
                <a:cubicBezTo>
                  <a:pt x="11355" y="10965"/>
                  <a:pt x="11238" y="10882"/>
                  <a:pt x="11001" y="10882"/>
                </a:cubicBezTo>
                <a:lnTo>
                  <a:pt x="11001" y="12819"/>
                </a:lnTo>
                <a:cubicBezTo>
                  <a:pt x="11199" y="12894"/>
                  <a:pt x="11336" y="12978"/>
                  <a:pt x="11525" y="13076"/>
                </a:cubicBezTo>
                <a:cubicBezTo>
                  <a:pt x="11714" y="13175"/>
                  <a:pt x="11881" y="13300"/>
                  <a:pt x="12026" y="13453"/>
                </a:cubicBezTo>
                <a:cubicBezTo>
                  <a:pt x="12171" y="13605"/>
                  <a:pt x="12287" y="13795"/>
                  <a:pt x="12375" y="14021"/>
                </a:cubicBezTo>
                <a:cubicBezTo>
                  <a:pt x="12463" y="14248"/>
                  <a:pt x="12507" y="14526"/>
                  <a:pt x="12507" y="14857"/>
                </a:cubicBezTo>
                <a:cubicBezTo>
                  <a:pt x="12507" y="15199"/>
                  <a:pt x="12466" y="15497"/>
                  <a:pt x="12385" y="15751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3"/>
                  <a:pt x="8631" y="18900"/>
                  <a:pt x="10800" y="18900"/>
                </a:cubicBezTo>
                <a:cubicBezTo>
                  <a:pt x="12969" y="18900"/>
                  <a:pt x="14727" y="16483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6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6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800">
            <a:extLst>
              <a:ext uri="{FF2B5EF4-FFF2-40B4-BE49-F238E27FC236}">
                <a16:creationId xmlns:a16="http://schemas.microsoft.com/office/drawing/2014/main" id="{FAC01158-AD88-4176-AC7C-40419D41F649}"/>
              </a:ext>
            </a:extLst>
          </p:cNvPr>
          <p:cNvSpPr/>
          <p:nvPr/>
        </p:nvSpPr>
        <p:spPr bwMode="gray">
          <a:xfrm>
            <a:off x="617539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208" y="15258"/>
                </a:moveTo>
                <a:cubicBezTo>
                  <a:pt x="10138" y="15500"/>
                  <a:pt x="10044" y="15701"/>
                  <a:pt x="9923" y="15861"/>
                </a:cubicBezTo>
                <a:cubicBezTo>
                  <a:pt x="9802" y="16022"/>
                  <a:pt x="9660" y="16144"/>
                  <a:pt x="9499" y="16228"/>
                </a:cubicBezTo>
                <a:cubicBezTo>
                  <a:pt x="9362" y="16300"/>
                  <a:pt x="9243" y="16340"/>
                  <a:pt x="9097" y="16360"/>
                </a:cubicBezTo>
                <a:lnTo>
                  <a:pt x="9097" y="16971"/>
                </a:lnTo>
                <a:lnTo>
                  <a:pt x="8606" y="16971"/>
                </a:lnTo>
                <a:lnTo>
                  <a:pt x="8606" y="16361"/>
                </a:lnTo>
                <a:cubicBezTo>
                  <a:pt x="8446" y="16345"/>
                  <a:pt x="8316" y="16304"/>
                  <a:pt x="8171" y="16224"/>
                </a:cubicBezTo>
                <a:cubicBezTo>
                  <a:pt x="8001" y="16130"/>
                  <a:pt x="7856" y="15998"/>
                  <a:pt x="7736" y="15826"/>
                </a:cubicBezTo>
                <a:cubicBezTo>
                  <a:pt x="7615" y="15655"/>
                  <a:pt x="7522" y="15443"/>
                  <a:pt x="7456" y="15193"/>
                </a:cubicBezTo>
                <a:cubicBezTo>
                  <a:pt x="7390" y="14942"/>
                  <a:pt x="7359" y="14654"/>
                  <a:pt x="7363" y="14327"/>
                </a:cubicBezTo>
                <a:lnTo>
                  <a:pt x="8007" y="14327"/>
                </a:lnTo>
                <a:cubicBezTo>
                  <a:pt x="8003" y="14712"/>
                  <a:pt x="8058" y="15015"/>
                  <a:pt x="8171" y="15236"/>
                </a:cubicBezTo>
                <a:cubicBezTo>
                  <a:pt x="8270" y="15431"/>
                  <a:pt x="8403" y="15530"/>
                  <a:pt x="8606" y="15563"/>
                </a:cubicBezTo>
                <a:lnTo>
                  <a:pt x="8606" y="13432"/>
                </a:lnTo>
                <a:cubicBezTo>
                  <a:pt x="8492" y="13376"/>
                  <a:pt x="8395" y="13313"/>
                  <a:pt x="8270" y="13239"/>
                </a:cubicBezTo>
                <a:cubicBezTo>
                  <a:pt x="8118" y="13149"/>
                  <a:pt x="7980" y="13033"/>
                  <a:pt x="7857" y="12890"/>
                </a:cubicBezTo>
                <a:cubicBezTo>
                  <a:pt x="7735" y="12746"/>
                  <a:pt x="7636" y="12568"/>
                  <a:pt x="7561" y="12352"/>
                </a:cubicBezTo>
                <a:cubicBezTo>
                  <a:pt x="7485" y="12136"/>
                  <a:pt x="7448" y="11868"/>
                  <a:pt x="7448" y="11548"/>
                </a:cubicBezTo>
                <a:cubicBezTo>
                  <a:pt x="7448" y="11268"/>
                  <a:pt x="7483" y="11023"/>
                  <a:pt x="7553" y="10809"/>
                </a:cubicBezTo>
                <a:cubicBezTo>
                  <a:pt x="7622" y="10596"/>
                  <a:pt x="7716" y="10419"/>
                  <a:pt x="7835" y="10276"/>
                </a:cubicBezTo>
                <a:cubicBezTo>
                  <a:pt x="7954" y="10134"/>
                  <a:pt x="8090" y="10024"/>
                  <a:pt x="8244" y="9948"/>
                </a:cubicBezTo>
                <a:cubicBezTo>
                  <a:pt x="8373" y="9885"/>
                  <a:pt x="8479" y="9855"/>
                  <a:pt x="8606" y="9844"/>
                </a:cubicBezTo>
                <a:lnTo>
                  <a:pt x="8606" y="9257"/>
                </a:lnTo>
                <a:lnTo>
                  <a:pt x="9097" y="9257"/>
                </a:lnTo>
                <a:lnTo>
                  <a:pt x="9097" y="9844"/>
                </a:lnTo>
                <a:cubicBezTo>
                  <a:pt x="9224" y="9853"/>
                  <a:pt x="9328" y="9881"/>
                  <a:pt x="9453" y="9939"/>
                </a:cubicBezTo>
                <a:cubicBezTo>
                  <a:pt x="9605" y="10009"/>
                  <a:pt x="9735" y="10114"/>
                  <a:pt x="9847" y="10255"/>
                </a:cubicBezTo>
                <a:cubicBezTo>
                  <a:pt x="9957" y="10394"/>
                  <a:pt x="10046" y="10572"/>
                  <a:pt x="10112" y="10788"/>
                </a:cubicBezTo>
                <a:cubicBezTo>
                  <a:pt x="10178" y="11003"/>
                  <a:pt x="10211" y="11254"/>
                  <a:pt x="10211" y="11540"/>
                </a:cubicBezTo>
                <a:lnTo>
                  <a:pt x="9567" y="11540"/>
                </a:lnTo>
                <a:cubicBezTo>
                  <a:pt x="9559" y="11242"/>
                  <a:pt x="9509" y="11015"/>
                  <a:pt x="9417" y="10857"/>
                </a:cubicBezTo>
                <a:cubicBezTo>
                  <a:pt x="9339" y="10725"/>
                  <a:pt x="9243" y="10661"/>
                  <a:pt x="9097" y="10640"/>
                </a:cubicBezTo>
                <a:lnTo>
                  <a:pt x="9097" y="12504"/>
                </a:lnTo>
                <a:cubicBezTo>
                  <a:pt x="9226" y="12565"/>
                  <a:pt x="9336" y="12633"/>
                  <a:pt x="9471" y="12710"/>
                </a:cubicBezTo>
                <a:cubicBezTo>
                  <a:pt x="9633" y="12804"/>
                  <a:pt x="9776" y="12923"/>
                  <a:pt x="9900" y="13069"/>
                </a:cubicBezTo>
                <a:cubicBezTo>
                  <a:pt x="10024" y="13215"/>
                  <a:pt x="10124" y="13395"/>
                  <a:pt x="10200" y="13610"/>
                </a:cubicBezTo>
                <a:cubicBezTo>
                  <a:pt x="10275" y="13827"/>
                  <a:pt x="10312" y="14091"/>
                  <a:pt x="10312" y="14407"/>
                </a:cubicBezTo>
                <a:cubicBezTo>
                  <a:pt x="10312" y="14732"/>
                  <a:pt x="10278" y="15016"/>
                  <a:pt x="10208" y="152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6"/>
                  <a:pt x="6938" y="18514"/>
                  <a:pt x="8836" y="18514"/>
                </a:cubicBezTo>
                <a:cubicBezTo>
                  <a:pt x="10734" y="18514"/>
                  <a:pt x="12273" y="16096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0"/>
                  <a:pt x="3927" y="1543"/>
                </a:cubicBezTo>
                <a:lnTo>
                  <a:pt x="3927" y="2314"/>
                </a:lnTo>
                <a:cubicBezTo>
                  <a:pt x="3927" y="2740"/>
                  <a:pt x="4147" y="3086"/>
                  <a:pt x="4418" y="3086"/>
                </a:cubicBezTo>
                <a:cubicBezTo>
                  <a:pt x="4689" y="3086"/>
                  <a:pt x="4909" y="2740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0"/>
                  <a:pt x="21600" y="15429"/>
                </a:cubicBezTo>
                <a:lnTo>
                  <a:pt x="21600" y="1543"/>
                </a:lnTo>
                <a:cubicBezTo>
                  <a:pt x="21600" y="690"/>
                  <a:pt x="21160" y="0"/>
                  <a:pt x="20618" y="0"/>
                </a:cubicBezTo>
                <a:moveTo>
                  <a:pt x="9451" y="13856"/>
                </a:moveTo>
                <a:cubicBezTo>
                  <a:pt x="9385" y="13780"/>
                  <a:pt x="9310" y="13718"/>
                  <a:pt x="9228" y="13671"/>
                </a:cubicBezTo>
                <a:cubicBezTo>
                  <a:pt x="9175" y="13642"/>
                  <a:pt x="9137" y="13616"/>
                  <a:pt x="9097" y="13590"/>
                </a:cubicBezTo>
                <a:lnTo>
                  <a:pt x="9097" y="15560"/>
                </a:lnTo>
                <a:cubicBezTo>
                  <a:pt x="9250" y="15523"/>
                  <a:pt x="9363" y="15447"/>
                  <a:pt x="9473" y="15311"/>
                </a:cubicBezTo>
                <a:cubicBezTo>
                  <a:pt x="9604" y="15151"/>
                  <a:pt x="9668" y="14896"/>
                  <a:pt x="9668" y="14545"/>
                </a:cubicBezTo>
                <a:cubicBezTo>
                  <a:pt x="9668" y="14383"/>
                  <a:pt x="9649" y="14246"/>
                  <a:pt x="9609" y="14135"/>
                </a:cubicBezTo>
                <a:cubicBezTo>
                  <a:pt x="9570" y="14024"/>
                  <a:pt x="9517" y="13931"/>
                  <a:pt x="9451" y="13856"/>
                </a:cubicBezTo>
                <a:moveTo>
                  <a:pt x="13255" y="16971"/>
                </a:moveTo>
                <a:cubicBezTo>
                  <a:pt x="12983" y="16971"/>
                  <a:pt x="12764" y="17316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6"/>
                  <a:pt x="13525" y="16971"/>
                  <a:pt x="13255" y="16971"/>
                </a:cubicBezTo>
                <a:moveTo>
                  <a:pt x="16200" y="7714"/>
                </a:moveTo>
                <a:cubicBezTo>
                  <a:pt x="15928" y="7714"/>
                  <a:pt x="15709" y="7369"/>
                  <a:pt x="15709" y="6943"/>
                </a:cubicBezTo>
                <a:cubicBezTo>
                  <a:pt x="15709" y="6516"/>
                  <a:pt x="15928" y="6171"/>
                  <a:pt x="16200" y="6171"/>
                </a:cubicBezTo>
                <a:cubicBezTo>
                  <a:pt x="16471" y="6171"/>
                  <a:pt x="16691" y="6516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7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7"/>
                  <a:pt x="14762" y="19814"/>
                  <a:pt x="14817" y="20057"/>
                </a:cubicBezTo>
                <a:lnTo>
                  <a:pt x="2855" y="20057"/>
                </a:lnTo>
                <a:cubicBezTo>
                  <a:pt x="2910" y="19814"/>
                  <a:pt x="2945" y="19557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7"/>
                  <a:pt x="982" y="17113"/>
                </a:cubicBezTo>
                <a:lnTo>
                  <a:pt x="982" y="9115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1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2" y="6414"/>
                  <a:pt x="14727" y="6671"/>
                  <a:pt x="14727" y="6943"/>
                </a:cubicBezTo>
                <a:cubicBezTo>
                  <a:pt x="14727" y="8221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5"/>
                </a:cubicBezTo>
                <a:cubicBezTo>
                  <a:pt x="16691" y="9115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8" y="20057"/>
                  <a:pt x="15709" y="19712"/>
                  <a:pt x="15709" y="19286"/>
                </a:cubicBezTo>
                <a:cubicBezTo>
                  <a:pt x="15709" y="18859"/>
                  <a:pt x="15928" y="18514"/>
                  <a:pt x="16200" y="18514"/>
                </a:cubicBezTo>
                <a:cubicBezTo>
                  <a:pt x="16471" y="18514"/>
                  <a:pt x="16691" y="18859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59"/>
                  <a:pt x="1201" y="18514"/>
                  <a:pt x="1473" y="18514"/>
                </a:cubicBezTo>
                <a:cubicBezTo>
                  <a:pt x="1744" y="18514"/>
                  <a:pt x="1964" y="18859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6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6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39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39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092" y="11478"/>
                </a:moveTo>
                <a:cubicBezTo>
                  <a:pt x="8092" y="11618"/>
                  <a:pt x="8111" y="11738"/>
                  <a:pt x="8149" y="11836"/>
                </a:cubicBezTo>
                <a:cubicBezTo>
                  <a:pt x="8186" y="11936"/>
                  <a:pt x="8234" y="12020"/>
                  <a:pt x="8293" y="12090"/>
                </a:cubicBezTo>
                <a:cubicBezTo>
                  <a:pt x="8351" y="12160"/>
                  <a:pt x="8419" y="12217"/>
                  <a:pt x="8496" y="12260"/>
                </a:cubicBezTo>
                <a:cubicBezTo>
                  <a:pt x="8542" y="12286"/>
                  <a:pt x="8573" y="12310"/>
                  <a:pt x="8606" y="12330"/>
                </a:cubicBezTo>
                <a:lnTo>
                  <a:pt x="8606" y="10637"/>
                </a:lnTo>
                <a:cubicBezTo>
                  <a:pt x="8457" y="10653"/>
                  <a:pt x="8353" y="10708"/>
                  <a:pt x="8258" y="10818"/>
                </a:cubicBezTo>
                <a:cubicBezTo>
                  <a:pt x="8147" y="10949"/>
                  <a:pt x="8092" y="11170"/>
                  <a:pt x="8092" y="11478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801">
            <a:extLst>
              <a:ext uri="{FF2B5EF4-FFF2-40B4-BE49-F238E27FC236}">
                <a16:creationId xmlns:a16="http://schemas.microsoft.com/office/drawing/2014/main" id="{4854D1EC-2DEC-4CF9-AB47-5BE9A93CFA4C}"/>
              </a:ext>
            </a:extLst>
          </p:cNvPr>
          <p:cNvSpPr/>
          <p:nvPr/>
        </p:nvSpPr>
        <p:spPr bwMode="gray">
          <a:xfrm>
            <a:off x="1171851" y="2379347"/>
            <a:ext cx="290354" cy="1583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58" y="9506"/>
                </a:moveTo>
                <a:lnTo>
                  <a:pt x="11671" y="10299"/>
                </a:lnTo>
                <a:lnTo>
                  <a:pt x="9907" y="10299"/>
                </a:lnTo>
                <a:cubicBezTo>
                  <a:pt x="9902" y="10340"/>
                  <a:pt x="9900" y="10398"/>
                  <a:pt x="9900" y="10472"/>
                </a:cubicBezTo>
                <a:lnTo>
                  <a:pt x="9900" y="10757"/>
                </a:lnTo>
                <a:cubicBezTo>
                  <a:pt x="9900" y="10972"/>
                  <a:pt x="9902" y="11100"/>
                  <a:pt x="9907" y="11141"/>
                </a:cubicBezTo>
                <a:lnTo>
                  <a:pt x="11570" y="11141"/>
                </a:lnTo>
                <a:lnTo>
                  <a:pt x="11390" y="11921"/>
                </a:lnTo>
                <a:lnTo>
                  <a:pt x="9943" y="11921"/>
                </a:lnTo>
                <a:cubicBezTo>
                  <a:pt x="10001" y="12589"/>
                  <a:pt x="10123" y="13114"/>
                  <a:pt x="10311" y="13494"/>
                </a:cubicBezTo>
                <a:cubicBezTo>
                  <a:pt x="10527" y="13964"/>
                  <a:pt x="10819" y="14199"/>
                  <a:pt x="11189" y="14199"/>
                </a:cubicBezTo>
                <a:cubicBezTo>
                  <a:pt x="11429" y="14199"/>
                  <a:pt x="11628" y="14134"/>
                  <a:pt x="11786" y="14001"/>
                </a:cubicBezTo>
                <a:cubicBezTo>
                  <a:pt x="11930" y="13878"/>
                  <a:pt x="12093" y="13671"/>
                  <a:pt x="12276" y="13382"/>
                </a:cubicBezTo>
                <a:lnTo>
                  <a:pt x="12276" y="14756"/>
                </a:lnTo>
                <a:cubicBezTo>
                  <a:pt x="11949" y="15119"/>
                  <a:pt x="11587" y="15301"/>
                  <a:pt x="11189" y="15301"/>
                </a:cubicBezTo>
                <a:cubicBezTo>
                  <a:pt x="10546" y="15301"/>
                  <a:pt x="10044" y="14963"/>
                  <a:pt x="9683" y="14287"/>
                </a:cubicBezTo>
                <a:cubicBezTo>
                  <a:pt x="9372" y="13700"/>
                  <a:pt x="9177" y="12912"/>
                  <a:pt x="9100" y="11921"/>
                </a:cubicBezTo>
                <a:lnTo>
                  <a:pt x="8546" y="11921"/>
                </a:lnTo>
                <a:lnTo>
                  <a:pt x="8740" y="11141"/>
                </a:lnTo>
                <a:lnTo>
                  <a:pt x="9065" y="11141"/>
                </a:lnTo>
                <a:cubicBezTo>
                  <a:pt x="9060" y="11083"/>
                  <a:pt x="9056" y="11022"/>
                  <a:pt x="9054" y="10955"/>
                </a:cubicBezTo>
                <a:cubicBezTo>
                  <a:pt x="9051" y="10889"/>
                  <a:pt x="9050" y="10819"/>
                  <a:pt x="9050" y="10744"/>
                </a:cubicBezTo>
                <a:cubicBezTo>
                  <a:pt x="9050" y="10687"/>
                  <a:pt x="9051" y="10620"/>
                  <a:pt x="9054" y="10547"/>
                </a:cubicBezTo>
                <a:cubicBezTo>
                  <a:pt x="9056" y="10472"/>
                  <a:pt x="9060" y="10389"/>
                  <a:pt x="9065" y="10299"/>
                </a:cubicBezTo>
                <a:lnTo>
                  <a:pt x="8546" y="10299"/>
                </a:lnTo>
                <a:lnTo>
                  <a:pt x="8734" y="9506"/>
                </a:lnTo>
                <a:lnTo>
                  <a:pt x="9115" y="9506"/>
                </a:lnTo>
                <a:cubicBezTo>
                  <a:pt x="9235" y="8557"/>
                  <a:pt x="9453" y="7806"/>
                  <a:pt x="9770" y="7253"/>
                </a:cubicBezTo>
                <a:cubicBezTo>
                  <a:pt x="10140" y="6617"/>
                  <a:pt x="10612" y="6299"/>
                  <a:pt x="11189" y="6299"/>
                </a:cubicBezTo>
                <a:cubicBezTo>
                  <a:pt x="11606" y="6299"/>
                  <a:pt x="12034" y="6555"/>
                  <a:pt x="12470" y="7066"/>
                </a:cubicBezTo>
                <a:lnTo>
                  <a:pt x="12139" y="8193"/>
                </a:lnTo>
                <a:cubicBezTo>
                  <a:pt x="11832" y="7666"/>
                  <a:pt x="11496" y="7401"/>
                  <a:pt x="11131" y="7401"/>
                </a:cubicBezTo>
                <a:cubicBezTo>
                  <a:pt x="10809" y="7401"/>
                  <a:pt x="10541" y="7620"/>
                  <a:pt x="10325" y="8058"/>
                </a:cubicBezTo>
                <a:cubicBezTo>
                  <a:pt x="10142" y="8445"/>
                  <a:pt x="10020" y="8929"/>
                  <a:pt x="9957" y="9506"/>
                </a:cubicBezTo>
                <a:cubicBezTo>
                  <a:pt x="9957" y="9506"/>
                  <a:pt x="11858" y="9506"/>
                  <a:pt x="11858" y="9506"/>
                </a:cubicBezTo>
                <a:close/>
                <a:moveTo>
                  <a:pt x="10800" y="3601"/>
                </a:moveTo>
                <a:cubicBezTo>
                  <a:pt x="8631" y="3601"/>
                  <a:pt x="6873" y="6824"/>
                  <a:pt x="6873" y="10799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799"/>
                </a:cubicBezTo>
                <a:cubicBezTo>
                  <a:pt x="14727" y="6824"/>
                  <a:pt x="12969" y="3601"/>
                  <a:pt x="10800" y="3601"/>
                </a:cubicBezTo>
                <a:moveTo>
                  <a:pt x="5400" y="3601"/>
                </a:moveTo>
                <a:lnTo>
                  <a:pt x="4418" y="3601"/>
                </a:lnTo>
                <a:cubicBezTo>
                  <a:pt x="4147" y="3601"/>
                  <a:pt x="3927" y="4003"/>
                  <a:pt x="3927" y="4501"/>
                </a:cubicBezTo>
                <a:cubicBezTo>
                  <a:pt x="3927" y="4998"/>
                  <a:pt x="4147" y="5401"/>
                  <a:pt x="4418" y="5401"/>
                </a:cubicBezTo>
                <a:lnTo>
                  <a:pt x="5400" y="5401"/>
                </a:lnTo>
                <a:cubicBezTo>
                  <a:pt x="5671" y="5401"/>
                  <a:pt x="5891" y="4998"/>
                  <a:pt x="5891" y="4501"/>
                </a:cubicBezTo>
                <a:cubicBezTo>
                  <a:pt x="5891" y="4003"/>
                  <a:pt x="5671" y="3601"/>
                  <a:pt x="5400" y="3601"/>
                </a:cubicBezTo>
                <a:moveTo>
                  <a:pt x="17182" y="16199"/>
                </a:moveTo>
                <a:lnTo>
                  <a:pt x="16200" y="16199"/>
                </a:lnTo>
                <a:cubicBezTo>
                  <a:pt x="15929" y="16199"/>
                  <a:pt x="15709" y="16603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3"/>
                  <a:pt x="17453" y="16199"/>
                  <a:pt x="17182" y="16199"/>
                </a:cubicBezTo>
                <a:moveTo>
                  <a:pt x="20127" y="3601"/>
                </a:moveTo>
                <a:cubicBezTo>
                  <a:pt x="19856" y="3601"/>
                  <a:pt x="19636" y="3198"/>
                  <a:pt x="19636" y="2701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1"/>
                </a:cubicBezTo>
                <a:cubicBezTo>
                  <a:pt x="20618" y="3198"/>
                  <a:pt x="20398" y="3601"/>
                  <a:pt x="20127" y="3601"/>
                </a:cubicBezTo>
                <a:moveTo>
                  <a:pt x="20618" y="16365"/>
                </a:moveTo>
                <a:cubicBezTo>
                  <a:pt x="20464" y="16264"/>
                  <a:pt x="20300" y="16199"/>
                  <a:pt x="20127" y="16199"/>
                </a:cubicBezTo>
                <a:cubicBezTo>
                  <a:pt x="19314" y="16199"/>
                  <a:pt x="18655" y="17409"/>
                  <a:pt x="18655" y="18900"/>
                </a:cubicBezTo>
                <a:cubicBezTo>
                  <a:pt x="18655" y="19217"/>
                  <a:pt x="18689" y="19517"/>
                  <a:pt x="18744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9"/>
                  <a:pt x="2286" y="16199"/>
                  <a:pt x="1473" y="16199"/>
                </a:cubicBezTo>
                <a:cubicBezTo>
                  <a:pt x="1299" y="16199"/>
                  <a:pt x="1136" y="16264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1"/>
                  <a:pt x="1473" y="5401"/>
                </a:cubicBezTo>
                <a:cubicBezTo>
                  <a:pt x="2286" y="5401"/>
                  <a:pt x="2945" y="4192"/>
                  <a:pt x="2945" y="2701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89" y="2083"/>
                  <a:pt x="18655" y="2383"/>
                  <a:pt x="18655" y="2701"/>
                </a:cubicBezTo>
                <a:cubicBezTo>
                  <a:pt x="18655" y="4192"/>
                  <a:pt x="19314" y="5401"/>
                  <a:pt x="20127" y="5401"/>
                </a:cubicBezTo>
                <a:cubicBezTo>
                  <a:pt x="20300" y="5401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2"/>
                  <a:pt x="19856" y="18000"/>
                  <a:pt x="20127" y="18000"/>
                </a:cubicBezTo>
                <a:cubicBezTo>
                  <a:pt x="20398" y="18000"/>
                  <a:pt x="20618" y="18402"/>
                  <a:pt x="20618" y="18900"/>
                </a:cubicBezTo>
                <a:cubicBezTo>
                  <a:pt x="20618" y="19397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2" y="19800"/>
                  <a:pt x="982" y="19397"/>
                  <a:pt x="982" y="18900"/>
                </a:cubicBezTo>
                <a:cubicBezTo>
                  <a:pt x="982" y="18402"/>
                  <a:pt x="1202" y="18000"/>
                  <a:pt x="1473" y="18000"/>
                </a:cubicBezTo>
                <a:cubicBezTo>
                  <a:pt x="1744" y="18000"/>
                  <a:pt x="1964" y="18402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1"/>
                </a:cubicBezTo>
                <a:cubicBezTo>
                  <a:pt x="1964" y="3198"/>
                  <a:pt x="1744" y="3601"/>
                  <a:pt x="1473" y="3601"/>
                </a:cubicBezTo>
                <a:cubicBezTo>
                  <a:pt x="1202" y="3601"/>
                  <a:pt x="982" y="3198"/>
                  <a:pt x="982" y="2701"/>
                </a:cubicBezTo>
                <a:cubicBezTo>
                  <a:pt x="982" y="2203"/>
                  <a:pt x="1202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3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802">
            <a:extLst>
              <a:ext uri="{FF2B5EF4-FFF2-40B4-BE49-F238E27FC236}">
                <a16:creationId xmlns:a16="http://schemas.microsoft.com/office/drawing/2014/main" id="{0B330397-F5CF-4FC0-98E0-5165E95ED598}"/>
              </a:ext>
            </a:extLst>
          </p:cNvPr>
          <p:cNvSpPr/>
          <p:nvPr/>
        </p:nvSpPr>
        <p:spPr bwMode="gray">
          <a:xfrm>
            <a:off x="172616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  <a:moveTo>
                  <a:pt x="11858" y="12529"/>
                </a:moveTo>
                <a:lnTo>
                  <a:pt x="11671" y="13124"/>
                </a:lnTo>
                <a:lnTo>
                  <a:pt x="9908" y="13124"/>
                </a:lnTo>
                <a:cubicBezTo>
                  <a:pt x="9902" y="13155"/>
                  <a:pt x="9900" y="13198"/>
                  <a:pt x="9900" y="13254"/>
                </a:cubicBezTo>
                <a:lnTo>
                  <a:pt x="9900" y="13468"/>
                </a:lnTo>
                <a:cubicBezTo>
                  <a:pt x="9900" y="13629"/>
                  <a:pt x="9902" y="13725"/>
                  <a:pt x="9908" y="13756"/>
                </a:cubicBezTo>
                <a:lnTo>
                  <a:pt x="11570" y="13756"/>
                </a:lnTo>
                <a:lnTo>
                  <a:pt x="11391" y="14340"/>
                </a:lnTo>
                <a:lnTo>
                  <a:pt x="9943" y="14340"/>
                </a:lnTo>
                <a:cubicBezTo>
                  <a:pt x="10001" y="14842"/>
                  <a:pt x="10124" y="15236"/>
                  <a:pt x="10311" y="15520"/>
                </a:cubicBezTo>
                <a:cubicBezTo>
                  <a:pt x="10527" y="15873"/>
                  <a:pt x="10819" y="16050"/>
                  <a:pt x="11189" y="16050"/>
                </a:cubicBezTo>
                <a:cubicBezTo>
                  <a:pt x="11429" y="16050"/>
                  <a:pt x="11628" y="16000"/>
                  <a:pt x="11787" y="15901"/>
                </a:cubicBezTo>
                <a:cubicBezTo>
                  <a:pt x="11930" y="15808"/>
                  <a:pt x="12093" y="15654"/>
                  <a:pt x="12276" y="15437"/>
                </a:cubicBezTo>
                <a:lnTo>
                  <a:pt x="12276" y="16468"/>
                </a:lnTo>
                <a:cubicBezTo>
                  <a:pt x="11950" y="16741"/>
                  <a:pt x="11587" y="16876"/>
                  <a:pt x="11189" y="16876"/>
                </a:cubicBezTo>
                <a:cubicBezTo>
                  <a:pt x="10546" y="16876"/>
                  <a:pt x="10044" y="16623"/>
                  <a:pt x="9684" y="16114"/>
                </a:cubicBezTo>
                <a:cubicBezTo>
                  <a:pt x="9372" y="15676"/>
                  <a:pt x="9177" y="15084"/>
                  <a:pt x="9101" y="14340"/>
                </a:cubicBezTo>
                <a:lnTo>
                  <a:pt x="8547" y="14340"/>
                </a:lnTo>
                <a:lnTo>
                  <a:pt x="8741" y="13756"/>
                </a:lnTo>
                <a:lnTo>
                  <a:pt x="9065" y="13756"/>
                </a:lnTo>
                <a:cubicBezTo>
                  <a:pt x="9060" y="13712"/>
                  <a:pt x="9056" y="13666"/>
                  <a:pt x="9054" y="13617"/>
                </a:cubicBezTo>
                <a:cubicBezTo>
                  <a:pt x="9051" y="13567"/>
                  <a:pt x="9050" y="13515"/>
                  <a:pt x="9050" y="13458"/>
                </a:cubicBezTo>
                <a:cubicBezTo>
                  <a:pt x="9050" y="13416"/>
                  <a:pt x="9051" y="13366"/>
                  <a:pt x="9054" y="13310"/>
                </a:cubicBezTo>
                <a:cubicBezTo>
                  <a:pt x="9056" y="13254"/>
                  <a:pt x="9060" y="13192"/>
                  <a:pt x="9065" y="13124"/>
                </a:cubicBezTo>
                <a:lnTo>
                  <a:pt x="8547" y="13124"/>
                </a:lnTo>
                <a:lnTo>
                  <a:pt x="8734" y="12529"/>
                </a:lnTo>
                <a:lnTo>
                  <a:pt x="9115" y="12529"/>
                </a:lnTo>
                <a:cubicBezTo>
                  <a:pt x="9235" y="11818"/>
                  <a:pt x="9453" y="11254"/>
                  <a:pt x="9770" y="10840"/>
                </a:cubicBezTo>
                <a:cubicBezTo>
                  <a:pt x="10140" y="10363"/>
                  <a:pt x="10613" y="10124"/>
                  <a:pt x="11189" y="10124"/>
                </a:cubicBezTo>
                <a:cubicBezTo>
                  <a:pt x="11607" y="10124"/>
                  <a:pt x="12034" y="10316"/>
                  <a:pt x="12470" y="10700"/>
                </a:cubicBezTo>
                <a:lnTo>
                  <a:pt x="12139" y="11545"/>
                </a:lnTo>
                <a:cubicBezTo>
                  <a:pt x="11832" y="11150"/>
                  <a:pt x="11496" y="10951"/>
                  <a:pt x="11131" y="10951"/>
                </a:cubicBezTo>
                <a:cubicBezTo>
                  <a:pt x="10809" y="10951"/>
                  <a:pt x="10541" y="11115"/>
                  <a:pt x="10325" y="11443"/>
                </a:cubicBezTo>
                <a:cubicBezTo>
                  <a:pt x="10143" y="11734"/>
                  <a:pt x="10020" y="12097"/>
                  <a:pt x="9958" y="12529"/>
                </a:cubicBezTo>
                <a:cubicBezTo>
                  <a:pt x="9958" y="12529"/>
                  <a:pt x="11858" y="12529"/>
                  <a:pt x="11858" y="12529"/>
                </a:cubicBezTo>
                <a:close/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8" y="6750"/>
                  <a:pt x="20618" y="7052"/>
                  <a:pt x="20618" y="7425"/>
                </a:cubicBezTo>
                <a:cubicBezTo>
                  <a:pt x="20618" y="7798"/>
                  <a:pt x="20398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9"/>
                  <a:pt x="18745" y="20250"/>
                </a:cubicBezTo>
                <a:lnTo>
                  <a:pt x="2855" y="20250"/>
                </a:lnTo>
                <a:cubicBezTo>
                  <a:pt x="2910" y="20039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299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299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8" y="18900"/>
                  <a:pt x="20618" y="19203"/>
                  <a:pt x="20618" y="19575"/>
                </a:cubicBezTo>
                <a:cubicBezTo>
                  <a:pt x="20618" y="19948"/>
                  <a:pt x="20398" y="20250"/>
                  <a:pt x="20127" y="20250"/>
                </a:cubicBezTo>
                <a:moveTo>
                  <a:pt x="1473" y="20250"/>
                </a:moveTo>
                <a:cubicBezTo>
                  <a:pt x="1202" y="20250"/>
                  <a:pt x="982" y="19948"/>
                  <a:pt x="982" y="19575"/>
                </a:cubicBezTo>
                <a:cubicBezTo>
                  <a:pt x="982" y="19203"/>
                  <a:pt x="1202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2" y="8100"/>
                  <a:pt x="982" y="7798"/>
                  <a:pt x="982" y="7425"/>
                </a:cubicBezTo>
                <a:cubicBezTo>
                  <a:pt x="982" y="7052"/>
                  <a:pt x="1202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5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5"/>
                  <a:pt x="21160" y="5400"/>
                  <a:pt x="20618" y="54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6" y="4050"/>
                  <a:pt x="19636" y="3748"/>
                  <a:pt x="19636" y="3375"/>
                </a:cubicBezTo>
                <a:cubicBezTo>
                  <a:pt x="19636" y="3002"/>
                  <a:pt x="19416" y="2700"/>
                  <a:pt x="19145" y="2700"/>
                </a:cubicBezTo>
                <a:lnTo>
                  <a:pt x="2455" y="2700"/>
                </a:lnTo>
                <a:cubicBezTo>
                  <a:pt x="2184" y="2700"/>
                  <a:pt x="1964" y="3002"/>
                  <a:pt x="1964" y="3375"/>
                </a:cubicBezTo>
                <a:cubicBezTo>
                  <a:pt x="1964" y="3748"/>
                  <a:pt x="2184" y="4050"/>
                  <a:pt x="2455" y="40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803">
            <a:extLst>
              <a:ext uri="{FF2B5EF4-FFF2-40B4-BE49-F238E27FC236}">
                <a16:creationId xmlns:a16="http://schemas.microsoft.com/office/drawing/2014/main" id="{516A7CF1-859B-49B4-AC73-DFAA58961CAB}"/>
              </a:ext>
            </a:extLst>
          </p:cNvPr>
          <p:cNvSpPr/>
          <p:nvPr/>
        </p:nvSpPr>
        <p:spPr bwMode="gray">
          <a:xfrm>
            <a:off x="2280475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34" y="12227"/>
                </a:moveTo>
                <a:lnTo>
                  <a:pt x="9494" y="12771"/>
                </a:lnTo>
                <a:lnTo>
                  <a:pt x="8171" y="12771"/>
                </a:lnTo>
                <a:cubicBezTo>
                  <a:pt x="8167" y="12799"/>
                  <a:pt x="8165" y="12839"/>
                  <a:pt x="8165" y="12890"/>
                </a:cubicBezTo>
                <a:lnTo>
                  <a:pt x="8165" y="13085"/>
                </a:lnTo>
                <a:cubicBezTo>
                  <a:pt x="8165" y="13232"/>
                  <a:pt x="8167" y="13320"/>
                  <a:pt x="8171" y="13348"/>
                </a:cubicBezTo>
                <a:lnTo>
                  <a:pt x="9418" y="13348"/>
                </a:lnTo>
                <a:lnTo>
                  <a:pt x="9283" y="13883"/>
                </a:lnTo>
                <a:lnTo>
                  <a:pt x="8198" y="13883"/>
                </a:lnTo>
                <a:cubicBezTo>
                  <a:pt x="8241" y="14342"/>
                  <a:pt x="8333" y="14701"/>
                  <a:pt x="8473" y="14961"/>
                </a:cubicBezTo>
                <a:cubicBezTo>
                  <a:pt x="8635" y="15284"/>
                  <a:pt x="8855" y="15445"/>
                  <a:pt x="9132" y="15445"/>
                </a:cubicBezTo>
                <a:cubicBezTo>
                  <a:pt x="9312" y="15445"/>
                  <a:pt x="9461" y="15401"/>
                  <a:pt x="9580" y="15310"/>
                </a:cubicBezTo>
                <a:cubicBezTo>
                  <a:pt x="9688" y="15225"/>
                  <a:pt x="9810" y="15084"/>
                  <a:pt x="9947" y="14885"/>
                </a:cubicBezTo>
                <a:lnTo>
                  <a:pt x="9947" y="15828"/>
                </a:lnTo>
                <a:cubicBezTo>
                  <a:pt x="9702" y="16076"/>
                  <a:pt x="9430" y="16202"/>
                  <a:pt x="9132" y="16202"/>
                </a:cubicBezTo>
                <a:cubicBezTo>
                  <a:pt x="8649" y="16202"/>
                  <a:pt x="8273" y="15970"/>
                  <a:pt x="8003" y="15505"/>
                </a:cubicBezTo>
                <a:cubicBezTo>
                  <a:pt x="7769" y="15104"/>
                  <a:pt x="7623" y="14562"/>
                  <a:pt x="7566" y="13883"/>
                </a:cubicBezTo>
                <a:lnTo>
                  <a:pt x="7150" y="13883"/>
                </a:lnTo>
                <a:lnTo>
                  <a:pt x="7296" y="13348"/>
                </a:lnTo>
                <a:lnTo>
                  <a:pt x="7539" y="13348"/>
                </a:lnTo>
                <a:cubicBezTo>
                  <a:pt x="7536" y="13309"/>
                  <a:pt x="7532" y="13267"/>
                  <a:pt x="7530" y="13221"/>
                </a:cubicBezTo>
                <a:cubicBezTo>
                  <a:pt x="7529" y="13175"/>
                  <a:pt x="7528" y="13127"/>
                  <a:pt x="7528" y="13077"/>
                </a:cubicBezTo>
                <a:cubicBezTo>
                  <a:pt x="7528" y="13037"/>
                  <a:pt x="7529" y="12991"/>
                  <a:pt x="7530" y="12941"/>
                </a:cubicBezTo>
                <a:cubicBezTo>
                  <a:pt x="7532" y="12890"/>
                  <a:pt x="7536" y="12833"/>
                  <a:pt x="7539" y="12771"/>
                </a:cubicBezTo>
                <a:lnTo>
                  <a:pt x="7150" y="12771"/>
                </a:lnTo>
                <a:lnTo>
                  <a:pt x="7291" y="12227"/>
                </a:lnTo>
                <a:lnTo>
                  <a:pt x="7577" y="12227"/>
                </a:lnTo>
                <a:cubicBezTo>
                  <a:pt x="7667" y="11576"/>
                  <a:pt x="7831" y="11061"/>
                  <a:pt x="8068" y="10682"/>
                </a:cubicBezTo>
                <a:cubicBezTo>
                  <a:pt x="8345" y="10247"/>
                  <a:pt x="8700" y="10028"/>
                  <a:pt x="9132" y="10028"/>
                </a:cubicBezTo>
                <a:cubicBezTo>
                  <a:pt x="9445" y="10028"/>
                  <a:pt x="9766" y="10203"/>
                  <a:pt x="10093" y="10554"/>
                </a:cubicBezTo>
                <a:lnTo>
                  <a:pt x="9845" y="11327"/>
                </a:lnTo>
                <a:cubicBezTo>
                  <a:pt x="9614" y="10965"/>
                  <a:pt x="9362" y="10783"/>
                  <a:pt x="9089" y="10783"/>
                </a:cubicBezTo>
                <a:cubicBezTo>
                  <a:pt x="8847" y="10783"/>
                  <a:pt x="8646" y="10934"/>
                  <a:pt x="8484" y="11234"/>
                </a:cubicBezTo>
                <a:cubicBezTo>
                  <a:pt x="8347" y="11500"/>
                  <a:pt x="8255" y="11831"/>
                  <a:pt x="8209" y="12227"/>
                </a:cubicBezTo>
                <a:cubicBezTo>
                  <a:pt x="8209" y="12227"/>
                  <a:pt x="9634" y="12227"/>
                  <a:pt x="9634" y="12227"/>
                </a:cubicBezTo>
                <a:close/>
                <a:moveTo>
                  <a:pt x="8836" y="7714"/>
                </a:moveTo>
                <a:cubicBezTo>
                  <a:pt x="6938" y="7714"/>
                  <a:pt x="5400" y="10133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3"/>
                  <a:pt x="10734" y="7714"/>
                  <a:pt x="8836" y="7714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8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8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2" y="20057"/>
                  <a:pt x="982" y="19712"/>
                  <a:pt x="982" y="19286"/>
                </a:cubicBezTo>
                <a:cubicBezTo>
                  <a:pt x="982" y="18860"/>
                  <a:pt x="1202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2" y="7714"/>
                  <a:pt x="982" y="7369"/>
                  <a:pt x="982" y="6943"/>
                </a:cubicBezTo>
                <a:cubicBezTo>
                  <a:pt x="982" y="6517"/>
                  <a:pt x="1202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89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5" y="15429"/>
                  <a:pt x="18655" y="15775"/>
                  <a:pt x="18655" y="16200"/>
                </a:cubicBezTo>
                <a:cubicBezTo>
                  <a:pt x="18655" y="16626"/>
                  <a:pt x="18875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3255" y="16971"/>
                </a:moveTo>
                <a:cubicBezTo>
                  <a:pt x="12984" y="16971"/>
                  <a:pt x="12764" y="17317"/>
                  <a:pt x="12764" y="17743"/>
                </a:cubicBezTo>
                <a:cubicBezTo>
                  <a:pt x="12764" y="18169"/>
                  <a:pt x="12984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7"/>
                  <a:pt x="13525" y="16971"/>
                  <a:pt x="13255" y="169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804">
            <a:extLst>
              <a:ext uri="{FF2B5EF4-FFF2-40B4-BE49-F238E27FC236}">
                <a16:creationId xmlns:a16="http://schemas.microsoft.com/office/drawing/2014/main" id="{4B52EFE5-016F-4EF6-8138-A065FE7DD1FB}"/>
              </a:ext>
            </a:extLst>
          </p:cNvPr>
          <p:cNvSpPr/>
          <p:nvPr/>
        </p:nvSpPr>
        <p:spPr bwMode="gray">
          <a:xfrm>
            <a:off x="2834787" y="2379347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1057"/>
                </a:moveTo>
                <a:lnTo>
                  <a:pt x="10114" y="13116"/>
                </a:lnTo>
                <a:cubicBezTo>
                  <a:pt x="10458" y="13273"/>
                  <a:pt x="11518" y="13902"/>
                  <a:pt x="11675" y="12740"/>
                </a:cubicBezTo>
                <a:cubicBezTo>
                  <a:pt x="11839" y="11528"/>
                  <a:pt x="10736" y="11215"/>
                  <a:pt x="10393" y="11057"/>
                </a:cubicBezTo>
                <a:moveTo>
                  <a:pt x="10772" y="8246"/>
                </a:moveTo>
                <a:lnTo>
                  <a:pt x="10520" y="10114"/>
                </a:lnTo>
                <a:cubicBezTo>
                  <a:pt x="10806" y="10246"/>
                  <a:pt x="11689" y="10782"/>
                  <a:pt x="11832" y="9726"/>
                </a:cubicBezTo>
                <a:cubicBezTo>
                  <a:pt x="11981" y="8623"/>
                  <a:pt x="11059" y="8378"/>
                  <a:pt x="10772" y="8246"/>
                </a:cubicBezTo>
                <a:moveTo>
                  <a:pt x="12833" y="9742"/>
                </a:moveTo>
                <a:cubicBezTo>
                  <a:pt x="12767" y="10572"/>
                  <a:pt x="12517" y="10974"/>
                  <a:pt x="12186" y="11116"/>
                </a:cubicBezTo>
                <a:cubicBezTo>
                  <a:pt x="12641" y="11552"/>
                  <a:pt x="12872" y="12224"/>
                  <a:pt x="12652" y="13386"/>
                </a:cubicBezTo>
                <a:cubicBezTo>
                  <a:pt x="12378" y="14828"/>
                  <a:pt x="11728" y="14950"/>
                  <a:pt x="10863" y="14648"/>
                </a:cubicBezTo>
                <a:lnTo>
                  <a:pt x="10653" y="16200"/>
                </a:lnTo>
                <a:lnTo>
                  <a:pt x="10146" y="15966"/>
                </a:lnTo>
                <a:lnTo>
                  <a:pt x="10353" y="14435"/>
                </a:lnTo>
                <a:cubicBezTo>
                  <a:pt x="10222" y="14376"/>
                  <a:pt x="10088" y="14311"/>
                  <a:pt x="9949" y="14242"/>
                </a:cubicBezTo>
                <a:lnTo>
                  <a:pt x="9741" y="15780"/>
                </a:lnTo>
                <a:lnTo>
                  <a:pt x="9235" y="15548"/>
                </a:lnTo>
                <a:lnTo>
                  <a:pt x="9444" y="13993"/>
                </a:lnTo>
                <a:cubicBezTo>
                  <a:pt x="9326" y="13936"/>
                  <a:pt x="9206" y="13877"/>
                  <a:pt x="9083" y="13820"/>
                </a:cubicBezTo>
                <a:lnTo>
                  <a:pt x="8423" y="13517"/>
                </a:lnTo>
                <a:lnTo>
                  <a:pt x="8675" y="12446"/>
                </a:lnTo>
                <a:cubicBezTo>
                  <a:pt x="8675" y="12446"/>
                  <a:pt x="9049" y="12629"/>
                  <a:pt x="9043" y="12615"/>
                </a:cubicBezTo>
                <a:cubicBezTo>
                  <a:pt x="9187" y="12681"/>
                  <a:pt x="9251" y="12509"/>
                  <a:pt x="9276" y="12393"/>
                </a:cubicBezTo>
                <a:lnTo>
                  <a:pt x="9607" y="9940"/>
                </a:lnTo>
                <a:cubicBezTo>
                  <a:pt x="9626" y="9949"/>
                  <a:pt x="9644" y="9957"/>
                  <a:pt x="9661" y="9965"/>
                </a:cubicBezTo>
                <a:cubicBezTo>
                  <a:pt x="9641" y="9950"/>
                  <a:pt x="9623" y="9940"/>
                  <a:pt x="9608" y="9933"/>
                </a:cubicBezTo>
                <a:lnTo>
                  <a:pt x="9845" y="8183"/>
                </a:lnTo>
                <a:cubicBezTo>
                  <a:pt x="9851" y="7984"/>
                  <a:pt x="9814" y="7733"/>
                  <a:pt x="9608" y="7639"/>
                </a:cubicBezTo>
                <a:cubicBezTo>
                  <a:pt x="9616" y="7629"/>
                  <a:pt x="9240" y="7469"/>
                  <a:pt x="9240" y="7469"/>
                </a:cubicBezTo>
                <a:lnTo>
                  <a:pt x="9375" y="6471"/>
                </a:lnTo>
                <a:lnTo>
                  <a:pt x="10074" y="6793"/>
                </a:lnTo>
                <a:lnTo>
                  <a:pt x="10074" y="6798"/>
                </a:lnTo>
                <a:cubicBezTo>
                  <a:pt x="10179" y="6845"/>
                  <a:pt x="10288" y="6892"/>
                  <a:pt x="10398" y="6937"/>
                </a:cubicBezTo>
                <a:lnTo>
                  <a:pt x="10606" y="5401"/>
                </a:lnTo>
                <a:lnTo>
                  <a:pt x="11113" y="5634"/>
                </a:lnTo>
                <a:lnTo>
                  <a:pt x="10909" y="7140"/>
                </a:lnTo>
                <a:cubicBezTo>
                  <a:pt x="11045" y="7197"/>
                  <a:pt x="11182" y="7255"/>
                  <a:pt x="11315" y="7317"/>
                </a:cubicBezTo>
                <a:lnTo>
                  <a:pt x="11517" y="5821"/>
                </a:lnTo>
                <a:lnTo>
                  <a:pt x="12025" y="6054"/>
                </a:lnTo>
                <a:lnTo>
                  <a:pt x="11817" y="7590"/>
                </a:lnTo>
                <a:cubicBezTo>
                  <a:pt x="12457" y="7998"/>
                  <a:pt x="12926" y="8607"/>
                  <a:pt x="12833" y="9742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8" y="16200"/>
                  <a:pt x="15709" y="16603"/>
                  <a:pt x="15709" y="17100"/>
                </a:cubicBezTo>
                <a:cubicBezTo>
                  <a:pt x="15709" y="17598"/>
                  <a:pt x="15928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8"/>
                  <a:pt x="17673" y="17100"/>
                </a:cubicBezTo>
                <a:cubicBezTo>
                  <a:pt x="17673" y="16603"/>
                  <a:pt x="17453" y="16200"/>
                  <a:pt x="17182" y="162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3"/>
                  <a:pt x="3927" y="4500"/>
                </a:cubicBezTo>
                <a:cubicBezTo>
                  <a:pt x="3927" y="4998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8"/>
                  <a:pt x="5891" y="4500"/>
                </a:cubicBezTo>
                <a:cubicBezTo>
                  <a:pt x="5891" y="4003"/>
                  <a:pt x="5671" y="3600"/>
                  <a:pt x="5400" y="3600"/>
                </a:cubicBezTo>
                <a:moveTo>
                  <a:pt x="20127" y="3600"/>
                </a:moveTo>
                <a:cubicBezTo>
                  <a:pt x="19856" y="3600"/>
                  <a:pt x="19636" y="3198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0"/>
                </a:cubicBezTo>
                <a:cubicBezTo>
                  <a:pt x="20618" y="3198"/>
                  <a:pt x="20398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10"/>
                  <a:pt x="18655" y="18900"/>
                </a:cubicBezTo>
                <a:cubicBezTo>
                  <a:pt x="18655" y="19217"/>
                  <a:pt x="18690" y="19518"/>
                  <a:pt x="18744" y="19800"/>
                </a:cubicBezTo>
                <a:lnTo>
                  <a:pt x="2855" y="19800"/>
                </a:lnTo>
                <a:cubicBezTo>
                  <a:pt x="2910" y="19518"/>
                  <a:pt x="2945" y="19217"/>
                  <a:pt x="2945" y="18900"/>
                </a:cubicBezTo>
                <a:cubicBezTo>
                  <a:pt x="2945" y="17410"/>
                  <a:pt x="2286" y="16200"/>
                  <a:pt x="1473" y="16200"/>
                </a:cubicBezTo>
                <a:cubicBezTo>
                  <a:pt x="1299" y="16200"/>
                  <a:pt x="1136" y="16265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0"/>
                  <a:pt x="1473" y="5400"/>
                </a:cubicBezTo>
                <a:cubicBezTo>
                  <a:pt x="2286" y="5400"/>
                  <a:pt x="2945" y="4192"/>
                  <a:pt x="2945" y="2700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90" y="2083"/>
                  <a:pt x="18655" y="2383"/>
                  <a:pt x="18655" y="2700"/>
                </a:cubicBezTo>
                <a:cubicBezTo>
                  <a:pt x="18655" y="4192"/>
                  <a:pt x="19314" y="5400"/>
                  <a:pt x="20127" y="5400"/>
                </a:cubicBezTo>
                <a:cubicBezTo>
                  <a:pt x="20300" y="5400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8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8" y="18000"/>
                  <a:pt x="20618" y="18403"/>
                  <a:pt x="20618" y="18900"/>
                </a:cubicBezTo>
                <a:cubicBezTo>
                  <a:pt x="20618" y="19398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8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8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8"/>
                  <a:pt x="1744" y="3600"/>
                  <a:pt x="1473" y="3600"/>
                </a:cubicBezTo>
                <a:cubicBezTo>
                  <a:pt x="1201" y="3600"/>
                  <a:pt x="982" y="3198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805">
            <a:extLst>
              <a:ext uri="{FF2B5EF4-FFF2-40B4-BE49-F238E27FC236}">
                <a16:creationId xmlns:a16="http://schemas.microsoft.com/office/drawing/2014/main" id="{8AC75C95-3B7A-4FF3-8BBA-25E4FE29E545}"/>
              </a:ext>
            </a:extLst>
          </p:cNvPr>
          <p:cNvSpPr/>
          <p:nvPr/>
        </p:nvSpPr>
        <p:spPr bwMode="gray">
          <a:xfrm>
            <a:off x="3389098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3692"/>
                </a:moveTo>
                <a:lnTo>
                  <a:pt x="10114" y="15237"/>
                </a:lnTo>
                <a:cubicBezTo>
                  <a:pt x="10458" y="15355"/>
                  <a:pt x="11518" y="15826"/>
                  <a:pt x="11675" y="14955"/>
                </a:cubicBezTo>
                <a:cubicBezTo>
                  <a:pt x="11839" y="14046"/>
                  <a:pt x="10737" y="13811"/>
                  <a:pt x="10393" y="13692"/>
                </a:cubicBezTo>
                <a:moveTo>
                  <a:pt x="12834" y="12706"/>
                </a:moveTo>
                <a:cubicBezTo>
                  <a:pt x="12767" y="13329"/>
                  <a:pt x="12517" y="13631"/>
                  <a:pt x="12186" y="13737"/>
                </a:cubicBezTo>
                <a:cubicBezTo>
                  <a:pt x="12641" y="14064"/>
                  <a:pt x="12873" y="14567"/>
                  <a:pt x="12652" y="15439"/>
                </a:cubicBezTo>
                <a:cubicBezTo>
                  <a:pt x="12378" y="16521"/>
                  <a:pt x="11728" y="16613"/>
                  <a:pt x="10863" y="16386"/>
                </a:cubicBezTo>
                <a:lnTo>
                  <a:pt x="10653" y="17550"/>
                </a:lnTo>
                <a:lnTo>
                  <a:pt x="10147" y="17375"/>
                </a:lnTo>
                <a:lnTo>
                  <a:pt x="10354" y="16227"/>
                </a:lnTo>
                <a:cubicBezTo>
                  <a:pt x="10222" y="16182"/>
                  <a:pt x="10088" y="16133"/>
                  <a:pt x="9950" y="16081"/>
                </a:cubicBezTo>
                <a:lnTo>
                  <a:pt x="9741" y="17235"/>
                </a:lnTo>
                <a:lnTo>
                  <a:pt x="9235" y="17061"/>
                </a:lnTo>
                <a:lnTo>
                  <a:pt x="9445" y="15894"/>
                </a:lnTo>
                <a:cubicBezTo>
                  <a:pt x="9326" y="15852"/>
                  <a:pt x="9206" y="15808"/>
                  <a:pt x="9083" y="15765"/>
                </a:cubicBezTo>
                <a:lnTo>
                  <a:pt x="8424" y="15538"/>
                </a:lnTo>
                <a:lnTo>
                  <a:pt x="8675" y="14735"/>
                </a:lnTo>
                <a:cubicBezTo>
                  <a:pt x="8675" y="14735"/>
                  <a:pt x="9049" y="14872"/>
                  <a:pt x="9044" y="14862"/>
                </a:cubicBezTo>
                <a:cubicBezTo>
                  <a:pt x="9187" y="14911"/>
                  <a:pt x="9251" y="14781"/>
                  <a:pt x="9276" y="14695"/>
                </a:cubicBezTo>
                <a:lnTo>
                  <a:pt x="9608" y="12855"/>
                </a:lnTo>
                <a:cubicBezTo>
                  <a:pt x="9626" y="12862"/>
                  <a:pt x="9645" y="12868"/>
                  <a:pt x="9661" y="12874"/>
                </a:cubicBezTo>
                <a:cubicBezTo>
                  <a:pt x="9641" y="12862"/>
                  <a:pt x="9623" y="12855"/>
                  <a:pt x="9609" y="12850"/>
                </a:cubicBezTo>
                <a:lnTo>
                  <a:pt x="9845" y="11537"/>
                </a:lnTo>
                <a:cubicBezTo>
                  <a:pt x="9852" y="11388"/>
                  <a:pt x="9814" y="11200"/>
                  <a:pt x="9609" y="11129"/>
                </a:cubicBezTo>
                <a:cubicBezTo>
                  <a:pt x="9617" y="11121"/>
                  <a:pt x="9241" y="11002"/>
                  <a:pt x="9241" y="11002"/>
                </a:cubicBezTo>
                <a:lnTo>
                  <a:pt x="9376" y="10253"/>
                </a:lnTo>
                <a:lnTo>
                  <a:pt x="10075" y="10494"/>
                </a:lnTo>
                <a:lnTo>
                  <a:pt x="10074" y="10498"/>
                </a:lnTo>
                <a:cubicBezTo>
                  <a:pt x="10180" y="10534"/>
                  <a:pt x="10288" y="10569"/>
                  <a:pt x="10398" y="10603"/>
                </a:cubicBezTo>
                <a:lnTo>
                  <a:pt x="10606" y="9451"/>
                </a:lnTo>
                <a:lnTo>
                  <a:pt x="11113" y="9626"/>
                </a:lnTo>
                <a:lnTo>
                  <a:pt x="10909" y="10755"/>
                </a:lnTo>
                <a:cubicBezTo>
                  <a:pt x="11045" y="10798"/>
                  <a:pt x="11182" y="10842"/>
                  <a:pt x="11316" y="10887"/>
                </a:cubicBezTo>
                <a:lnTo>
                  <a:pt x="11518" y="9765"/>
                </a:lnTo>
                <a:lnTo>
                  <a:pt x="12025" y="9940"/>
                </a:lnTo>
                <a:lnTo>
                  <a:pt x="11817" y="11093"/>
                </a:lnTo>
                <a:cubicBezTo>
                  <a:pt x="12457" y="11398"/>
                  <a:pt x="12926" y="11855"/>
                  <a:pt x="12834" y="12706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2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2"/>
                  <a:pt x="5671" y="8100"/>
                  <a:pt x="54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3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3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10773" y="11584"/>
                </a:moveTo>
                <a:lnTo>
                  <a:pt x="10520" y="12985"/>
                </a:lnTo>
                <a:cubicBezTo>
                  <a:pt x="10807" y="13084"/>
                  <a:pt x="11689" y="13487"/>
                  <a:pt x="11832" y="12694"/>
                </a:cubicBezTo>
                <a:cubicBezTo>
                  <a:pt x="11981" y="11867"/>
                  <a:pt x="11059" y="11683"/>
                  <a:pt x="10773" y="11584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5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5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806">
            <a:extLst>
              <a:ext uri="{FF2B5EF4-FFF2-40B4-BE49-F238E27FC236}">
                <a16:creationId xmlns:a16="http://schemas.microsoft.com/office/drawing/2014/main" id="{FFAD0FDD-75C9-434A-9AF0-35D10088044F}"/>
              </a:ext>
            </a:extLst>
          </p:cNvPr>
          <p:cNvSpPr/>
          <p:nvPr/>
        </p:nvSpPr>
        <p:spPr bwMode="gray">
          <a:xfrm>
            <a:off x="3943410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442" y="12358"/>
                </a:moveTo>
                <a:cubicBezTo>
                  <a:pt x="10390" y="12952"/>
                  <a:pt x="10196" y="13240"/>
                  <a:pt x="9938" y="13340"/>
                </a:cubicBezTo>
                <a:cubicBezTo>
                  <a:pt x="10292" y="13653"/>
                  <a:pt x="10472" y="14131"/>
                  <a:pt x="10300" y="14961"/>
                </a:cubicBezTo>
                <a:cubicBezTo>
                  <a:pt x="10088" y="15991"/>
                  <a:pt x="9582" y="16078"/>
                  <a:pt x="8910" y="15863"/>
                </a:cubicBezTo>
                <a:lnTo>
                  <a:pt x="8746" y="16971"/>
                </a:lnTo>
                <a:lnTo>
                  <a:pt x="8352" y="16805"/>
                </a:lnTo>
                <a:lnTo>
                  <a:pt x="8513" y="15711"/>
                </a:lnTo>
                <a:cubicBezTo>
                  <a:pt x="8411" y="15668"/>
                  <a:pt x="8306" y="15622"/>
                  <a:pt x="8199" y="15573"/>
                </a:cubicBezTo>
                <a:lnTo>
                  <a:pt x="8037" y="16672"/>
                </a:lnTo>
                <a:lnTo>
                  <a:pt x="7643" y="16505"/>
                </a:lnTo>
                <a:lnTo>
                  <a:pt x="7806" y="15395"/>
                </a:lnTo>
                <a:cubicBezTo>
                  <a:pt x="7714" y="15355"/>
                  <a:pt x="7621" y="15312"/>
                  <a:pt x="7525" y="15272"/>
                </a:cubicBezTo>
                <a:lnTo>
                  <a:pt x="7012" y="15055"/>
                </a:lnTo>
                <a:lnTo>
                  <a:pt x="7207" y="14290"/>
                </a:lnTo>
                <a:cubicBezTo>
                  <a:pt x="7207" y="14290"/>
                  <a:pt x="7498" y="14421"/>
                  <a:pt x="7495" y="14412"/>
                </a:cubicBezTo>
                <a:cubicBezTo>
                  <a:pt x="7606" y="14459"/>
                  <a:pt x="7656" y="14335"/>
                  <a:pt x="7675" y="14252"/>
                </a:cubicBezTo>
                <a:lnTo>
                  <a:pt x="7933" y="12501"/>
                </a:lnTo>
                <a:cubicBezTo>
                  <a:pt x="7948" y="12506"/>
                  <a:pt x="7961" y="12512"/>
                  <a:pt x="7974" y="12518"/>
                </a:cubicBezTo>
                <a:cubicBezTo>
                  <a:pt x="7959" y="12507"/>
                  <a:pt x="7945" y="12501"/>
                  <a:pt x="7934" y="12495"/>
                </a:cubicBezTo>
                <a:lnTo>
                  <a:pt x="8118" y="11245"/>
                </a:lnTo>
                <a:cubicBezTo>
                  <a:pt x="8122" y="11103"/>
                  <a:pt x="8093" y="10924"/>
                  <a:pt x="7934" y="10856"/>
                </a:cubicBezTo>
                <a:cubicBezTo>
                  <a:pt x="7940" y="10849"/>
                  <a:pt x="7647" y="10735"/>
                  <a:pt x="7647" y="10735"/>
                </a:cubicBezTo>
                <a:lnTo>
                  <a:pt x="7752" y="10022"/>
                </a:lnTo>
                <a:lnTo>
                  <a:pt x="8297" y="10252"/>
                </a:lnTo>
                <a:lnTo>
                  <a:pt x="8296" y="10255"/>
                </a:lnTo>
                <a:cubicBezTo>
                  <a:pt x="8378" y="10289"/>
                  <a:pt x="8462" y="10322"/>
                  <a:pt x="8548" y="10356"/>
                </a:cubicBezTo>
                <a:lnTo>
                  <a:pt x="8709" y="9258"/>
                </a:lnTo>
                <a:lnTo>
                  <a:pt x="9103" y="9424"/>
                </a:lnTo>
                <a:lnTo>
                  <a:pt x="8945" y="10500"/>
                </a:lnTo>
                <a:cubicBezTo>
                  <a:pt x="9051" y="10541"/>
                  <a:pt x="9158" y="10582"/>
                  <a:pt x="9261" y="10627"/>
                </a:cubicBezTo>
                <a:lnTo>
                  <a:pt x="9418" y="9557"/>
                </a:lnTo>
                <a:lnTo>
                  <a:pt x="9813" y="9724"/>
                </a:lnTo>
                <a:lnTo>
                  <a:pt x="9651" y="10822"/>
                </a:lnTo>
                <a:cubicBezTo>
                  <a:pt x="10149" y="11112"/>
                  <a:pt x="10513" y="11548"/>
                  <a:pt x="10442" y="123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13255" y="16971"/>
                </a:moveTo>
                <a:cubicBezTo>
                  <a:pt x="12983" y="16971"/>
                  <a:pt x="12764" y="17318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6" y="18514"/>
                  <a:pt x="13745" y="18169"/>
                  <a:pt x="13745" y="17743"/>
                </a:cubicBezTo>
                <a:cubicBezTo>
                  <a:pt x="13745" y="17318"/>
                  <a:pt x="13526" y="16971"/>
                  <a:pt x="13255" y="16971"/>
                </a:cubicBezTo>
                <a:moveTo>
                  <a:pt x="8839" y="11290"/>
                </a:moveTo>
                <a:lnTo>
                  <a:pt x="8643" y="12624"/>
                </a:lnTo>
                <a:cubicBezTo>
                  <a:pt x="8865" y="12718"/>
                  <a:pt x="9552" y="13102"/>
                  <a:pt x="9663" y="12347"/>
                </a:cubicBezTo>
                <a:cubicBezTo>
                  <a:pt x="9778" y="11559"/>
                  <a:pt x="9062" y="11384"/>
                  <a:pt x="8839" y="11290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90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7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7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300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300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7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60"/>
                  <a:pt x="1201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7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543" y="13297"/>
                </a:moveTo>
                <a:lnTo>
                  <a:pt x="8327" y="14769"/>
                </a:lnTo>
                <a:cubicBezTo>
                  <a:pt x="8595" y="14882"/>
                  <a:pt x="9419" y="15330"/>
                  <a:pt x="9541" y="14500"/>
                </a:cubicBezTo>
                <a:cubicBezTo>
                  <a:pt x="9669" y="13634"/>
                  <a:pt x="8811" y="13410"/>
                  <a:pt x="8543" y="13297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90" y="9257"/>
                  <a:pt x="4909" y="8912"/>
                  <a:pt x="4909" y="8486"/>
                </a:cubicBezTo>
                <a:cubicBezTo>
                  <a:pt x="4909" y="8060"/>
                  <a:pt x="4690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807">
            <a:extLst>
              <a:ext uri="{FF2B5EF4-FFF2-40B4-BE49-F238E27FC236}">
                <a16:creationId xmlns:a16="http://schemas.microsoft.com/office/drawing/2014/main" id="{F9B6EB58-2AA9-4868-A2A4-724B709CB146}"/>
              </a:ext>
            </a:extLst>
          </p:cNvPr>
          <p:cNvSpPr/>
          <p:nvPr/>
        </p:nvSpPr>
        <p:spPr bwMode="gray">
          <a:xfrm>
            <a:off x="4497722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2150"/>
                </a:moveTo>
                <a:lnTo>
                  <a:pt x="17294" y="9450"/>
                </a:lnTo>
                <a:lnTo>
                  <a:pt x="19843" y="9450"/>
                </a:lnTo>
                <a:lnTo>
                  <a:pt x="19406" y="12150"/>
                </a:lnTo>
                <a:cubicBezTo>
                  <a:pt x="19406" y="12150"/>
                  <a:pt x="17075" y="12150"/>
                  <a:pt x="17075" y="12150"/>
                </a:cubicBezTo>
                <a:close/>
                <a:moveTo>
                  <a:pt x="18752" y="16200"/>
                </a:moveTo>
                <a:lnTo>
                  <a:pt x="16748" y="16200"/>
                </a:lnTo>
                <a:lnTo>
                  <a:pt x="16967" y="13500"/>
                </a:lnTo>
                <a:lnTo>
                  <a:pt x="19188" y="13500"/>
                </a:lnTo>
                <a:cubicBezTo>
                  <a:pt x="19188" y="13500"/>
                  <a:pt x="18752" y="16200"/>
                  <a:pt x="18752" y="16200"/>
                </a:cubicBezTo>
                <a:close/>
                <a:moveTo>
                  <a:pt x="17673" y="20250"/>
                </a:moveTo>
                <a:cubicBezTo>
                  <a:pt x="17131" y="20250"/>
                  <a:pt x="16691" y="19645"/>
                  <a:pt x="16691" y="18900"/>
                </a:cubicBezTo>
                <a:cubicBezTo>
                  <a:pt x="16691" y="18155"/>
                  <a:pt x="17131" y="17550"/>
                  <a:pt x="17673" y="17550"/>
                </a:cubicBezTo>
                <a:cubicBezTo>
                  <a:pt x="18215" y="17550"/>
                  <a:pt x="18655" y="18155"/>
                  <a:pt x="18655" y="18900"/>
                </a:cubicBezTo>
                <a:cubicBezTo>
                  <a:pt x="18655" y="19645"/>
                  <a:pt x="18215" y="20250"/>
                  <a:pt x="17673" y="20250"/>
                </a:cubicBezTo>
                <a:moveTo>
                  <a:pt x="16415" y="8100"/>
                </a:moveTo>
                <a:lnTo>
                  <a:pt x="13745" y="8100"/>
                </a:lnTo>
                <a:lnTo>
                  <a:pt x="13745" y="5400"/>
                </a:lnTo>
                <a:lnTo>
                  <a:pt x="16633" y="5400"/>
                </a:lnTo>
                <a:cubicBezTo>
                  <a:pt x="16633" y="5400"/>
                  <a:pt x="16415" y="8100"/>
                  <a:pt x="16415" y="8100"/>
                </a:cubicBezTo>
                <a:close/>
                <a:moveTo>
                  <a:pt x="16088" y="12150"/>
                </a:moveTo>
                <a:lnTo>
                  <a:pt x="13745" y="12150"/>
                </a:lnTo>
                <a:lnTo>
                  <a:pt x="13745" y="9450"/>
                </a:lnTo>
                <a:lnTo>
                  <a:pt x="16306" y="9450"/>
                </a:lnTo>
                <a:cubicBezTo>
                  <a:pt x="16306" y="9450"/>
                  <a:pt x="16088" y="12150"/>
                  <a:pt x="16088" y="12150"/>
                </a:cubicBezTo>
                <a:close/>
                <a:moveTo>
                  <a:pt x="15761" y="16200"/>
                </a:moveTo>
                <a:lnTo>
                  <a:pt x="13745" y="16200"/>
                </a:lnTo>
                <a:lnTo>
                  <a:pt x="13745" y="13500"/>
                </a:lnTo>
                <a:lnTo>
                  <a:pt x="15979" y="13500"/>
                </a:lnTo>
                <a:cubicBezTo>
                  <a:pt x="15979" y="13500"/>
                  <a:pt x="15761" y="16200"/>
                  <a:pt x="15761" y="16200"/>
                </a:cubicBezTo>
                <a:close/>
                <a:moveTo>
                  <a:pt x="12764" y="8100"/>
                </a:moveTo>
                <a:lnTo>
                  <a:pt x="10094" y="8100"/>
                </a:lnTo>
                <a:lnTo>
                  <a:pt x="9876" y="5400"/>
                </a:lnTo>
                <a:lnTo>
                  <a:pt x="12764" y="5400"/>
                </a:lnTo>
                <a:cubicBezTo>
                  <a:pt x="12764" y="5400"/>
                  <a:pt x="12764" y="8100"/>
                  <a:pt x="12764" y="8100"/>
                </a:cubicBezTo>
                <a:close/>
                <a:moveTo>
                  <a:pt x="12764" y="12150"/>
                </a:moveTo>
                <a:lnTo>
                  <a:pt x="10421" y="12150"/>
                </a:lnTo>
                <a:lnTo>
                  <a:pt x="10203" y="9450"/>
                </a:lnTo>
                <a:lnTo>
                  <a:pt x="12764" y="9450"/>
                </a:lnTo>
                <a:cubicBezTo>
                  <a:pt x="12764" y="9450"/>
                  <a:pt x="12764" y="12150"/>
                  <a:pt x="12764" y="12150"/>
                </a:cubicBezTo>
                <a:close/>
                <a:moveTo>
                  <a:pt x="12764" y="16200"/>
                </a:moveTo>
                <a:lnTo>
                  <a:pt x="10748" y="16200"/>
                </a:lnTo>
                <a:lnTo>
                  <a:pt x="10531" y="13500"/>
                </a:lnTo>
                <a:lnTo>
                  <a:pt x="12764" y="13500"/>
                </a:lnTo>
                <a:cubicBezTo>
                  <a:pt x="12764" y="13500"/>
                  <a:pt x="12764" y="16200"/>
                  <a:pt x="12764" y="16200"/>
                </a:cubicBezTo>
                <a:close/>
                <a:moveTo>
                  <a:pt x="8836" y="20250"/>
                </a:moveTo>
                <a:cubicBezTo>
                  <a:pt x="8294" y="20250"/>
                  <a:pt x="7855" y="19645"/>
                  <a:pt x="7855" y="18900"/>
                </a:cubicBezTo>
                <a:cubicBezTo>
                  <a:pt x="7855" y="18155"/>
                  <a:pt x="8294" y="17550"/>
                  <a:pt x="8836" y="17550"/>
                </a:cubicBezTo>
                <a:cubicBezTo>
                  <a:pt x="9379" y="17550"/>
                  <a:pt x="9818" y="18155"/>
                  <a:pt x="9818" y="18900"/>
                </a:cubicBezTo>
                <a:cubicBezTo>
                  <a:pt x="9818" y="19645"/>
                  <a:pt x="9379" y="20250"/>
                  <a:pt x="8836" y="20250"/>
                </a:cubicBezTo>
                <a:moveTo>
                  <a:pt x="7213" y="13500"/>
                </a:moveTo>
                <a:lnTo>
                  <a:pt x="9543" y="13500"/>
                </a:lnTo>
                <a:lnTo>
                  <a:pt x="9761" y="16200"/>
                </a:lnTo>
                <a:lnTo>
                  <a:pt x="7740" y="16200"/>
                </a:lnTo>
                <a:cubicBezTo>
                  <a:pt x="7740" y="16200"/>
                  <a:pt x="7213" y="13500"/>
                  <a:pt x="7213" y="13500"/>
                </a:cubicBezTo>
                <a:close/>
                <a:moveTo>
                  <a:pt x="6950" y="12150"/>
                </a:moveTo>
                <a:lnTo>
                  <a:pt x="6423" y="9450"/>
                </a:lnTo>
                <a:lnTo>
                  <a:pt x="9215" y="9450"/>
                </a:lnTo>
                <a:lnTo>
                  <a:pt x="9434" y="12150"/>
                </a:lnTo>
                <a:cubicBezTo>
                  <a:pt x="9434" y="12150"/>
                  <a:pt x="6950" y="12150"/>
                  <a:pt x="6950" y="12150"/>
                </a:cubicBezTo>
                <a:close/>
                <a:moveTo>
                  <a:pt x="5633" y="5400"/>
                </a:moveTo>
                <a:lnTo>
                  <a:pt x="8888" y="5400"/>
                </a:lnTo>
                <a:lnTo>
                  <a:pt x="9106" y="8100"/>
                </a:lnTo>
                <a:lnTo>
                  <a:pt x="6160" y="8100"/>
                </a:lnTo>
                <a:cubicBezTo>
                  <a:pt x="6160" y="8100"/>
                  <a:pt x="5633" y="5400"/>
                  <a:pt x="5633" y="5400"/>
                </a:cubicBezTo>
                <a:close/>
                <a:moveTo>
                  <a:pt x="17621" y="5400"/>
                </a:moveTo>
                <a:lnTo>
                  <a:pt x="20497" y="5400"/>
                </a:lnTo>
                <a:lnTo>
                  <a:pt x="20061" y="8100"/>
                </a:lnTo>
                <a:lnTo>
                  <a:pt x="17403" y="8100"/>
                </a:lnTo>
                <a:cubicBezTo>
                  <a:pt x="17403" y="8100"/>
                  <a:pt x="17621" y="5400"/>
                  <a:pt x="17621" y="5400"/>
                </a:cubicBezTo>
                <a:close/>
                <a:moveTo>
                  <a:pt x="19619" y="17038"/>
                </a:moveTo>
                <a:lnTo>
                  <a:pt x="19622" y="17038"/>
                </a:lnTo>
                <a:lnTo>
                  <a:pt x="21586" y="4889"/>
                </a:lnTo>
                <a:lnTo>
                  <a:pt x="21577" y="4886"/>
                </a:lnTo>
                <a:cubicBezTo>
                  <a:pt x="21586" y="4833"/>
                  <a:pt x="21600" y="4782"/>
                  <a:pt x="21600" y="4725"/>
                </a:cubicBezTo>
                <a:cubicBezTo>
                  <a:pt x="21600" y="4352"/>
                  <a:pt x="21380" y="4050"/>
                  <a:pt x="21109" y="4050"/>
                </a:cubicBezTo>
                <a:lnTo>
                  <a:pt x="5370" y="4050"/>
                </a:lnTo>
                <a:lnTo>
                  <a:pt x="4674" y="481"/>
                </a:lnTo>
                <a:lnTo>
                  <a:pt x="4667" y="484"/>
                </a:lnTo>
                <a:cubicBezTo>
                  <a:pt x="4605" y="207"/>
                  <a:pt x="4425" y="0"/>
                  <a:pt x="4203" y="0"/>
                </a:cubicBezTo>
                <a:lnTo>
                  <a:pt x="491" y="0"/>
                </a:lnTo>
                <a:cubicBezTo>
                  <a:pt x="220" y="0"/>
                  <a:pt x="0" y="302"/>
                  <a:pt x="0" y="675"/>
                </a:cubicBezTo>
                <a:cubicBezTo>
                  <a:pt x="0" y="1048"/>
                  <a:pt x="220" y="1350"/>
                  <a:pt x="491" y="1350"/>
                </a:cubicBezTo>
                <a:lnTo>
                  <a:pt x="3827" y="1350"/>
                </a:lnTo>
                <a:lnTo>
                  <a:pt x="6893" y="17069"/>
                </a:lnTo>
                <a:lnTo>
                  <a:pt x="6894" y="17069"/>
                </a:lnTo>
                <a:cubicBezTo>
                  <a:pt x="6936" y="17259"/>
                  <a:pt x="7037" y="17414"/>
                  <a:pt x="7168" y="17493"/>
                </a:cubicBezTo>
                <a:cubicBezTo>
                  <a:pt x="6984" y="17903"/>
                  <a:pt x="6873" y="18383"/>
                  <a:pt x="6873" y="18900"/>
                </a:cubicBezTo>
                <a:cubicBezTo>
                  <a:pt x="6873" y="20391"/>
                  <a:pt x="7752" y="21600"/>
                  <a:pt x="8836" y="21600"/>
                </a:cubicBezTo>
                <a:cubicBezTo>
                  <a:pt x="9921" y="21600"/>
                  <a:pt x="10800" y="20391"/>
                  <a:pt x="10800" y="18900"/>
                </a:cubicBezTo>
                <a:cubicBezTo>
                  <a:pt x="10800" y="18406"/>
                  <a:pt x="10696" y="17949"/>
                  <a:pt x="10528" y="17550"/>
                </a:cubicBezTo>
                <a:lnTo>
                  <a:pt x="15981" y="17550"/>
                </a:lnTo>
                <a:cubicBezTo>
                  <a:pt x="15813" y="17949"/>
                  <a:pt x="15709" y="18406"/>
                  <a:pt x="15709" y="18900"/>
                </a:cubicBezTo>
                <a:cubicBezTo>
                  <a:pt x="15709" y="20391"/>
                  <a:pt x="16588" y="21600"/>
                  <a:pt x="17673" y="21600"/>
                </a:cubicBezTo>
                <a:cubicBezTo>
                  <a:pt x="18757" y="21600"/>
                  <a:pt x="19636" y="20391"/>
                  <a:pt x="19636" y="18900"/>
                </a:cubicBezTo>
                <a:cubicBezTo>
                  <a:pt x="19636" y="18383"/>
                  <a:pt x="19525" y="17903"/>
                  <a:pt x="19341" y="17493"/>
                </a:cubicBezTo>
                <a:cubicBezTo>
                  <a:pt x="19479" y="17410"/>
                  <a:pt x="19581" y="17242"/>
                  <a:pt x="19619" y="1703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808">
            <a:extLst>
              <a:ext uri="{FF2B5EF4-FFF2-40B4-BE49-F238E27FC236}">
                <a16:creationId xmlns:a16="http://schemas.microsoft.com/office/drawing/2014/main" id="{C4BF49B5-7A01-4CD6-8769-40BCAB8AC4E1}"/>
              </a:ext>
            </a:extLst>
          </p:cNvPr>
          <p:cNvSpPr/>
          <p:nvPr/>
        </p:nvSpPr>
        <p:spPr bwMode="gray">
          <a:xfrm>
            <a:off x="5052034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5" y="14727"/>
                  <a:pt x="17075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6" y="9447"/>
                </a:lnTo>
                <a:lnTo>
                  <a:pt x="21577" y="9444"/>
                </a:lnTo>
                <a:cubicBezTo>
                  <a:pt x="21586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6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1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2907" y="7711"/>
                </a:moveTo>
                <a:cubicBezTo>
                  <a:pt x="12996" y="7800"/>
                  <a:pt x="13119" y="7855"/>
                  <a:pt x="13255" y="7855"/>
                </a:cubicBezTo>
                <a:cubicBezTo>
                  <a:pt x="13390" y="7855"/>
                  <a:pt x="13513" y="7800"/>
                  <a:pt x="13602" y="7711"/>
                </a:cubicBezTo>
                <a:lnTo>
                  <a:pt x="15565" y="5747"/>
                </a:lnTo>
                <a:cubicBezTo>
                  <a:pt x="15654" y="5658"/>
                  <a:pt x="15709" y="5536"/>
                  <a:pt x="15709" y="5400"/>
                </a:cubicBezTo>
                <a:cubicBezTo>
                  <a:pt x="15709" y="5129"/>
                  <a:pt x="15490" y="4910"/>
                  <a:pt x="15218" y="4910"/>
                </a:cubicBezTo>
                <a:cubicBezTo>
                  <a:pt x="15083" y="4910"/>
                  <a:pt x="14960" y="4964"/>
                  <a:pt x="14871" y="5053"/>
                </a:cubicBezTo>
                <a:lnTo>
                  <a:pt x="13745" y="6179"/>
                </a:lnTo>
                <a:lnTo>
                  <a:pt x="13745" y="491"/>
                </a:lnTo>
                <a:lnTo>
                  <a:pt x="13745" y="491"/>
                </a:lnTo>
                <a:cubicBezTo>
                  <a:pt x="13745" y="220"/>
                  <a:pt x="13526" y="0"/>
                  <a:pt x="13255" y="0"/>
                </a:cubicBezTo>
                <a:cubicBezTo>
                  <a:pt x="12983" y="0"/>
                  <a:pt x="12764" y="220"/>
                  <a:pt x="12764" y="491"/>
                </a:cubicBezTo>
                <a:lnTo>
                  <a:pt x="12764" y="6179"/>
                </a:lnTo>
                <a:lnTo>
                  <a:pt x="11638" y="5053"/>
                </a:lnTo>
                <a:cubicBezTo>
                  <a:pt x="11549" y="4964"/>
                  <a:pt x="11427" y="4910"/>
                  <a:pt x="11291" y="4910"/>
                </a:cubicBezTo>
                <a:cubicBezTo>
                  <a:pt x="11020" y="4910"/>
                  <a:pt x="10800" y="5129"/>
                  <a:pt x="10800" y="5400"/>
                </a:cubicBezTo>
                <a:cubicBezTo>
                  <a:pt x="10800" y="5536"/>
                  <a:pt x="10855" y="5658"/>
                  <a:pt x="10944" y="5747"/>
                </a:cubicBezTo>
                <a:cubicBezTo>
                  <a:pt x="10944" y="5747"/>
                  <a:pt x="12907" y="7711"/>
                  <a:pt x="12907" y="7711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809">
            <a:extLst>
              <a:ext uri="{FF2B5EF4-FFF2-40B4-BE49-F238E27FC236}">
                <a16:creationId xmlns:a16="http://schemas.microsoft.com/office/drawing/2014/main" id="{33E25693-2A21-47F8-A357-42AEAEA00D79}"/>
              </a:ext>
            </a:extLst>
          </p:cNvPr>
          <p:cNvSpPr/>
          <p:nvPr/>
        </p:nvSpPr>
        <p:spPr bwMode="gray">
          <a:xfrm>
            <a:off x="5606346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6" y="14727"/>
                  <a:pt x="17076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5" y="9447"/>
                </a:lnTo>
                <a:lnTo>
                  <a:pt x="21577" y="9444"/>
                </a:lnTo>
                <a:cubicBezTo>
                  <a:pt x="21587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5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2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1291" y="2945"/>
                </a:moveTo>
                <a:cubicBezTo>
                  <a:pt x="11427" y="2945"/>
                  <a:pt x="11549" y="2891"/>
                  <a:pt x="11638" y="2802"/>
                </a:cubicBezTo>
                <a:lnTo>
                  <a:pt x="12764" y="1676"/>
                </a:lnTo>
                <a:lnTo>
                  <a:pt x="12764" y="7364"/>
                </a:lnTo>
                <a:cubicBezTo>
                  <a:pt x="12764" y="7634"/>
                  <a:pt x="12983" y="7855"/>
                  <a:pt x="13255" y="7855"/>
                </a:cubicBezTo>
                <a:cubicBezTo>
                  <a:pt x="13526" y="7855"/>
                  <a:pt x="13745" y="7634"/>
                  <a:pt x="13745" y="7364"/>
                </a:cubicBezTo>
                <a:lnTo>
                  <a:pt x="13745" y="1676"/>
                </a:lnTo>
                <a:lnTo>
                  <a:pt x="14871" y="2802"/>
                </a:lnTo>
                <a:cubicBezTo>
                  <a:pt x="14959" y="2891"/>
                  <a:pt x="15082" y="2945"/>
                  <a:pt x="15218" y="2945"/>
                </a:cubicBezTo>
                <a:cubicBezTo>
                  <a:pt x="15490" y="2945"/>
                  <a:pt x="15709" y="2726"/>
                  <a:pt x="15709" y="2455"/>
                </a:cubicBezTo>
                <a:cubicBezTo>
                  <a:pt x="15709" y="2319"/>
                  <a:pt x="15654" y="2196"/>
                  <a:pt x="15565" y="2107"/>
                </a:cubicBezTo>
                <a:lnTo>
                  <a:pt x="13602" y="144"/>
                </a:lnTo>
                <a:cubicBezTo>
                  <a:pt x="13513" y="55"/>
                  <a:pt x="13390" y="0"/>
                  <a:pt x="13255" y="0"/>
                </a:cubicBezTo>
                <a:cubicBezTo>
                  <a:pt x="13118" y="0"/>
                  <a:pt x="12996" y="55"/>
                  <a:pt x="12907" y="144"/>
                </a:cubicBezTo>
                <a:lnTo>
                  <a:pt x="10944" y="2107"/>
                </a:lnTo>
                <a:cubicBezTo>
                  <a:pt x="10855" y="2196"/>
                  <a:pt x="10800" y="2319"/>
                  <a:pt x="10800" y="2455"/>
                </a:cubicBezTo>
                <a:cubicBezTo>
                  <a:pt x="10800" y="2726"/>
                  <a:pt x="11020" y="2945"/>
                  <a:pt x="11291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810">
            <a:extLst>
              <a:ext uri="{FF2B5EF4-FFF2-40B4-BE49-F238E27FC236}">
                <a16:creationId xmlns:a16="http://schemas.microsoft.com/office/drawing/2014/main" id="{62C06D69-D727-490E-8676-35FDD4F57EBF}"/>
              </a:ext>
            </a:extLst>
          </p:cNvPr>
          <p:cNvSpPr/>
          <p:nvPr/>
        </p:nvSpPr>
        <p:spPr bwMode="gray">
          <a:xfrm>
            <a:off x="6176924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5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9327" y="3240"/>
                </a:moveTo>
                <a:lnTo>
                  <a:pt x="15015" y="3240"/>
                </a:lnTo>
                <a:lnTo>
                  <a:pt x="13889" y="4478"/>
                </a:lnTo>
                <a:cubicBezTo>
                  <a:pt x="13801" y="4577"/>
                  <a:pt x="13745" y="4711"/>
                  <a:pt x="13745" y="4860"/>
                </a:cubicBezTo>
                <a:cubicBezTo>
                  <a:pt x="13745" y="5159"/>
                  <a:pt x="13966" y="5400"/>
                  <a:pt x="14236" y="5400"/>
                </a:cubicBezTo>
                <a:cubicBezTo>
                  <a:pt x="14373" y="5400"/>
                  <a:pt x="14495" y="5340"/>
                  <a:pt x="14583" y="5242"/>
                </a:cubicBezTo>
                <a:lnTo>
                  <a:pt x="16547" y="3082"/>
                </a:lnTo>
                <a:cubicBezTo>
                  <a:pt x="16636" y="2984"/>
                  <a:pt x="16691" y="2849"/>
                  <a:pt x="16691" y="2700"/>
                </a:cubicBezTo>
                <a:cubicBezTo>
                  <a:pt x="16691" y="2552"/>
                  <a:pt x="16636" y="2417"/>
                  <a:pt x="16547" y="2318"/>
                </a:cubicBezTo>
                <a:lnTo>
                  <a:pt x="14583" y="158"/>
                </a:lnTo>
                <a:cubicBezTo>
                  <a:pt x="14495" y="61"/>
                  <a:pt x="14373" y="0"/>
                  <a:pt x="14236" y="0"/>
                </a:cubicBezTo>
                <a:cubicBezTo>
                  <a:pt x="13966" y="0"/>
                  <a:pt x="13745" y="242"/>
                  <a:pt x="13745" y="540"/>
                </a:cubicBezTo>
                <a:cubicBezTo>
                  <a:pt x="13745" y="689"/>
                  <a:pt x="13801" y="824"/>
                  <a:pt x="13889" y="922"/>
                </a:cubicBezTo>
                <a:lnTo>
                  <a:pt x="15015" y="2160"/>
                </a:lnTo>
                <a:lnTo>
                  <a:pt x="9327" y="2160"/>
                </a:lnTo>
                <a:cubicBezTo>
                  <a:pt x="9056" y="2160"/>
                  <a:pt x="8836" y="2402"/>
                  <a:pt x="8836" y="2700"/>
                </a:cubicBezTo>
                <a:cubicBezTo>
                  <a:pt x="8836" y="2999"/>
                  <a:pt x="9056" y="3240"/>
                  <a:pt x="9327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811">
            <a:extLst>
              <a:ext uri="{FF2B5EF4-FFF2-40B4-BE49-F238E27FC236}">
                <a16:creationId xmlns:a16="http://schemas.microsoft.com/office/drawing/2014/main" id="{F4C9DD60-0EB5-49D2-AEC5-5F4FE7DB9898}"/>
              </a:ext>
            </a:extLst>
          </p:cNvPr>
          <p:cNvSpPr/>
          <p:nvPr/>
        </p:nvSpPr>
        <p:spPr bwMode="gray">
          <a:xfrm>
            <a:off x="6731235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944" y="5242"/>
                </a:moveTo>
                <a:cubicBezTo>
                  <a:pt x="11033" y="5340"/>
                  <a:pt x="11155" y="5400"/>
                  <a:pt x="11291" y="5400"/>
                </a:cubicBezTo>
                <a:cubicBezTo>
                  <a:pt x="11562" y="5400"/>
                  <a:pt x="11782" y="5159"/>
                  <a:pt x="11782" y="4860"/>
                </a:cubicBezTo>
                <a:cubicBezTo>
                  <a:pt x="11782" y="4711"/>
                  <a:pt x="11727" y="4577"/>
                  <a:pt x="11638" y="4478"/>
                </a:cubicBezTo>
                <a:lnTo>
                  <a:pt x="10512" y="3240"/>
                </a:lnTo>
                <a:lnTo>
                  <a:pt x="16200" y="3240"/>
                </a:lnTo>
                <a:cubicBezTo>
                  <a:pt x="16471" y="3240"/>
                  <a:pt x="16691" y="2999"/>
                  <a:pt x="16691" y="2700"/>
                </a:cubicBezTo>
                <a:cubicBezTo>
                  <a:pt x="16691" y="2402"/>
                  <a:pt x="16471" y="2160"/>
                  <a:pt x="16200" y="2160"/>
                </a:cubicBezTo>
                <a:lnTo>
                  <a:pt x="10512" y="2160"/>
                </a:lnTo>
                <a:lnTo>
                  <a:pt x="11638" y="922"/>
                </a:lnTo>
                <a:cubicBezTo>
                  <a:pt x="11727" y="824"/>
                  <a:pt x="11782" y="689"/>
                  <a:pt x="11782" y="540"/>
                </a:cubicBezTo>
                <a:cubicBezTo>
                  <a:pt x="11782" y="242"/>
                  <a:pt x="11562" y="0"/>
                  <a:pt x="11291" y="0"/>
                </a:cubicBezTo>
                <a:cubicBezTo>
                  <a:pt x="11155" y="0"/>
                  <a:pt x="11033" y="61"/>
                  <a:pt x="10944" y="158"/>
                </a:cubicBezTo>
                <a:lnTo>
                  <a:pt x="8980" y="2318"/>
                </a:lnTo>
                <a:cubicBezTo>
                  <a:pt x="8891" y="2417"/>
                  <a:pt x="8836" y="2552"/>
                  <a:pt x="8836" y="2700"/>
                </a:cubicBezTo>
                <a:cubicBezTo>
                  <a:pt x="8836" y="2849"/>
                  <a:pt x="8891" y="2984"/>
                  <a:pt x="8980" y="3082"/>
                </a:cubicBezTo>
                <a:cubicBezTo>
                  <a:pt x="8980" y="3082"/>
                  <a:pt x="10944" y="5242"/>
                  <a:pt x="10944" y="524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812">
            <a:extLst>
              <a:ext uri="{FF2B5EF4-FFF2-40B4-BE49-F238E27FC236}">
                <a16:creationId xmlns:a16="http://schemas.microsoft.com/office/drawing/2014/main" id="{E7FB7B64-BDE4-4A8B-80EE-138E85E48BC7}"/>
              </a:ext>
            </a:extLst>
          </p:cNvPr>
          <p:cNvSpPr/>
          <p:nvPr/>
        </p:nvSpPr>
        <p:spPr bwMode="gray">
          <a:xfrm>
            <a:off x="7285547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5" y="18643"/>
                  <a:pt x="19341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800" y="3780"/>
                </a:moveTo>
                <a:lnTo>
                  <a:pt x="12764" y="3780"/>
                </a:lnTo>
                <a:lnTo>
                  <a:pt x="12764" y="5940"/>
                </a:lnTo>
                <a:cubicBezTo>
                  <a:pt x="12764" y="6239"/>
                  <a:pt x="12984" y="6480"/>
                  <a:pt x="13255" y="6480"/>
                </a:cubicBezTo>
                <a:cubicBezTo>
                  <a:pt x="13526" y="6480"/>
                  <a:pt x="13745" y="6239"/>
                  <a:pt x="13745" y="5940"/>
                </a:cubicBezTo>
                <a:lnTo>
                  <a:pt x="13745" y="3780"/>
                </a:lnTo>
                <a:lnTo>
                  <a:pt x="15709" y="3780"/>
                </a:lnTo>
                <a:cubicBezTo>
                  <a:pt x="15980" y="3780"/>
                  <a:pt x="16200" y="3539"/>
                  <a:pt x="16200" y="3240"/>
                </a:cubicBezTo>
                <a:cubicBezTo>
                  <a:pt x="16200" y="2942"/>
                  <a:pt x="15980" y="2700"/>
                  <a:pt x="15709" y="2700"/>
                </a:cubicBezTo>
                <a:lnTo>
                  <a:pt x="13745" y="2700"/>
                </a:lnTo>
                <a:lnTo>
                  <a:pt x="13745" y="540"/>
                </a:lnTo>
                <a:cubicBezTo>
                  <a:pt x="13745" y="242"/>
                  <a:pt x="13526" y="0"/>
                  <a:pt x="13255" y="0"/>
                </a:cubicBezTo>
                <a:cubicBezTo>
                  <a:pt x="12984" y="0"/>
                  <a:pt x="12764" y="242"/>
                  <a:pt x="12764" y="540"/>
                </a:cubicBezTo>
                <a:lnTo>
                  <a:pt x="12764" y="2700"/>
                </a:lnTo>
                <a:lnTo>
                  <a:pt x="10800" y="2700"/>
                </a:lnTo>
                <a:cubicBezTo>
                  <a:pt x="10529" y="2700"/>
                  <a:pt x="10309" y="2942"/>
                  <a:pt x="10309" y="3240"/>
                </a:cubicBezTo>
                <a:cubicBezTo>
                  <a:pt x="10309" y="3539"/>
                  <a:pt x="10529" y="3780"/>
                  <a:pt x="10800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813">
            <a:extLst>
              <a:ext uri="{FF2B5EF4-FFF2-40B4-BE49-F238E27FC236}">
                <a16:creationId xmlns:a16="http://schemas.microsoft.com/office/drawing/2014/main" id="{2E6CF74B-0A32-48DD-8246-78B1491B854B}"/>
              </a:ext>
            </a:extLst>
          </p:cNvPr>
          <p:cNvSpPr/>
          <p:nvPr/>
        </p:nvSpPr>
        <p:spPr bwMode="gray">
          <a:xfrm>
            <a:off x="7839859" y="1792040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2960"/>
                </a:moveTo>
                <a:lnTo>
                  <a:pt x="17294" y="10491"/>
                </a:lnTo>
                <a:lnTo>
                  <a:pt x="19843" y="10491"/>
                </a:lnTo>
                <a:lnTo>
                  <a:pt x="19407" y="12960"/>
                </a:lnTo>
                <a:cubicBezTo>
                  <a:pt x="19407" y="12960"/>
                  <a:pt x="17076" y="12960"/>
                  <a:pt x="17076" y="12960"/>
                </a:cubicBezTo>
                <a:close/>
                <a:moveTo>
                  <a:pt x="18752" y="16663"/>
                </a:moveTo>
                <a:lnTo>
                  <a:pt x="16748" y="16663"/>
                </a:lnTo>
                <a:lnTo>
                  <a:pt x="16967" y="14194"/>
                </a:lnTo>
                <a:lnTo>
                  <a:pt x="19188" y="14194"/>
                </a:lnTo>
                <a:cubicBezTo>
                  <a:pt x="19188" y="14194"/>
                  <a:pt x="18752" y="16663"/>
                  <a:pt x="18752" y="16663"/>
                </a:cubicBezTo>
                <a:close/>
                <a:moveTo>
                  <a:pt x="17673" y="20366"/>
                </a:moveTo>
                <a:cubicBezTo>
                  <a:pt x="17131" y="20366"/>
                  <a:pt x="16691" y="19813"/>
                  <a:pt x="16691" y="19131"/>
                </a:cubicBezTo>
                <a:cubicBezTo>
                  <a:pt x="16691" y="18450"/>
                  <a:pt x="17131" y="17897"/>
                  <a:pt x="17673" y="17897"/>
                </a:cubicBezTo>
                <a:cubicBezTo>
                  <a:pt x="18215" y="17897"/>
                  <a:pt x="18655" y="18450"/>
                  <a:pt x="18655" y="19131"/>
                </a:cubicBezTo>
                <a:cubicBezTo>
                  <a:pt x="18655" y="19813"/>
                  <a:pt x="18215" y="20366"/>
                  <a:pt x="17673" y="20366"/>
                </a:cubicBezTo>
                <a:moveTo>
                  <a:pt x="16415" y="9257"/>
                </a:moveTo>
                <a:lnTo>
                  <a:pt x="13745" y="9257"/>
                </a:lnTo>
                <a:lnTo>
                  <a:pt x="13745" y="6789"/>
                </a:lnTo>
                <a:lnTo>
                  <a:pt x="16634" y="6789"/>
                </a:lnTo>
                <a:cubicBezTo>
                  <a:pt x="16634" y="6789"/>
                  <a:pt x="16415" y="9257"/>
                  <a:pt x="16415" y="9257"/>
                </a:cubicBezTo>
                <a:close/>
                <a:moveTo>
                  <a:pt x="16088" y="12960"/>
                </a:moveTo>
                <a:lnTo>
                  <a:pt x="13745" y="12960"/>
                </a:lnTo>
                <a:lnTo>
                  <a:pt x="13745" y="10491"/>
                </a:lnTo>
                <a:lnTo>
                  <a:pt x="16307" y="10491"/>
                </a:lnTo>
                <a:cubicBezTo>
                  <a:pt x="16307" y="10491"/>
                  <a:pt x="16088" y="12960"/>
                  <a:pt x="16088" y="12960"/>
                </a:cubicBezTo>
                <a:close/>
                <a:moveTo>
                  <a:pt x="15761" y="16663"/>
                </a:moveTo>
                <a:lnTo>
                  <a:pt x="13745" y="16663"/>
                </a:lnTo>
                <a:lnTo>
                  <a:pt x="13745" y="14194"/>
                </a:lnTo>
                <a:lnTo>
                  <a:pt x="15979" y="14194"/>
                </a:lnTo>
                <a:cubicBezTo>
                  <a:pt x="15979" y="14194"/>
                  <a:pt x="15761" y="16663"/>
                  <a:pt x="15761" y="16663"/>
                </a:cubicBezTo>
                <a:close/>
                <a:moveTo>
                  <a:pt x="12764" y="9257"/>
                </a:moveTo>
                <a:lnTo>
                  <a:pt x="10094" y="9257"/>
                </a:lnTo>
                <a:lnTo>
                  <a:pt x="9876" y="6789"/>
                </a:lnTo>
                <a:lnTo>
                  <a:pt x="12764" y="6789"/>
                </a:lnTo>
                <a:cubicBezTo>
                  <a:pt x="12764" y="6789"/>
                  <a:pt x="12764" y="9257"/>
                  <a:pt x="12764" y="9257"/>
                </a:cubicBezTo>
                <a:close/>
                <a:moveTo>
                  <a:pt x="12764" y="12960"/>
                </a:moveTo>
                <a:lnTo>
                  <a:pt x="10422" y="12960"/>
                </a:lnTo>
                <a:lnTo>
                  <a:pt x="10203" y="10491"/>
                </a:lnTo>
                <a:lnTo>
                  <a:pt x="12764" y="10491"/>
                </a:lnTo>
                <a:cubicBezTo>
                  <a:pt x="12764" y="10491"/>
                  <a:pt x="12764" y="12960"/>
                  <a:pt x="12764" y="12960"/>
                </a:cubicBezTo>
                <a:close/>
                <a:moveTo>
                  <a:pt x="12764" y="16663"/>
                </a:moveTo>
                <a:lnTo>
                  <a:pt x="10748" y="16663"/>
                </a:lnTo>
                <a:lnTo>
                  <a:pt x="10531" y="14194"/>
                </a:lnTo>
                <a:lnTo>
                  <a:pt x="12764" y="14194"/>
                </a:lnTo>
                <a:cubicBezTo>
                  <a:pt x="12764" y="14194"/>
                  <a:pt x="12764" y="16663"/>
                  <a:pt x="12764" y="16663"/>
                </a:cubicBezTo>
                <a:close/>
                <a:moveTo>
                  <a:pt x="8836" y="20366"/>
                </a:moveTo>
                <a:cubicBezTo>
                  <a:pt x="8294" y="20366"/>
                  <a:pt x="7855" y="19813"/>
                  <a:pt x="7855" y="19131"/>
                </a:cubicBezTo>
                <a:cubicBezTo>
                  <a:pt x="7855" y="18450"/>
                  <a:pt x="8294" y="17897"/>
                  <a:pt x="8836" y="17897"/>
                </a:cubicBezTo>
                <a:cubicBezTo>
                  <a:pt x="9379" y="17897"/>
                  <a:pt x="9818" y="18450"/>
                  <a:pt x="9818" y="19131"/>
                </a:cubicBezTo>
                <a:cubicBezTo>
                  <a:pt x="9818" y="19813"/>
                  <a:pt x="9379" y="20366"/>
                  <a:pt x="8836" y="20366"/>
                </a:cubicBezTo>
                <a:moveTo>
                  <a:pt x="7214" y="14194"/>
                </a:moveTo>
                <a:lnTo>
                  <a:pt x="9543" y="14194"/>
                </a:lnTo>
                <a:lnTo>
                  <a:pt x="9761" y="16663"/>
                </a:lnTo>
                <a:lnTo>
                  <a:pt x="7740" y="16663"/>
                </a:lnTo>
                <a:cubicBezTo>
                  <a:pt x="7740" y="16663"/>
                  <a:pt x="7214" y="14194"/>
                  <a:pt x="7214" y="14194"/>
                </a:cubicBezTo>
                <a:close/>
                <a:moveTo>
                  <a:pt x="6950" y="12960"/>
                </a:moveTo>
                <a:lnTo>
                  <a:pt x="6424" y="10491"/>
                </a:lnTo>
                <a:lnTo>
                  <a:pt x="9215" y="10491"/>
                </a:lnTo>
                <a:lnTo>
                  <a:pt x="9434" y="12960"/>
                </a:lnTo>
                <a:cubicBezTo>
                  <a:pt x="9434" y="12960"/>
                  <a:pt x="6950" y="12960"/>
                  <a:pt x="6950" y="12960"/>
                </a:cubicBezTo>
                <a:close/>
                <a:moveTo>
                  <a:pt x="5633" y="6789"/>
                </a:moveTo>
                <a:lnTo>
                  <a:pt x="8888" y="6789"/>
                </a:lnTo>
                <a:lnTo>
                  <a:pt x="9107" y="9257"/>
                </a:lnTo>
                <a:lnTo>
                  <a:pt x="6160" y="9257"/>
                </a:lnTo>
                <a:cubicBezTo>
                  <a:pt x="6160" y="9257"/>
                  <a:pt x="5633" y="6789"/>
                  <a:pt x="5633" y="6789"/>
                </a:cubicBezTo>
                <a:close/>
                <a:moveTo>
                  <a:pt x="17621" y="6789"/>
                </a:moveTo>
                <a:lnTo>
                  <a:pt x="20498" y="6789"/>
                </a:lnTo>
                <a:lnTo>
                  <a:pt x="20061" y="9257"/>
                </a:lnTo>
                <a:lnTo>
                  <a:pt x="17403" y="9257"/>
                </a:lnTo>
                <a:cubicBezTo>
                  <a:pt x="17403" y="9257"/>
                  <a:pt x="17621" y="6789"/>
                  <a:pt x="17621" y="6789"/>
                </a:cubicBezTo>
                <a:close/>
                <a:moveTo>
                  <a:pt x="19619" y="17429"/>
                </a:moveTo>
                <a:lnTo>
                  <a:pt x="19622" y="17429"/>
                </a:lnTo>
                <a:lnTo>
                  <a:pt x="21585" y="6321"/>
                </a:lnTo>
                <a:lnTo>
                  <a:pt x="21577" y="6318"/>
                </a:lnTo>
                <a:cubicBezTo>
                  <a:pt x="21586" y="6270"/>
                  <a:pt x="21600" y="6224"/>
                  <a:pt x="21600" y="6171"/>
                </a:cubicBezTo>
                <a:cubicBezTo>
                  <a:pt x="21600" y="5830"/>
                  <a:pt x="21380" y="5554"/>
                  <a:pt x="21109" y="5554"/>
                </a:cubicBezTo>
                <a:lnTo>
                  <a:pt x="5370" y="5554"/>
                </a:lnTo>
                <a:lnTo>
                  <a:pt x="4674" y="2291"/>
                </a:lnTo>
                <a:lnTo>
                  <a:pt x="4667" y="2294"/>
                </a:lnTo>
                <a:cubicBezTo>
                  <a:pt x="4606" y="2040"/>
                  <a:pt x="4426" y="1851"/>
                  <a:pt x="4204" y="1851"/>
                </a:cubicBezTo>
                <a:lnTo>
                  <a:pt x="491" y="1851"/>
                </a:lnTo>
                <a:cubicBezTo>
                  <a:pt x="220" y="1851"/>
                  <a:pt x="0" y="2127"/>
                  <a:pt x="0" y="2469"/>
                </a:cubicBezTo>
                <a:cubicBezTo>
                  <a:pt x="0" y="2810"/>
                  <a:pt x="220" y="3086"/>
                  <a:pt x="491" y="3086"/>
                </a:cubicBezTo>
                <a:lnTo>
                  <a:pt x="3827" y="3086"/>
                </a:lnTo>
                <a:lnTo>
                  <a:pt x="6893" y="17457"/>
                </a:lnTo>
                <a:lnTo>
                  <a:pt x="6894" y="17457"/>
                </a:lnTo>
                <a:cubicBezTo>
                  <a:pt x="6936" y="17631"/>
                  <a:pt x="7037" y="17772"/>
                  <a:pt x="7168" y="17845"/>
                </a:cubicBezTo>
                <a:cubicBezTo>
                  <a:pt x="6984" y="18220"/>
                  <a:pt x="6873" y="18658"/>
                  <a:pt x="6873" y="19131"/>
                </a:cubicBezTo>
                <a:cubicBezTo>
                  <a:pt x="6873" y="20495"/>
                  <a:pt x="7752" y="21600"/>
                  <a:pt x="8836" y="21600"/>
                </a:cubicBezTo>
                <a:cubicBezTo>
                  <a:pt x="9921" y="21600"/>
                  <a:pt x="10800" y="20495"/>
                  <a:pt x="10800" y="19131"/>
                </a:cubicBezTo>
                <a:cubicBezTo>
                  <a:pt x="10800" y="18680"/>
                  <a:pt x="10696" y="18262"/>
                  <a:pt x="10528" y="17897"/>
                </a:cubicBezTo>
                <a:lnTo>
                  <a:pt x="15982" y="17897"/>
                </a:lnTo>
                <a:cubicBezTo>
                  <a:pt x="15813" y="18262"/>
                  <a:pt x="15709" y="18680"/>
                  <a:pt x="15709" y="19131"/>
                </a:cubicBezTo>
                <a:cubicBezTo>
                  <a:pt x="15709" y="20495"/>
                  <a:pt x="16588" y="21600"/>
                  <a:pt x="17673" y="21600"/>
                </a:cubicBezTo>
                <a:cubicBezTo>
                  <a:pt x="18757" y="21600"/>
                  <a:pt x="19636" y="20495"/>
                  <a:pt x="19636" y="19131"/>
                </a:cubicBezTo>
                <a:cubicBezTo>
                  <a:pt x="19636" y="18658"/>
                  <a:pt x="19525" y="18220"/>
                  <a:pt x="19341" y="17845"/>
                </a:cubicBezTo>
                <a:cubicBezTo>
                  <a:pt x="19479" y="17769"/>
                  <a:pt x="19581" y="17615"/>
                  <a:pt x="19619" y="17429"/>
                </a:cubicBezTo>
                <a:moveTo>
                  <a:pt x="10800" y="1234"/>
                </a:moveTo>
                <a:lnTo>
                  <a:pt x="15709" y="1234"/>
                </a:lnTo>
                <a:cubicBezTo>
                  <a:pt x="15980" y="1234"/>
                  <a:pt x="16200" y="959"/>
                  <a:pt x="16200" y="617"/>
                </a:cubicBezTo>
                <a:cubicBezTo>
                  <a:pt x="16200" y="276"/>
                  <a:pt x="15980" y="0"/>
                  <a:pt x="15709" y="0"/>
                </a:cubicBezTo>
                <a:lnTo>
                  <a:pt x="10800" y="0"/>
                </a:lnTo>
                <a:cubicBezTo>
                  <a:pt x="10529" y="0"/>
                  <a:pt x="10309" y="276"/>
                  <a:pt x="10309" y="617"/>
                </a:cubicBezTo>
                <a:cubicBezTo>
                  <a:pt x="10309" y="959"/>
                  <a:pt x="10529" y="1234"/>
                  <a:pt x="10800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814">
            <a:extLst>
              <a:ext uri="{FF2B5EF4-FFF2-40B4-BE49-F238E27FC236}">
                <a16:creationId xmlns:a16="http://schemas.microsoft.com/office/drawing/2014/main" id="{B3F07DA0-1CC5-48BD-87F2-E50423DF4EC5}"/>
              </a:ext>
            </a:extLst>
          </p:cNvPr>
          <p:cNvSpPr/>
          <p:nvPr/>
        </p:nvSpPr>
        <p:spPr bwMode="gray">
          <a:xfrm>
            <a:off x="8420567" y="1759045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0800"/>
                </a:moveTo>
                <a:lnTo>
                  <a:pt x="13200" y="10800"/>
                </a:lnTo>
                <a:lnTo>
                  <a:pt x="13200" y="11782"/>
                </a:lnTo>
                <a:lnTo>
                  <a:pt x="14400" y="11782"/>
                </a:lnTo>
                <a:cubicBezTo>
                  <a:pt x="14400" y="11782"/>
                  <a:pt x="14400" y="10800"/>
                  <a:pt x="14400" y="10800"/>
                </a:cubicBezTo>
                <a:close/>
                <a:moveTo>
                  <a:pt x="15600" y="11782"/>
                </a:moveTo>
                <a:lnTo>
                  <a:pt x="16800" y="11782"/>
                </a:lnTo>
                <a:lnTo>
                  <a:pt x="16800" y="10800"/>
                </a:lnTo>
                <a:lnTo>
                  <a:pt x="15600" y="10800"/>
                </a:lnTo>
                <a:cubicBezTo>
                  <a:pt x="15600" y="10800"/>
                  <a:pt x="15600" y="11782"/>
                  <a:pt x="15600" y="11782"/>
                </a:cubicBezTo>
                <a:close/>
                <a:moveTo>
                  <a:pt x="15600" y="15709"/>
                </a:moveTo>
                <a:lnTo>
                  <a:pt x="19200" y="15709"/>
                </a:lnTo>
                <a:lnTo>
                  <a:pt x="19200" y="14727"/>
                </a:lnTo>
                <a:lnTo>
                  <a:pt x="15600" y="14727"/>
                </a:lnTo>
                <a:cubicBezTo>
                  <a:pt x="15600" y="14727"/>
                  <a:pt x="15600" y="15709"/>
                  <a:pt x="15600" y="15709"/>
                </a:cubicBezTo>
                <a:close/>
                <a:moveTo>
                  <a:pt x="14400" y="8836"/>
                </a:moveTo>
                <a:lnTo>
                  <a:pt x="13200" y="8836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8836"/>
                  <a:pt x="14400" y="8836"/>
                </a:cubicBezTo>
                <a:close/>
                <a:moveTo>
                  <a:pt x="16800" y="8836"/>
                </a:moveTo>
                <a:lnTo>
                  <a:pt x="15600" y="8836"/>
                </a:lnTo>
                <a:lnTo>
                  <a:pt x="15600" y="9818"/>
                </a:lnTo>
                <a:lnTo>
                  <a:pt x="16800" y="9818"/>
                </a:lnTo>
                <a:cubicBezTo>
                  <a:pt x="16800" y="9818"/>
                  <a:pt x="16800" y="8836"/>
                  <a:pt x="16800" y="8836"/>
                </a:cubicBezTo>
                <a:close/>
                <a:moveTo>
                  <a:pt x="19200" y="6873"/>
                </a:moveTo>
                <a:lnTo>
                  <a:pt x="13200" y="6873"/>
                </a:lnTo>
                <a:lnTo>
                  <a:pt x="13200" y="7855"/>
                </a:lnTo>
                <a:lnTo>
                  <a:pt x="19200" y="7855"/>
                </a:lnTo>
                <a:cubicBezTo>
                  <a:pt x="19200" y="7855"/>
                  <a:pt x="19200" y="6873"/>
                  <a:pt x="19200" y="6873"/>
                </a:cubicBezTo>
                <a:close/>
                <a:moveTo>
                  <a:pt x="18000" y="9818"/>
                </a:moveTo>
                <a:lnTo>
                  <a:pt x="19200" y="9818"/>
                </a:lnTo>
                <a:lnTo>
                  <a:pt x="19200" y="8836"/>
                </a:lnTo>
                <a:lnTo>
                  <a:pt x="18000" y="8836"/>
                </a:lnTo>
                <a:cubicBezTo>
                  <a:pt x="18000" y="8836"/>
                  <a:pt x="18000" y="9818"/>
                  <a:pt x="18000" y="9818"/>
                </a:cubicBezTo>
                <a:close/>
                <a:moveTo>
                  <a:pt x="18000" y="11782"/>
                </a:moveTo>
                <a:lnTo>
                  <a:pt x="19200" y="11782"/>
                </a:lnTo>
                <a:lnTo>
                  <a:pt x="19200" y="10800"/>
                </a:lnTo>
                <a:lnTo>
                  <a:pt x="18000" y="10800"/>
                </a:lnTo>
                <a:cubicBezTo>
                  <a:pt x="18000" y="10800"/>
                  <a:pt x="18000" y="11782"/>
                  <a:pt x="18000" y="11782"/>
                </a:cubicBezTo>
                <a:close/>
                <a:moveTo>
                  <a:pt x="15600" y="13745"/>
                </a:moveTo>
                <a:lnTo>
                  <a:pt x="16800" y="13745"/>
                </a:lnTo>
                <a:lnTo>
                  <a:pt x="16800" y="12764"/>
                </a:lnTo>
                <a:lnTo>
                  <a:pt x="15600" y="12764"/>
                </a:lnTo>
                <a:cubicBezTo>
                  <a:pt x="15600" y="12764"/>
                  <a:pt x="15600" y="13745"/>
                  <a:pt x="15600" y="13745"/>
                </a:cubicBezTo>
                <a:close/>
                <a:moveTo>
                  <a:pt x="18000" y="13745"/>
                </a:moveTo>
                <a:lnTo>
                  <a:pt x="19200" y="13745"/>
                </a:lnTo>
                <a:lnTo>
                  <a:pt x="19200" y="12764"/>
                </a:lnTo>
                <a:lnTo>
                  <a:pt x="18000" y="12764"/>
                </a:lnTo>
                <a:cubicBezTo>
                  <a:pt x="18000" y="12764"/>
                  <a:pt x="18000" y="13745"/>
                  <a:pt x="18000" y="13745"/>
                </a:cubicBezTo>
                <a:close/>
                <a:moveTo>
                  <a:pt x="20400" y="16691"/>
                </a:moveTo>
                <a:lnTo>
                  <a:pt x="1200" y="16691"/>
                </a:lnTo>
                <a:lnTo>
                  <a:pt x="1200" y="5891"/>
                </a:lnTo>
                <a:lnTo>
                  <a:pt x="20400" y="5891"/>
                </a:lnTo>
                <a:cubicBezTo>
                  <a:pt x="20400" y="5891"/>
                  <a:pt x="20400" y="16691"/>
                  <a:pt x="20400" y="166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17673"/>
                </a:lnTo>
                <a:lnTo>
                  <a:pt x="20400" y="17673"/>
                </a:lnTo>
                <a:cubicBezTo>
                  <a:pt x="20400" y="17673"/>
                  <a:pt x="20400" y="20618"/>
                  <a:pt x="20400" y="20618"/>
                </a:cubicBezTo>
                <a:close/>
                <a:moveTo>
                  <a:pt x="15000" y="4909"/>
                </a:moveTo>
                <a:lnTo>
                  <a:pt x="13800" y="4909"/>
                </a:lnTo>
                <a:lnTo>
                  <a:pt x="13800" y="2945"/>
                </a:lnTo>
                <a:lnTo>
                  <a:pt x="15000" y="2945"/>
                </a:lnTo>
                <a:cubicBezTo>
                  <a:pt x="15000" y="2945"/>
                  <a:pt x="15000" y="4909"/>
                  <a:pt x="15000" y="4909"/>
                </a:cubicBezTo>
                <a:close/>
                <a:moveTo>
                  <a:pt x="132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13200" y="1964"/>
                </a:lnTo>
                <a:cubicBezTo>
                  <a:pt x="13200" y="1964"/>
                  <a:pt x="13200" y="982"/>
                  <a:pt x="13200" y="982"/>
                </a:cubicBezTo>
                <a:close/>
                <a:moveTo>
                  <a:pt x="12000" y="1964"/>
                </a:moveTo>
                <a:lnTo>
                  <a:pt x="10800" y="1964"/>
                </a:lnTo>
                <a:lnTo>
                  <a:pt x="10800" y="982"/>
                </a:lnTo>
                <a:lnTo>
                  <a:pt x="12000" y="982"/>
                </a:lnTo>
                <a:cubicBezTo>
                  <a:pt x="12000" y="982"/>
                  <a:pt x="12000" y="1964"/>
                  <a:pt x="12000" y="1964"/>
                </a:cubicBezTo>
                <a:close/>
                <a:moveTo>
                  <a:pt x="20400" y="4909"/>
                </a:moveTo>
                <a:lnTo>
                  <a:pt x="16200" y="4909"/>
                </a:lnTo>
                <a:lnTo>
                  <a:pt x="16200" y="2945"/>
                </a:lnTo>
                <a:lnTo>
                  <a:pt x="18000" y="2945"/>
                </a:lnTo>
                <a:cubicBezTo>
                  <a:pt x="18662" y="2945"/>
                  <a:pt x="19200" y="2506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10800" y="0"/>
                </a:lnTo>
                <a:cubicBezTo>
                  <a:pt x="10138" y="0"/>
                  <a:pt x="9600" y="440"/>
                  <a:pt x="9600" y="982"/>
                </a:cubicBezTo>
                <a:lnTo>
                  <a:pt x="9600" y="1964"/>
                </a:lnTo>
                <a:cubicBezTo>
                  <a:pt x="9600" y="2506"/>
                  <a:pt x="10138" y="2945"/>
                  <a:pt x="10800" y="2945"/>
                </a:cubicBezTo>
                <a:lnTo>
                  <a:pt x="12600" y="2945"/>
                </a:lnTo>
                <a:lnTo>
                  <a:pt x="12600" y="4909"/>
                </a:lnTo>
                <a:lnTo>
                  <a:pt x="1200" y="4909"/>
                </a:lnTo>
                <a:cubicBezTo>
                  <a:pt x="538" y="4909"/>
                  <a:pt x="0" y="5349"/>
                  <a:pt x="0" y="5891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5891"/>
                </a:lnTo>
                <a:cubicBezTo>
                  <a:pt x="21600" y="5349"/>
                  <a:pt x="21062" y="4909"/>
                  <a:pt x="20400" y="4909"/>
                </a:cubicBezTo>
                <a:moveTo>
                  <a:pt x="3600" y="14727"/>
                </a:moveTo>
                <a:lnTo>
                  <a:pt x="2400" y="14727"/>
                </a:lnTo>
                <a:lnTo>
                  <a:pt x="2400" y="15709"/>
                </a:lnTo>
                <a:lnTo>
                  <a:pt x="3600" y="15709"/>
                </a:lnTo>
                <a:cubicBezTo>
                  <a:pt x="3600" y="15709"/>
                  <a:pt x="3600" y="14727"/>
                  <a:pt x="3600" y="14727"/>
                </a:cubicBezTo>
                <a:close/>
                <a:moveTo>
                  <a:pt x="4800" y="15709"/>
                </a:moveTo>
                <a:lnTo>
                  <a:pt x="6000" y="15709"/>
                </a:lnTo>
                <a:lnTo>
                  <a:pt x="6000" y="14727"/>
                </a:lnTo>
                <a:lnTo>
                  <a:pt x="4800" y="14727"/>
                </a:lnTo>
                <a:cubicBezTo>
                  <a:pt x="4800" y="14727"/>
                  <a:pt x="4800" y="15709"/>
                  <a:pt x="4800" y="15709"/>
                </a:cubicBezTo>
                <a:close/>
                <a:moveTo>
                  <a:pt x="9000" y="19636"/>
                </a:moveTo>
                <a:lnTo>
                  <a:pt x="12600" y="19636"/>
                </a:lnTo>
                <a:cubicBezTo>
                  <a:pt x="12931" y="19636"/>
                  <a:pt x="13200" y="19417"/>
                  <a:pt x="13200" y="19145"/>
                </a:cubicBezTo>
                <a:cubicBezTo>
                  <a:pt x="13200" y="18875"/>
                  <a:pt x="12931" y="18655"/>
                  <a:pt x="12600" y="18655"/>
                </a:cubicBezTo>
                <a:lnTo>
                  <a:pt x="9000" y="18655"/>
                </a:lnTo>
                <a:cubicBezTo>
                  <a:pt x="8669" y="18655"/>
                  <a:pt x="8400" y="18875"/>
                  <a:pt x="8400" y="19145"/>
                </a:cubicBezTo>
                <a:cubicBezTo>
                  <a:pt x="8400" y="19417"/>
                  <a:pt x="8669" y="19636"/>
                  <a:pt x="9000" y="19636"/>
                </a:cubicBezTo>
                <a:moveTo>
                  <a:pt x="7200" y="15709"/>
                </a:moveTo>
                <a:lnTo>
                  <a:pt x="8400" y="15709"/>
                </a:lnTo>
                <a:lnTo>
                  <a:pt x="8400" y="14727"/>
                </a:lnTo>
                <a:lnTo>
                  <a:pt x="7200" y="14727"/>
                </a:lnTo>
                <a:cubicBezTo>
                  <a:pt x="7200" y="14727"/>
                  <a:pt x="7200" y="15709"/>
                  <a:pt x="7200" y="15709"/>
                </a:cubicBezTo>
                <a:close/>
                <a:moveTo>
                  <a:pt x="14400" y="12764"/>
                </a:moveTo>
                <a:lnTo>
                  <a:pt x="13200" y="12764"/>
                </a:lnTo>
                <a:lnTo>
                  <a:pt x="13200" y="13745"/>
                </a:lnTo>
                <a:lnTo>
                  <a:pt x="14400" y="13745"/>
                </a:lnTo>
                <a:cubicBezTo>
                  <a:pt x="14400" y="13745"/>
                  <a:pt x="14400" y="12764"/>
                  <a:pt x="14400" y="12764"/>
                </a:cubicBezTo>
                <a:close/>
                <a:moveTo>
                  <a:pt x="10800" y="12764"/>
                </a:moveTo>
                <a:lnTo>
                  <a:pt x="3600" y="12764"/>
                </a:lnTo>
                <a:lnTo>
                  <a:pt x="3600" y="7855"/>
                </a:lnTo>
                <a:lnTo>
                  <a:pt x="10800" y="7855"/>
                </a:lnTo>
                <a:cubicBezTo>
                  <a:pt x="10800" y="7855"/>
                  <a:pt x="10800" y="12764"/>
                  <a:pt x="10800" y="12764"/>
                </a:cubicBezTo>
                <a:close/>
                <a:moveTo>
                  <a:pt x="12000" y="6873"/>
                </a:moveTo>
                <a:lnTo>
                  <a:pt x="2400" y="6873"/>
                </a:lnTo>
                <a:lnTo>
                  <a:pt x="2400" y="13745"/>
                </a:lnTo>
                <a:lnTo>
                  <a:pt x="12000" y="13745"/>
                </a:lnTo>
                <a:cubicBezTo>
                  <a:pt x="12000" y="13745"/>
                  <a:pt x="12000" y="6873"/>
                  <a:pt x="12000" y="6873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815">
            <a:extLst>
              <a:ext uri="{FF2B5EF4-FFF2-40B4-BE49-F238E27FC236}">
                <a16:creationId xmlns:a16="http://schemas.microsoft.com/office/drawing/2014/main" id="{3676AF2B-0E40-466E-B633-76D0DF05F23E}"/>
              </a:ext>
            </a:extLst>
          </p:cNvPr>
          <p:cNvSpPr/>
          <p:nvPr/>
        </p:nvSpPr>
        <p:spPr bwMode="gray">
          <a:xfrm>
            <a:off x="8961681" y="1759045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7" y="20618"/>
                </a:moveTo>
                <a:lnTo>
                  <a:pt x="1300" y="19636"/>
                </a:lnTo>
                <a:lnTo>
                  <a:pt x="20300" y="19636"/>
                </a:lnTo>
                <a:lnTo>
                  <a:pt x="20443" y="20618"/>
                </a:lnTo>
                <a:cubicBezTo>
                  <a:pt x="20443" y="20618"/>
                  <a:pt x="1157" y="20618"/>
                  <a:pt x="1157" y="20618"/>
                </a:cubicBezTo>
                <a:close/>
                <a:moveTo>
                  <a:pt x="3172" y="6873"/>
                </a:moveTo>
                <a:lnTo>
                  <a:pt x="6480" y="6873"/>
                </a:lnTo>
                <a:lnTo>
                  <a:pt x="6480" y="8973"/>
                </a:lnTo>
                <a:cubicBezTo>
                  <a:pt x="6158" y="9143"/>
                  <a:pt x="5940" y="9456"/>
                  <a:pt x="5940" y="9818"/>
                </a:cubicBezTo>
                <a:cubicBezTo>
                  <a:pt x="5940" y="10360"/>
                  <a:pt x="6424" y="10800"/>
                  <a:pt x="7020" y="10800"/>
                </a:cubicBezTo>
                <a:cubicBezTo>
                  <a:pt x="7616" y="10800"/>
                  <a:pt x="8100" y="10360"/>
                  <a:pt x="8100" y="9818"/>
                </a:cubicBezTo>
                <a:cubicBezTo>
                  <a:pt x="8100" y="9456"/>
                  <a:pt x="7882" y="9143"/>
                  <a:pt x="7560" y="8973"/>
                </a:cubicBezTo>
                <a:lnTo>
                  <a:pt x="7560" y="6873"/>
                </a:lnTo>
                <a:lnTo>
                  <a:pt x="14040" y="6873"/>
                </a:lnTo>
                <a:lnTo>
                  <a:pt x="14040" y="8973"/>
                </a:lnTo>
                <a:cubicBezTo>
                  <a:pt x="13718" y="9143"/>
                  <a:pt x="13500" y="9456"/>
                  <a:pt x="13500" y="9818"/>
                </a:cubicBezTo>
                <a:cubicBezTo>
                  <a:pt x="13500" y="10360"/>
                  <a:pt x="13984" y="10800"/>
                  <a:pt x="14580" y="10800"/>
                </a:cubicBezTo>
                <a:cubicBezTo>
                  <a:pt x="15176" y="10800"/>
                  <a:pt x="15660" y="10360"/>
                  <a:pt x="15660" y="9818"/>
                </a:cubicBezTo>
                <a:cubicBezTo>
                  <a:pt x="15660" y="9456"/>
                  <a:pt x="15442" y="9143"/>
                  <a:pt x="15120" y="8973"/>
                </a:cubicBezTo>
                <a:lnTo>
                  <a:pt x="15120" y="6873"/>
                </a:lnTo>
                <a:lnTo>
                  <a:pt x="18428" y="6873"/>
                </a:lnTo>
                <a:lnTo>
                  <a:pt x="20155" y="18655"/>
                </a:lnTo>
                <a:lnTo>
                  <a:pt x="1445" y="18655"/>
                </a:lnTo>
                <a:cubicBezTo>
                  <a:pt x="1445" y="18655"/>
                  <a:pt x="3172" y="6873"/>
                  <a:pt x="3172" y="6873"/>
                </a:cubicBezTo>
                <a:close/>
                <a:moveTo>
                  <a:pt x="7560" y="3927"/>
                </a:moveTo>
                <a:cubicBezTo>
                  <a:pt x="7560" y="2301"/>
                  <a:pt x="9011" y="982"/>
                  <a:pt x="10800" y="982"/>
                </a:cubicBezTo>
                <a:cubicBezTo>
                  <a:pt x="12590" y="982"/>
                  <a:pt x="14040" y="2301"/>
                  <a:pt x="14040" y="3927"/>
                </a:cubicBezTo>
                <a:lnTo>
                  <a:pt x="14040" y="5891"/>
                </a:lnTo>
                <a:lnTo>
                  <a:pt x="7560" y="5891"/>
                </a:lnTo>
                <a:cubicBezTo>
                  <a:pt x="7560" y="5891"/>
                  <a:pt x="7560" y="3927"/>
                  <a:pt x="7560" y="3927"/>
                </a:cubicBezTo>
                <a:close/>
                <a:moveTo>
                  <a:pt x="21586" y="21045"/>
                </a:moveTo>
                <a:lnTo>
                  <a:pt x="21595" y="21044"/>
                </a:lnTo>
                <a:lnTo>
                  <a:pt x="19435" y="6317"/>
                </a:lnTo>
                <a:lnTo>
                  <a:pt x="19426" y="6318"/>
                </a:lnTo>
                <a:cubicBezTo>
                  <a:pt x="19390" y="6079"/>
                  <a:pt x="19173" y="5891"/>
                  <a:pt x="18900" y="5891"/>
                </a:cubicBezTo>
                <a:lnTo>
                  <a:pt x="15120" y="5891"/>
                </a:lnTo>
                <a:lnTo>
                  <a:pt x="15120" y="3927"/>
                </a:lnTo>
                <a:cubicBezTo>
                  <a:pt x="15120" y="1758"/>
                  <a:pt x="13186" y="0"/>
                  <a:pt x="10800" y="0"/>
                </a:cubicBezTo>
                <a:cubicBezTo>
                  <a:pt x="8414" y="0"/>
                  <a:pt x="6480" y="1758"/>
                  <a:pt x="6480" y="3927"/>
                </a:cubicBezTo>
                <a:lnTo>
                  <a:pt x="6480" y="5891"/>
                </a:lnTo>
                <a:lnTo>
                  <a:pt x="2700" y="5891"/>
                </a:lnTo>
                <a:cubicBezTo>
                  <a:pt x="2427" y="5891"/>
                  <a:pt x="2210" y="6079"/>
                  <a:pt x="2174" y="6318"/>
                </a:cubicBezTo>
                <a:lnTo>
                  <a:pt x="2165" y="6317"/>
                </a:lnTo>
                <a:lnTo>
                  <a:pt x="5" y="21044"/>
                </a:lnTo>
                <a:lnTo>
                  <a:pt x="14" y="21045"/>
                </a:lnTo>
                <a:cubicBezTo>
                  <a:pt x="11" y="21067"/>
                  <a:pt x="0" y="21087"/>
                  <a:pt x="0" y="21109"/>
                </a:cubicBezTo>
                <a:cubicBezTo>
                  <a:pt x="0" y="21381"/>
                  <a:pt x="242" y="21600"/>
                  <a:pt x="540" y="21600"/>
                </a:cubicBezTo>
                <a:lnTo>
                  <a:pt x="21060" y="21600"/>
                </a:lnTo>
                <a:cubicBezTo>
                  <a:pt x="21358" y="21600"/>
                  <a:pt x="21600" y="21381"/>
                  <a:pt x="21600" y="21109"/>
                </a:cubicBezTo>
                <a:cubicBezTo>
                  <a:pt x="21600" y="21087"/>
                  <a:pt x="21589" y="21067"/>
                  <a:pt x="21586" y="210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816">
            <a:extLst>
              <a:ext uri="{FF2B5EF4-FFF2-40B4-BE49-F238E27FC236}">
                <a16:creationId xmlns:a16="http://schemas.microsoft.com/office/drawing/2014/main" id="{5D4E4197-33A6-436D-A1A2-D2F7993FD0FC}"/>
              </a:ext>
            </a:extLst>
          </p:cNvPr>
          <p:cNvSpPr/>
          <p:nvPr/>
        </p:nvSpPr>
        <p:spPr bwMode="gray">
          <a:xfrm>
            <a:off x="9496196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87" y="18100"/>
                </a:moveTo>
                <a:lnTo>
                  <a:pt x="21596" y="18099"/>
                </a:lnTo>
                <a:lnTo>
                  <a:pt x="20614" y="5335"/>
                </a:lnTo>
                <a:lnTo>
                  <a:pt x="20605" y="5337"/>
                </a:lnTo>
                <a:cubicBezTo>
                  <a:pt x="20573" y="5097"/>
                  <a:pt x="20376" y="4909"/>
                  <a:pt x="20127" y="4909"/>
                </a:cubicBezTo>
                <a:lnTo>
                  <a:pt x="16691" y="4909"/>
                </a:lnTo>
                <a:lnTo>
                  <a:pt x="16691" y="3927"/>
                </a:lnTo>
                <a:cubicBezTo>
                  <a:pt x="16691" y="1758"/>
                  <a:pt x="14932" y="0"/>
                  <a:pt x="12764" y="0"/>
                </a:cubicBezTo>
                <a:cubicBezTo>
                  <a:pt x="11300" y="0"/>
                  <a:pt x="10025" y="803"/>
                  <a:pt x="9350" y="1991"/>
                </a:cubicBezTo>
                <a:cubicBezTo>
                  <a:pt x="9705" y="2027"/>
                  <a:pt x="10048" y="2105"/>
                  <a:pt x="10377" y="2214"/>
                </a:cubicBezTo>
                <a:cubicBezTo>
                  <a:pt x="10911" y="1470"/>
                  <a:pt x="11778" y="982"/>
                  <a:pt x="12764" y="982"/>
                </a:cubicBezTo>
                <a:cubicBezTo>
                  <a:pt x="14390" y="982"/>
                  <a:pt x="15709" y="2301"/>
                  <a:pt x="15709" y="3927"/>
                </a:cubicBezTo>
                <a:lnTo>
                  <a:pt x="15709" y="4909"/>
                </a:lnTo>
                <a:lnTo>
                  <a:pt x="13337" y="4909"/>
                </a:lnTo>
                <a:cubicBezTo>
                  <a:pt x="13474" y="5221"/>
                  <a:pt x="13581" y="5549"/>
                  <a:pt x="13651" y="5891"/>
                </a:cubicBezTo>
                <a:lnTo>
                  <a:pt x="15709" y="5891"/>
                </a:lnTo>
                <a:lnTo>
                  <a:pt x="15709" y="6873"/>
                </a:lnTo>
                <a:lnTo>
                  <a:pt x="16204" y="6873"/>
                </a:lnTo>
                <a:cubicBezTo>
                  <a:pt x="16375" y="6873"/>
                  <a:pt x="16537" y="6905"/>
                  <a:pt x="16691" y="6961"/>
                </a:cubicBezTo>
                <a:lnTo>
                  <a:pt x="16691" y="5891"/>
                </a:lnTo>
                <a:lnTo>
                  <a:pt x="19674" y="5891"/>
                </a:lnTo>
                <a:lnTo>
                  <a:pt x="20429" y="15709"/>
                </a:lnTo>
                <a:lnTo>
                  <a:pt x="18247" y="15709"/>
                </a:lnTo>
                <a:lnTo>
                  <a:pt x="18323" y="16691"/>
                </a:lnTo>
                <a:lnTo>
                  <a:pt x="20504" y="16691"/>
                </a:lnTo>
                <a:lnTo>
                  <a:pt x="20580" y="17673"/>
                </a:lnTo>
                <a:lnTo>
                  <a:pt x="18398" y="17673"/>
                </a:lnTo>
                <a:lnTo>
                  <a:pt x="18474" y="18655"/>
                </a:lnTo>
                <a:lnTo>
                  <a:pt x="21109" y="18655"/>
                </a:lnTo>
                <a:cubicBezTo>
                  <a:pt x="21380" y="18655"/>
                  <a:pt x="21600" y="18435"/>
                  <a:pt x="21600" y="18164"/>
                </a:cubicBezTo>
                <a:cubicBezTo>
                  <a:pt x="21600" y="18141"/>
                  <a:pt x="21590" y="18122"/>
                  <a:pt x="21587" y="18100"/>
                </a:cubicBezTo>
                <a:moveTo>
                  <a:pt x="1020" y="20618"/>
                </a:moveTo>
                <a:lnTo>
                  <a:pt x="1096" y="19636"/>
                </a:lnTo>
                <a:lnTo>
                  <a:pt x="16577" y="19636"/>
                </a:lnTo>
                <a:lnTo>
                  <a:pt x="16653" y="20618"/>
                </a:lnTo>
                <a:cubicBezTo>
                  <a:pt x="16653" y="20618"/>
                  <a:pt x="1020" y="20618"/>
                  <a:pt x="1020" y="20618"/>
                </a:cubicBezTo>
                <a:close/>
                <a:moveTo>
                  <a:pt x="1926" y="8836"/>
                </a:moveTo>
                <a:lnTo>
                  <a:pt x="4909" y="8836"/>
                </a:lnTo>
                <a:lnTo>
                  <a:pt x="4909" y="10936"/>
                </a:lnTo>
                <a:cubicBezTo>
                  <a:pt x="4617" y="11106"/>
                  <a:pt x="4418" y="11420"/>
                  <a:pt x="4418" y="11782"/>
                </a:cubicBezTo>
                <a:cubicBezTo>
                  <a:pt x="4418" y="12324"/>
                  <a:pt x="4858" y="12764"/>
                  <a:pt x="5400" y="12764"/>
                </a:cubicBezTo>
                <a:cubicBezTo>
                  <a:pt x="5942" y="12764"/>
                  <a:pt x="6382" y="12324"/>
                  <a:pt x="6382" y="11782"/>
                </a:cubicBezTo>
                <a:cubicBezTo>
                  <a:pt x="6382" y="11420"/>
                  <a:pt x="6183" y="11106"/>
                  <a:pt x="5891" y="10936"/>
                </a:cubicBezTo>
                <a:lnTo>
                  <a:pt x="5891" y="8836"/>
                </a:lnTo>
                <a:lnTo>
                  <a:pt x="11782" y="8836"/>
                </a:lnTo>
                <a:lnTo>
                  <a:pt x="11782" y="10936"/>
                </a:lnTo>
                <a:cubicBezTo>
                  <a:pt x="11489" y="11106"/>
                  <a:pt x="11291" y="11420"/>
                  <a:pt x="11291" y="11782"/>
                </a:cubicBezTo>
                <a:cubicBezTo>
                  <a:pt x="11291" y="12324"/>
                  <a:pt x="11731" y="12764"/>
                  <a:pt x="12273" y="12764"/>
                </a:cubicBezTo>
                <a:cubicBezTo>
                  <a:pt x="12815" y="12764"/>
                  <a:pt x="13255" y="12324"/>
                  <a:pt x="13255" y="11782"/>
                </a:cubicBezTo>
                <a:cubicBezTo>
                  <a:pt x="13255" y="11420"/>
                  <a:pt x="13056" y="11106"/>
                  <a:pt x="12764" y="10936"/>
                </a:cubicBezTo>
                <a:lnTo>
                  <a:pt x="12764" y="8836"/>
                </a:lnTo>
                <a:lnTo>
                  <a:pt x="15746" y="8836"/>
                </a:lnTo>
                <a:lnTo>
                  <a:pt x="16502" y="18655"/>
                </a:lnTo>
                <a:lnTo>
                  <a:pt x="1172" y="18655"/>
                </a:lnTo>
                <a:cubicBezTo>
                  <a:pt x="1172" y="18655"/>
                  <a:pt x="1926" y="8836"/>
                  <a:pt x="1926" y="8836"/>
                </a:cubicBezTo>
                <a:close/>
                <a:moveTo>
                  <a:pt x="5891" y="6873"/>
                </a:moveTo>
                <a:cubicBezTo>
                  <a:pt x="5891" y="5246"/>
                  <a:pt x="7210" y="3927"/>
                  <a:pt x="8836" y="3927"/>
                </a:cubicBezTo>
                <a:cubicBezTo>
                  <a:pt x="10463" y="3927"/>
                  <a:pt x="11782" y="5246"/>
                  <a:pt x="11782" y="6873"/>
                </a:cubicBezTo>
                <a:lnTo>
                  <a:pt x="11782" y="7855"/>
                </a:lnTo>
                <a:lnTo>
                  <a:pt x="5891" y="7855"/>
                </a:lnTo>
                <a:cubicBezTo>
                  <a:pt x="5891" y="7855"/>
                  <a:pt x="5891" y="6873"/>
                  <a:pt x="5891" y="6873"/>
                </a:cubicBezTo>
                <a:close/>
                <a:moveTo>
                  <a:pt x="17668" y="21044"/>
                </a:moveTo>
                <a:lnTo>
                  <a:pt x="16687" y="8281"/>
                </a:lnTo>
                <a:lnTo>
                  <a:pt x="16678" y="8282"/>
                </a:lnTo>
                <a:cubicBezTo>
                  <a:pt x="16646" y="8043"/>
                  <a:pt x="16448" y="7855"/>
                  <a:pt x="16200" y="7855"/>
                </a:cubicBezTo>
                <a:lnTo>
                  <a:pt x="12764" y="7855"/>
                </a:lnTo>
                <a:lnTo>
                  <a:pt x="12764" y="6873"/>
                </a:lnTo>
                <a:cubicBezTo>
                  <a:pt x="12764" y="4704"/>
                  <a:pt x="11005" y="2945"/>
                  <a:pt x="8836" y="2945"/>
                </a:cubicBezTo>
                <a:cubicBezTo>
                  <a:pt x="6668" y="2945"/>
                  <a:pt x="4909" y="4704"/>
                  <a:pt x="4909" y="6873"/>
                </a:cubicBezTo>
                <a:lnTo>
                  <a:pt x="4909" y="7855"/>
                </a:lnTo>
                <a:lnTo>
                  <a:pt x="1473" y="7855"/>
                </a:lnTo>
                <a:cubicBezTo>
                  <a:pt x="1224" y="7855"/>
                  <a:pt x="1027" y="8043"/>
                  <a:pt x="995" y="8282"/>
                </a:cubicBezTo>
                <a:lnTo>
                  <a:pt x="986" y="8281"/>
                </a:lnTo>
                <a:lnTo>
                  <a:pt x="4" y="21044"/>
                </a:lnTo>
                <a:lnTo>
                  <a:pt x="13" y="21045"/>
                </a:lnTo>
                <a:cubicBezTo>
                  <a:pt x="10" y="21067"/>
                  <a:pt x="0" y="21087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1"/>
                  <a:pt x="17673" y="21109"/>
                </a:cubicBezTo>
                <a:cubicBezTo>
                  <a:pt x="17673" y="21087"/>
                  <a:pt x="17663" y="21067"/>
                  <a:pt x="17660" y="21045"/>
                </a:cubicBezTo>
                <a:cubicBezTo>
                  <a:pt x="17660" y="21045"/>
                  <a:pt x="17668" y="21044"/>
                  <a:pt x="17668" y="2104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817">
            <a:extLst>
              <a:ext uri="{FF2B5EF4-FFF2-40B4-BE49-F238E27FC236}">
                <a16:creationId xmlns:a16="http://schemas.microsoft.com/office/drawing/2014/main" id="{25D1A2DD-4562-466B-A5C6-F9F4541B9953}"/>
              </a:ext>
            </a:extLst>
          </p:cNvPr>
          <p:cNvSpPr/>
          <p:nvPr/>
        </p:nvSpPr>
        <p:spPr bwMode="gray">
          <a:xfrm>
            <a:off x="10057107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982" y="9600"/>
                </a:lnTo>
                <a:lnTo>
                  <a:pt x="982" y="8400"/>
                </a:lnTo>
                <a:lnTo>
                  <a:pt x="20618" y="8400"/>
                </a:lnTo>
                <a:cubicBezTo>
                  <a:pt x="20618" y="8400"/>
                  <a:pt x="20618" y="9600"/>
                  <a:pt x="20618" y="9600"/>
                </a:cubicBezTo>
                <a:close/>
                <a:moveTo>
                  <a:pt x="19006" y="13200"/>
                </a:moveTo>
                <a:lnTo>
                  <a:pt x="15735" y="13200"/>
                </a:lnTo>
                <a:lnTo>
                  <a:pt x="16045" y="10800"/>
                </a:lnTo>
                <a:lnTo>
                  <a:pt x="19419" y="10800"/>
                </a:lnTo>
                <a:cubicBezTo>
                  <a:pt x="19419" y="10800"/>
                  <a:pt x="19006" y="13200"/>
                  <a:pt x="19006" y="13200"/>
                </a:cubicBezTo>
                <a:close/>
                <a:moveTo>
                  <a:pt x="18386" y="16800"/>
                </a:moveTo>
                <a:lnTo>
                  <a:pt x="15270" y="16800"/>
                </a:lnTo>
                <a:lnTo>
                  <a:pt x="15580" y="14400"/>
                </a:lnTo>
                <a:lnTo>
                  <a:pt x="18799" y="14400"/>
                </a:lnTo>
                <a:cubicBezTo>
                  <a:pt x="18799" y="14400"/>
                  <a:pt x="18386" y="16800"/>
                  <a:pt x="18386" y="16800"/>
                </a:cubicBezTo>
                <a:close/>
                <a:moveTo>
                  <a:pt x="17766" y="20400"/>
                </a:moveTo>
                <a:lnTo>
                  <a:pt x="14805" y="20400"/>
                </a:lnTo>
                <a:lnTo>
                  <a:pt x="15115" y="18000"/>
                </a:lnTo>
                <a:lnTo>
                  <a:pt x="18179" y="18000"/>
                </a:lnTo>
                <a:cubicBezTo>
                  <a:pt x="18179" y="18000"/>
                  <a:pt x="17766" y="20400"/>
                  <a:pt x="17766" y="20400"/>
                </a:cubicBezTo>
                <a:close/>
                <a:moveTo>
                  <a:pt x="11291" y="13200"/>
                </a:moveTo>
                <a:lnTo>
                  <a:pt x="11291" y="10800"/>
                </a:lnTo>
                <a:lnTo>
                  <a:pt x="15063" y="10800"/>
                </a:lnTo>
                <a:lnTo>
                  <a:pt x="14753" y="13200"/>
                </a:lnTo>
                <a:cubicBezTo>
                  <a:pt x="14753" y="13200"/>
                  <a:pt x="11291" y="13200"/>
                  <a:pt x="11291" y="13200"/>
                </a:cubicBezTo>
                <a:close/>
                <a:moveTo>
                  <a:pt x="14289" y="16800"/>
                </a:moveTo>
                <a:lnTo>
                  <a:pt x="11291" y="16800"/>
                </a:lnTo>
                <a:lnTo>
                  <a:pt x="11291" y="14400"/>
                </a:lnTo>
                <a:lnTo>
                  <a:pt x="14598" y="14400"/>
                </a:lnTo>
                <a:cubicBezTo>
                  <a:pt x="14598" y="14400"/>
                  <a:pt x="14289" y="16800"/>
                  <a:pt x="14289" y="16800"/>
                </a:cubicBezTo>
                <a:close/>
                <a:moveTo>
                  <a:pt x="13823" y="20400"/>
                </a:moveTo>
                <a:lnTo>
                  <a:pt x="11291" y="20400"/>
                </a:lnTo>
                <a:lnTo>
                  <a:pt x="11291" y="18000"/>
                </a:lnTo>
                <a:lnTo>
                  <a:pt x="14133" y="18000"/>
                </a:lnTo>
                <a:cubicBezTo>
                  <a:pt x="14133" y="18000"/>
                  <a:pt x="13823" y="20400"/>
                  <a:pt x="13823" y="20400"/>
                </a:cubicBezTo>
                <a:close/>
                <a:moveTo>
                  <a:pt x="10309" y="13200"/>
                </a:moveTo>
                <a:lnTo>
                  <a:pt x="6847" y="13200"/>
                </a:lnTo>
                <a:lnTo>
                  <a:pt x="6537" y="10800"/>
                </a:lnTo>
                <a:lnTo>
                  <a:pt x="10309" y="10800"/>
                </a:lnTo>
                <a:cubicBezTo>
                  <a:pt x="10309" y="10800"/>
                  <a:pt x="10309" y="13200"/>
                  <a:pt x="10309" y="13200"/>
                </a:cubicBezTo>
                <a:close/>
                <a:moveTo>
                  <a:pt x="10309" y="16800"/>
                </a:moveTo>
                <a:lnTo>
                  <a:pt x="7311" y="16800"/>
                </a:lnTo>
                <a:lnTo>
                  <a:pt x="7002" y="14400"/>
                </a:lnTo>
                <a:lnTo>
                  <a:pt x="10309" y="14400"/>
                </a:lnTo>
                <a:cubicBezTo>
                  <a:pt x="10309" y="14400"/>
                  <a:pt x="10309" y="16800"/>
                  <a:pt x="10309" y="16800"/>
                </a:cubicBezTo>
                <a:close/>
                <a:moveTo>
                  <a:pt x="10309" y="20400"/>
                </a:moveTo>
                <a:lnTo>
                  <a:pt x="7777" y="20400"/>
                </a:lnTo>
                <a:lnTo>
                  <a:pt x="7467" y="18000"/>
                </a:lnTo>
                <a:lnTo>
                  <a:pt x="10309" y="18000"/>
                </a:lnTo>
                <a:cubicBezTo>
                  <a:pt x="10309" y="18000"/>
                  <a:pt x="10309" y="20400"/>
                  <a:pt x="10309" y="20400"/>
                </a:cubicBezTo>
                <a:close/>
                <a:moveTo>
                  <a:pt x="3834" y="20400"/>
                </a:moveTo>
                <a:lnTo>
                  <a:pt x="3421" y="18000"/>
                </a:lnTo>
                <a:lnTo>
                  <a:pt x="6485" y="18000"/>
                </a:lnTo>
                <a:lnTo>
                  <a:pt x="6795" y="20400"/>
                </a:lnTo>
                <a:cubicBezTo>
                  <a:pt x="6795" y="20400"/>
                  <a:pt x="3834" y="20400"/>
                  <a:pt x="3834" y="20400"/>
                </a:cubicBezTo>
                <a:close/>
                <a:moveTo>
                  <a:pt x="2801" y="14400"/>
                </a:moveTo>
                <a:lnTo>
                  <a:pt x="6020" y="14400"/>
                </a:lnTo>
                <a:lnTo>
                  <a:pt x="6330" y="16800"/>
                </a:lnTo>
                <a:lnTo>
                  <a:pt x="3214" y="16800"/>
                </a:lnTo>
                <a:cubicBezTo>
                  <a:pt x="3214" y="16800"/>
                  <a:pt x="2801" y="14400"/>
                  <a:pt x="2801" y="14400"/>
                </a:cubicBezTo>
                <a:close/>
                <a:moveTo>
                  <a:pt x="2181" y="10800"/>
                </a:moveTo>
                <a:lnTo>
                  <a:pt x="5555" y="10800"/>
                </a:lnTo>
                <a:lnTo>
                  <a:pt x="5865" y="13200"/>
                </a:lnTo>
                <a:lnTo>
                  <a:pt x="2594" y="13200"/>
                </a:lnTo>
                <a:cubicBezTo>
                  <a:pt x="2594" y="13200"/>
                  <a:pt x="2181" y="10800"/>
                  <a:pt x="2181" y="10800"/>
                </a:cubicBezTo>
                <a:close/>
                <a:moveTo>
                  <a:pt x="10800" y="1320"/>
                </a:moveTo>
                <a:lnTo>
                  <a:pt x="17616" y="7200"/>
                </a:lnTo>
                <a:lnTo>
                  <a:pt x="3984" y="7200"/>
                </a:lnTo>
                <a:cubicBezTo>
                  <a:pt x="3984" y="7200"/>
                  <a:pt x="10800" y="1320"/>
                  <a:pt x="10800" y="1320"/>
                </a:cubicBezTo>
                <a:close/>
                <a:moveTo>
                  <a:pt x="20618" y="7200"/>
                </a:moveTo>
                <a:lnTo>
                  <a:pt x="19284" y="7200"/>
                </a:lnTo>
                <a:lnTo>
                  <a:pt x="11157" y="188"/>
                </a:lnTo>
                <a:lnTo>
                  <a:pt x="11155" y="190"/>
                </a:lnTo>
                <a:cubicBezTo>
                  <a:pt x="11066" y="74"/>
                  <a:pt x="10941" y="0"/>
                  <a:pt x="10800" y="0"/>
                </a:cubicBezTo>
                <a:cubicBezTo>
                  <a:pt x="10659" y="0"/>
                  <a:pt x="10534" y="74"/>
                  <a:pt x="10445" y="190"/>
                </a:cubicBezTo>
                <a:lnTo>
                  <a:pt x="10443" y="188"/>
                </a:lnTo>
                <a:lnTo>
                  <a:pt x="2316" y="7200"/>
                </a:lnTo>
                <a:lnTo>
                  <a:pt x="982" y="7200"/>
                </a:lnTo>
                <a:cubicBezTo>
                  <a:pt x="439" y="7200"/>
                  <a:pt x="0" y="7738"/>
                  <a:pt x="0" y="8400"/>
                </a:cubicBezTo>
                <a:lnTo>
                  <a:pt x="0" y="9600"/>
                </a:lnTo>
                <a:cubicBezTo>
                  <a:pt x="0" y="10262"/>
                  <a:pt x="439" y="10800"/>
                  <a:pt x="982" y="10800"/>
                </a:cubicBezTo>
                <a:lnTo>
                  <a:pt x="1178" y="10800"/>
                </a:lnTo>
                <a:lnTo>
                  <a:pt x="2960" y="21145"/>
                </a:lnTo>
                <a:lnTo>
                  <a:pt x="2969" y="21143"/>
                </a:lnTo>
                <a:cubicBezTo>
                  <a:pt x="3023" y="2140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03"/>
                  <a:pt x="18631" y="21143"/>
                </a:cubicBezTo>
                <a:lnTo>
                  <a:pt x="18640" y="21145"/>
                </a:lnTo>
                <a:lnTo>
                  <a:pt x="20422" y="10800"/>
                </a:ln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8400"/>
                </a:lnTo>
                <a:cubicBezTo>
                  <a:pt x="21600" y="7738"/>
                  <a:pt x="21160" y="7200"/>
                  <a:pt x="20618" y="7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818">
            <a:extLst>
              <a:ext uri="{FF2B5EF4-FFF2-40B4-BE49-F238E27FC236}">
                <a16:creationId xmlns:a16="http://schemas.microsoft.com/office/drawing/2014/main" id="{A245CAD1-B1CD-4FBD-AD89-F2DC70479D82}"/>
              </a:ext>
            </a:extLst>
          </p:cNvPr>
          <p:cNvSpPr/>
          <p:nvPr/>
        </p:nvSpPr>
        <p:spPr bwMode="gray">
          <a:xfrm>
            <a:off x="10611419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10453" y="7402"/>
                </a:moveTo>
                <a:cubicBezTo>
                  <a:pt x="10542" y="7500"/>
                  <a:pt x="10665" y="7560"/>
                  <a:pt x="10800" y="7560"/>
                </a:cubicBezTo>
                <a:cubicBezTo>
                  <a:pt x="10936" y="7560"/>
                  <a:pt x="11058" y="7500"/>
                  <a:pt x="11147" y="7402"/>
                </a:cubicBezTo>
                <a:lnTo>
                  <a:pt x="13111" y="5242"/>
                </a:lnTo>
                <a:cubicBezTo>
                  <a:pt x="13200" y="5144"/>
                  <a:pt x="13255" y="5009"/>
                  <a:pt x="13255" y="4860"/>
                </a:cubicBezTo>
                <a:cubicBezTo>
                  <a:pt x="13255" y="4562"/>
                  <a:pt x="13035" y="4320"/>
                  <a:pt x="12764" y="4320"/>
                </a:cubicBezTo>
                <a:cubicBezTo>
                  <a:pt x="12628" y="4320"/>
                  <a:pt x="12506" y="4381"/>
                  <a:pt x="12417" y="4478"/>
                </a:cubicBezTo>
                <a:lnTo>
                  <a:pt x="11291" y="57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5716"/>
                </a:lnTo>
                <a:lnTo>
                  <a:pt x="9183" y="4478"/>
                </a:lnTo>
                <a:cubicBezTo>
                  <a:pt x="9095" y="4381"/>
                  <a:pt x="8972" y="4320"/>
                  <a:pt x="8836" y="4320"/>
                </a:cubicBezTo>
                <a:cubicBezTo>
                  <a:pt x="8565" y="4320"/>
                  <a:pt x="8345" y="4562"/>
                  <a:pt x="8345" y="4860"/>
                </a:cubicBezTo>
                <a:cubicBezTo>
                  <a:pt x="8345" y="5009"/>
                  <a:pt x="8400" y="5144"/>
                  <a:pt x="8489" y="5242"/>
                </a:cubicBezTo>
                <a:cubicBezTo>
                  <a:pt x="8489" y="5242"/>
                  <a:pt x="10453" y="7402"/>
                  <a:pt x="10453" y="740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819">
            <a:extLst>
              <a:ext uri="{FF2B5EF4-FFF2-40B4-BE49-F238E27FC236}">
                <a16:creationId xmlns:a16="http://schemas.microsoft.com/office/drawing/2014/main" id="{87E165BD-1D09-4A7D-A1C3-29CE959B3FD5}"/>
              </a:ext>
            </a:extLst>
          </p:cNvPr>
          <p:cNvSpPr/>
          <p:nvPr/>
        </p:nvSpPr>
        <p:spPr bwMode="gray">
          <a:xfrm>
            <a:off x="11165731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836" y="3240"/>
                </a:moveTo>
                <a:cubicBezTo>
                  <a:pt x="8972" y="3240"/>
                  <a:pt x="9095" y="3179"/>
                  <a:pt x="9183" y="3082"/>
                </a:cubicBezTo>
                <a:lnTo>
                  <a:pt x="10309" y="1844"/>
                </a:lnTo>
                <a:lnTo>
                  <a:pt x="10309" y="7020"/>
                </a:lnTo>
                <a:cubicBezTo>
                  <a:pt x="10309" y="7318"/>
                  <a:pt x="10529" y="7560"/>
                  <a:pt x="10800" y="7560"/>
                </a:cubicBezTo>
                <a:cubicBezTo>
                  <a:pt x="11071" y="7560"/>
                  <a:pt x="11291" y="7318"/>
                  <a:pt x="11291" y="7020"/>
                </a:cubicBezTo>
                <a:lnTo>
                  <a:pt x="11291" y="1844"/>
                </a:lnTo>
                <a:lnTo>
                  <a:pt x="12417" y="3082"/>
                </a:lnTo>
                <a:cubicBezTo>
                  <a:pt x="12505" y="3179"/>
                  <a:pt x="12628" y="3240"/>
                  <a:pt x="12764" y="3240"/>
                </a:cubicBezTo>
                <a:cubicBezTo>
                  <a:pt x="13035" y="3240"/>
                  <a:pt x="13255" y="2998"/>
                  <a:pt x="13255" y="2700"/>
                </a:cubicBezTo>
                <a:cubicBezTo>
                  <a:pt x="13255" y="2551"/>
                  <a:pt x="13199" y="2416"/>
                  <a:pt x="13111" y="231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0"/>
                  <a:pt x="10453" y="158"/>
                </a:cubicBezTo>
                <a:lnTo>
                  <a:pt x="8489" y="2318"/>
                </a:lnTo>
                <a:cubicBezTo>
                  <a:pt x="8400" y="2416"/>
                  <a:pt x="8345" y="2551"/>
                  <a:pt x="8345" y="2700"/>
                </a:cubicBezTo>
                <a:cubicBezTo>
                  <a:pt x="8345" y="2998"/>
                  <a:pt x="8565" y="3240"/>
                  <a:pt x="8836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820">
            <a:extLst>
              <a:ext uri="{FF2B5EF4-FFF2-40B4-BE49-F238E27FC236}">
                <a16:creationId xmlns:a16="http://schemas.microsoft.com/office/drawing/2014/main" id="{D66EFE9E-4DFC-471D-9BA6-47D90A4DCE4A}"/>
              </a:ext>
            </a:extLst>
          </p:cNvPr>
          <p:cNvSpPr/>
          <p:nvPr/>
        </p:nvSpPr>
        <p:spPr bwMode="gray">
          <a:xfrm>
            <a:off x="6176924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507" y="3082"/>
                </a:moveTo>
                <a:lnTo>
                  <a:pt x="7507" y="3082"/>
                </a:lnTo>
                <a:lnTo>
                  <a:pt x="9471" y="5242"/>
                </a:lnTo>
                <a:cubicBezTo>
                  <a:pt x="9560" y="5340"/>
                  <a:pt x="9683" y="5400"/>
                  <a:pt x="9818" y="5400"/>
                </a:cubicBezTo>
                <a:cubicBezTo>
                  <a:pt x="10089" y="5400"/>
                  <a:pt x="10309" y="5158"/>
                  <a:pt x="10309" y="4860"/>
                </a:cubicBezTo>
                <a:cubicBezTo>
                  <a:pt x="10309" y="4712"/>
                  <a:pt x="10254" y="4577"/>
                  <a:pt x="10165" y="4478"/>
                </a:cubicBezTo>
                <a:lnTo>
                  <a:pt x="9040" y="3240"/>
                </a:lnTo>
                <a:lnTo>
                  <a:pt x="13745" y="3240"/>
                </a:lnTo>
                <a:lnTo>
                  <a:pt x="13745" y="3240"/>
                </a:lnTo>
                <a:cubicBezTo>
                  <a:pt x="14016" y="3240"/>
                  <a:pt x="14236" y="2998"/>
                  <a:pt x="14236" y="2700"/>
                </a:cubicBezTo>
                <a:cubicBezTo>
                  <a:pt x="14236" y="2402"/>
                  <a:pt x="14016" y="2160"/>
                  <a:pt x="13745" y="2160"/>
                </a:cubicBezTo>
                <a:lnTo>
                  <a:pt x="9040" y="2160"/>
                </a:lnTo>
                <a:lnTo>
                  <a:pt x="10165" y="922"/>
                </a:lnTo>
                <a:cubicBezTo>
                  <a:pt x="10254" y="824"/>
                  <a:pt x="10309" y="689"/>
                  <a:pt x="10309" y="540"/>
                </a:cubicBezTo>
                <a:cubicBezTo>
                  <a:pt x="10309" y="242"/>
                  <a:pt x="10089" y="0"/>
                  <a:pt x="9818" y="0"/>
                </a:cubicBezTo>
                <a:cubicBezTo>
                  <a:pt x="9683" y="0"/>
                  <a:pt x="9560" y="61"/>
                  <a:pt x="9471" y="158"/>
                </a:cubicBezTo>
                <a:lnTo>
                  <a:pt x="7507" y="2318"/>
                </a:lnTo>
                <a:lnTo>
                  <a:pt x="7507" y="2318"/>
                </a:lnTo>
                <a:cubicBezTo>
                  <a:pt x="7419" y="2417"/>
                  <a:pt x="7364" y="2552"/>
                  <a:pt x="7364" y="2700"/>
                </a:cubicBezTo>
                <a:cubicBezTo>
                  <a:pt x="7364" y="2849"/>
                  <a:pt x="7419" y="2984"/>
                  <a:pt x="7507" y="30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821">
            <a:extLst>
              <a:ext uri="{FF2B5EF4-FFF2-40B4-BE49-F238E27FC236}">
                <a16:creationId xmlns:a16="http://schemas.microsoft.com/office/drawing/2014/main" id="{8BA28D26-B50C-432C-88F4-74F487BE4224}"/>
              </a:ext>
            </a:extLst>
          </p:cNvPr>
          <p:cNvSpPr/>
          <p:nvPr/>
        </p:nvSpPr>
        <p:spPr bwMode="gray">
          <a:xfrm>
            <a:off x="6731235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855" y="3240"/>
                </a:moveTo>
                <a:lnTo>
                  <a:pt x="7855" y="3240"/>
                </a:lnTo>
                <a:lnTo>
                  <a:pt x="12560" y="3240"/>
                </a:lnTo>
                <a:lnTo>
                  <a:pt x="11435" y="4478"/>
                </a:lnTo>
                <a:cubicBezTo>
                  <a:pt x="11346" y="4577"/>
                  <a:pt x="11291" y="4712"/>
                  <a:pt x="11291" y="4860"/>
                </a:cubicBezTo>
                <a:cubicBezTo>
                  <a:pt x="11291" y="5158"/>
                  <a:pt x="11511" y="5400"/>
                  <a:pt x="11782" y="5400"/>
                </a:cubicBezTo>
                <a:cubicBezTo>
                  <a:pt x="11917" y="5400"/>
                  <a:pt x="12040" y="5340"/>
                  <a:pt x="12129" y="5242"/>
                </a:cubicBezTo>
                <a:lnTo>
                  <a:pt x="14093" y="3082"/>
                </a:lnTo>
                <a:cubicBezTo>
                  <a:pt x="14181" y="2984"/>
                  <a:pt x="14236" y="2849"/>
                  <a:pt x="14236" y="2700"/>
                </a:cubicBezTo>
                <a:cubicBezTo>
                  <a:pt x="14236" y="2552"/>
                  <a:pt x="14181" y="2417"/>
                  <a:pt x="14093" y="2318"/>
                </a:cubicBezTo>
                <a:lnTo>
                  <a:pt x="12129" y="158"/>
                </a:lnTo>
                <a:cubicBezTo>
                  <a:pt x="12040" y="61"/>
                  <a:pt x="11917" y="0"/>
                  <a:pt x="11782" y="0"/>
                </a:cubicBezTo>
                <a:cubicBezTo>
                  <a:pt x="11511" y="0"/>
                  <a:pt x="11291" y="242"/>
                  <a:pt x="11291" y="540"/>
                </a:cubicBezTo>
                <a:cubicBezTo>
                  <a:pt x="11291" y="689"/>
                  <a:pt x="11346" y="824"/>
                  <a:pt x="11435" y="922"/>
                </a:cubicBezTo>
                <a:lnTo>
                  <a:pt x="12560" y="2160"/>
                </a:lnTo>
                <a:lnTo>
                  <a:pt x="7855" y="2160"/>
                </a:lnTo>
                <a:cubicBezTo>
                  <a:pt x="7584" y="2160"/>
                  <a:pt x="7364" y="2402"/>
                  <a:pt x="7364" y="2700"/>
                </a:cubicBezTo>
                <a:cubicBezTo>
                  <a:pt x="7364" y="2998"/>
                  <a:pt x="7584" y="3240"/>
                  <a:pt x="7855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822">
            <a:extLst>
              <a:ext uri="{FF2B5EF4-FFF2-40B4-BE49-F238E27FC236}">
                <a16:creationId xmlns:a16="http://schemas.microsoft.com/office/drawing/2014/main" id="{8A64C5F4-E9EC-41CB-96FF-C5DF866CD659}"/>
              </a:ext>
            </a:extLst>
          </p:cNvPr>
          <p:cNvSpPr/>
          <p:nvPr/>
        </p:nvSpPr>
        <p:spPr bwMode="gray">
          <a:xfrm>
            <a:off x="7285547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345" y="3780"/>
                </a:moveTo>
                <a:lnTo>
                  <a:pt x="10309" y="3780"/>
                </a:lnTo>
                <a:lnTo>
                  <a:pt x="10309" y="5940"/>
                </a:lnTo>
                <a:cubicBezTo>
                  <a:pt x="10309" y="6238"/>
                  <a:pt x="10529" y="6480"/>
                  <a:pt x="10800" y="6480"/>
                </a:cubicBezTo>
                <a:cubicBezTo>
                  <a:pt x="11071" y="6480"/>
                  <a:pt x="11291" y="6238"/>
                  <a:pt x="11291" y="5940"/>
                </a:cubicBezTo>
                <a:lnTo>
                  <a:pt x="11291" y="3780"/>
                </a:lnTo>
                <a:lnTo>
                  <a:pt x="13255" y="3780"/>
                </a:lnTo>
                <a:cubicBezTo>
                  <a:pt x="13525" y="3780"/>
                  <a:pt x="13745" y="3538"/>
                  <a:pt x="13745" y="3240"/>
                </a:cubicBezTo>
                <a:cubicBezTo>
                  <a:pt x="13745" y="2942"/>
                  <a:pt x="13525" y="2700"/>
                  <a:pt x="13255" y="2700"/>
                </a:cubicBezTo>
                <a:lnTo>
                  <a:pt x="11291" y="2700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2700"/>
                </a:lnTo>
                <a:lnTo>
                  <a:pt x="8345" y="2700"/>
                </a:lnTo>
                <a:cubicBezTo>
                  <a:pt x="8075" y="2700"/>
                  <a:pt x="7855" y="2942"/>
                  <a:pt x="7855" y="3240"/>
                </a:cubicBezTo>
                <a:cubicBezTo>
                  <a:pt x="7855" y="3538"/>
                  <a:pt x="8075" y="3780"/>
                  <a:pt x="8345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823">
            <a:extLst>
              <a:ext uri="{FF2B5EF4-FFF2-40B4-BE49-F238E27FC236}">
                <a16:creationId xmlns:a16="http://schemas.microsoft.com/office/drawing/2014/main" id="{97DC2606-BD26-4069-8F9D-A29CBE01AC6D}"/>
              </a:ext>
            </a:extLst>
          </p:cNvPr>
          <p:cNvSpPr/>
          <p:nvPr/>
        </p:nvSpPr>
        <p:spPr bwMode="gray">
          <a:xfrm>
            <a:off x="7839859" y="2346352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257"/>
                </a:moveTo>
                <a:lnTo>
                  <a:pt x="982" y="9257"/>
                </a:lnTo>
                <a:lnTo>
                  <a:pt x="982" y="8023"/>
                </a:lnTo>
                <a:lnTo>
                  <a:pt x="20618" y="8023"/>
                </a:lnTo>
                <a:cubicBezTo>
                  <a:pt x="20618" y="8023"/>
                  <a:pt x="20618" y="9257"/>
                  <a:pt x="20618" y="9257"/>
                </a:cubicBezTo>
                <a:close/>
                <a:moveTo>
                  <a:pt x="19006" y="12960"/>
                </a:moveTo>
                <a:lnTo>
                  <a:pt x="15735" y="12960"/>
                </a:lnTo>
                <a:lnTo>
                  <a:pt x="16045" y="10491"/>
                </a:lnTo>
                <a:lnTo>
                  <a:pt x="19419" y="10491"/>
                </a:lnTo>
                <a:cubicBezTo>
                  <a:pt x="19419" y="10491"/>
                  <a:pt x="19006" y="12960"/>
                  <a:pt x="19006" y="12960"/>
                </a:cubicBezTo>
                <a:close/>
                <a:moveTo>
                  <a:pt x="18386" y="16663"/>
                </a:moveTo>
                <a:lnTo>
                  <a:pt x="15270" y="16663"/>
                </a:lnTo>
                <a:lnTo>
                  <a:pt x="15580" y="14194"/>
                </a:lnTo>
                <a:lnTo>
                  <a:pt x="18799" y="14194"/>
                </a:lnTo>
                <a:cubicBezTo>
                  <a:pt x="18799" y="14194"/>
                  <a:pt x="18386" y="16663"/>
                  <a:pt x="18386" y="16663"/>
                </a:cubicBezTo>
                <a:close/>
                <a:moveTo>
                  <a:pt x="17765" y="20366"/>
                </a:moveTo>
                <a:lnTo>
                  <a:pt x="14805" y="20366"/>
                </a:lnTo>
                <a:lnTo>
                  <a:pt x="15115" y="17897"/>
                </a:lnTo>
                <a:lnTo>
                  <a:pt x="18179" y="17897"/>
                </a:lnTo>
                <a:cubicBezTo>
                  <a:pt x="18179" y="17897"/>
                  <a:pt x="17765" y="20366"/>
                  <a:pt x="17765" y="20366"/>
                </a:cubicBezTo>
                <a:close/>
                <a:moveTo>
                  <a:pt x="11291" y="12960"/>
                </a:moveTo>
                <a:lnTo>
                  <a:pt x="11291" y="10491"/>
                </a:lnTo>
                <a:lnTo>
                  <a:pt x="15063" y="10491"/>
                </a:lnTo>
                <a:lnTo>
                  <a:pt x="14753" y="12960"/>
                </a:lnTo>
                <a:cubicBezTo>
                  <a:pt x="14753" y="12960"/>
                  <a:pt x="11291" y="12960"/>
                  <a:pt x="11291" y="12960"/>
                </a:cubicBezTo>
                <a:close/>
                <a:moveTo>
                  <a:pt x="14288" y="16663"/>
                </a:moveTo>
                <a:lnTo>
                  <a:pt x="11291" y="16663"/>
                </a:lnTo>
                <a:lnTo>
                  <a:pt x="11291" y="14194"/>
                </a:lnTo>
                <a:lnTo>
                  <a:pt x="14598" y="14194"/>
                </a:lnTo>
                <a:cubicBezTo>
                  <a:pt x="14598" y="14194"/>
                  <a:pt x="14288" y="16663"/>
                  <a:pt x="14288" y="16663"/>
                </a:cubicBezTo>
                <a:close/>
                <a:moveTo>
                  <a:pt x="13823" y="20366"/>
                </a:moveTo>
                <a:lnTo>
                  <a:pt x="11291" y="20366"/>
                </a:lnTo>
                <a:lnTo>
                  <a:pt x="11291" y="17897"/>
                </a:lnTo>
                <a:lnTo>
                  <a:pt x="14133" y="17897"/>
                </a:lnTo>
                <a:cubicBezTo>
                  <a:pt x="14133" y="17897"/>
                  <a:pt x="13823" y="20366"/>
                  <a:pt x="13823" y="20366"/>
                </a:cubicBezTo>
                <a:close/>
                <a:moveTo>
                  <a:pt x="10309" y="12960"/>
                </a:moveTo>
                <a:lnTo>
                  <a:pt x="6847" y="12960"/>
                </a:lnTo>
                <a:lnTo>
                  <a:pt x="6537" y="10491"/>
                </a:lnTo>
                <a:lnTo>
                  <a:pt x="10309" y="10491"/>
                </a:lnTo>
                <a:cubicBezTo>
                  <a:pt x="10309" y="10491"/>
                  <a:pt x="10309" y="12960"/>
                  <a:pt x="10309" y="12960"/>
                </a:cubicBezTo>
                <a:close/>
                <a:moveTo>
                  <a:pt x="10309" y="16663"/>
                </a:moveTo>
                <a:lnTo>
                  <a:pt x="7312" y="16663"/>
                </a:lnTo>
                <a:lnTo>
                  <a:pt x="7002" y="14194"/>
                </a:lnTo>
                <a:lnTo>
                  <a:pt x="10309" y="14194"/>
                </a:lnTo>
                <a:cubicBezTo>
                  <a:pt x="10309" y="14194"/>
                  <a:pt x="10309" y="16663"/>
                  <a:pt x="10309" y="16663"/>
                </a:cubicBezTo>
                <a:close/>
                <a:moveTo>
                  <a:pt x="10309" y="20366"/>
                </a:moveTo>
                <a:lnTo>
                  <a:pt x="7777" y="20366"/>
                </a:lnTo>
                <a:lnTo>
                  <a:pt x="7467" y="17897"/>
                </a:lnTo>
                <a:lnTo>
                  <a:pt x="10309" y="17897"/>
                </a:lnTo>
                <a:cubicBezTo>
                  <a:pt x="10309" y="17897"/>
                  <a:pt x="10309" y="20366"/>
                  <a:pt x="10309" y="20366"/>
                </a:cubicBezTo>
                <a:close/>
                <a:moveTo>
                  <a:pt x="3834" y="20366"/>
                </a:moveTo>
                <a:lnTo>
                  <a:pt x="3421" y="17897"/>
                </a:lnTo>
                <a:lnTo>
                  <a:pt x="6485" y="17897"/>
                </a:lnTo>
                <a:lnTo>
                  <a:pt x="6795" y="20366"/>
                </a:lnTo>
                <a:cubicBezTo>
                  <a:pt x="6795" y="20366"/>
                  <a:pt x="3834" y="20366"/>
                  <a:pt x="3834" y="20366"/>
                </a:cubicBezTo>
                <a:close/>
                <a:moveTo>
                  <a:pt x="2801" y="14194"/>
                </a:moveTo>
                <a:lnTo>
                  <a:pt x="6020" y="14194"/>
                </a:lnTo>
                <a:lnTo>
                  <a:pt x="6330" y="16663"/>
                </a:lnTo>
                <a:lnTo>
                  <a:pt x="3214" y="16663"/>
                </a:lnTo>
                <a:cubicBezTo>
                  <a:pt x="3214" y="16663"/>
                  <a:pt x="2801" y="14194"/>
                  <a:pt x="2801" y="14194"/>
                </a:cubicBezTo>
                <a:close/>
                <a:moveTo>
                  <a:pt x="2181" y="10491"/>
                </a:moveTo>
                <a:lnTo>
                  <a:pt x="5555" y="10491"/>
                </a:lnTo>
                <a:lnTo>
                  <a:pt x="5865" y="12960"/>
                </a:lnTo>
                <a:lnTo>
                  <a:pt x="2594" y="12960"/>
                </a:lnTo>
                <a:cubicBezTo>
                  <a:pt x="2594" y="12960"/>
                  <a:pt x="2181" y="10491"/>
                  <a:pt x="2181" y="10491"/>
                </a:cubicBezTo>
                <a:close/>
                <a:moveTo>
                  <a:pt x="20618" y="6789"/>
                </a:moveTo>
                <a:lnTo>
                  <a:pt x="982" y="6789"/>
                </a:lnTo>
                <a:cubicBezTo>
                  <a:pt x="440" y="6789"/>
                  <a:pt x="0" y="7342"/>
                  <a:pt x="0" y="8023"/>
                </a:cubicBezTo>
                <a:lnTo>
                  <a:pt x="0" y="9257"/>
                </a:lnTo>
                <a:cubicBezTo>
                  <a:pt x="0" y="9939"/>
                  <a:pt x="440" y="10491"/>
                  <a:pt x="982" y="10491"/>
                </a:cubicBezTo>
                <a:lnTo>
                  <a:pt x="1178" y="10491"/>
                </a:lnTo>
                <a:lnTo>
                  <a:pt x="2960" y="21133"/>
                </a:lnTo>
                <a:lnTo>
                  <a:pt x="2969" y="21130"/>
                </a:lnTo>
                <a:cubicBezTo>
                  <a:pt x="3023" y="21398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398"/>
                  <a:pt x="18631" y="21130"/>
                </a:cubicBezTo>
                <a:lnTo>
                  <a:pt x="18640" y="21133"/>
                </a:lnTo>
                <a:lnTo>
                  <a:pt x="20422" y="10491"/>
                </a:lnTo>
                <a:lnTo>
                  <a:pt x="20618" y="10491"/>
                </a:lnTo>
                <a:cubicBezTo>
                  <a:pt x="21160" y="10491"/>
                  <a:pt x="21600" y="9939"/>
                  <a:pt x="21600" y="9257"/>
                </a:cubicBezTo>
                <a:lnTo>
                  <a:pt x="21600" y="8023"/>
                </a:lnTo>
                <a:cubicBezTo>
                  <a:pt x="21600" y="7342"/>
                  <a:pt x="21160" y="6789"/>
                  <a:pt x="20618" y="6789"/>
                </a:cubicBezTo>
                <a:moveTo>
                  <a:pt x="8345" y="1234"/>
                </a:moveTo>
                <a:lnTo>
                  <a:pt x="13255" y="1234"/>
                </a:lnTo>
                <a:cubicBezTo>
                  <a:pt x="13525" y="1234"/>
                  <a:pt x="13745" y="958"/>
                  <a:pt x="13745" y="617"/>
                </a:cubicBezTo>
                <a:cubicBezTo>
                  <a:pt x="13745" y="276"/>
                  <a:pt x="13525" y="0"/>
                  <a:pt x="13255" y="0"/>
                </a:cubicBezTo>
                <a:lnTo>
                  <a:pt x="8345" y="0"/>
                </a:lnTo>
                <a:cubicBezTo>
                  <a:pt x="8075" y="0"/>
                  <a:pt x="7855" y="276"/>
                  <a:pt x="7855" y="617"/>
                </a:cubicBezTo>
                <a:cubicBezTo>
                  <a:pt x="7855" y="958"/>
                  <a:pt x="8075" y="1234"/>
                  <a:pt x="8345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824">
            <a:extLst>
              <a:ext uri="{FF2B5EF4-FFF2-40B4-BE49-F238E27FC236}">
                <a16:creationId xmlns:a16="http://schemas.microsoft.com/office/drawing/2014/main" id="{D0BF485F-5894-421D-88B2-82B6FE42E658}"/>
              </a:ext>
            </a:extLst>
          </p:cNvPr>
          <p:cNvSpPr/>
          <p:nvPr/>
        </p:nvSpPr>
        <p:spPr bwMode="gray">
          <a:xfrm>
            <a:off x="8394171" y="2313357"/>
            <a:ext cx="290354" cy="2903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88" extrusionOk="0">
                <a:moveTo>
                  <a:pt x="10309" y="9720"/>
                </a:moveTo>
                <a:lnTo>
                  <a:pt x="9327" y="9720"/>
                </a:lnTo>
                <a:cubicBezTo>
                  <a:pt x="9056" y="9720"/>
                  <a:pt x="8836" y="9937"/>
                  <a:pt x="8836" y="10206"/>
                </a:cubicBezTo>
                <a:cubicBezTo>
                  <a:pt x="8836" y="10475"/>
                  <a:pt x="9056" y="10692"/>
                  <a:pt x="9327" y="10692"/>
                </a:cubicBezTo>
                <a:lnTo>
                  <a:pt x="10309" y="10692"/>
                </a:lnTo>
                <a:cubicBezTo>
                  <a:pt x="10580" y="10692"/>
                  <a:pt x="10800" y="10475"/>
                  <a:pt x="10800" y="10206"/>
                </a:cubicBezTo>
                <a:cubicBezTo>
                  <a:pt x="10800" y="9937"/>
                  <a:pt x="10580" y="9720"/>
                  <a:pt x="10309" y="9720"/>
                </a:cubicBezTo>
                <a:moveTo>
                  <a:pt x="13255" y="18471"/>
                </a:moveTo>
                <a:lnTo>
                  <a:pt x="12273" y="18471"/>
                </a:lnTo>
                <a:cubicBezTo>
                  <a:pt x="12002" y="18471"/>
                  <a:pt x="11782" y="18689"/>
                  <a:pt x="11782" y="18957"/>
                </a:cubicBezTo>
                <a:cubicBezTo>
                  <a:pt x="11782" y="19226"/>
                  <a:pt x="12002" y="19443"/>
                  <a:pt x="12273" y="19443"/>
                </a:cubicBezTo>
                <a:lnTo>
                  <a:pt x="13255" y="19443"/>
                </a:lnTo>
                <a:cubicBezTo>
                  <a:pt x="13525" y="19443"/>
                  <a:pt x="13745" y="19226"/>
                  <a:pt x="13745" y="18957"/>
                </a:cubicBezTo>
                <a:cubicBezTo>
                  <a:pt x="13745" y="18689"/>
                  <a:pt x="13525" y="18471"/>
                  <a:pt x="13255" y="18471"/>
                </a:cubicBezTo>
                <a:moveTo>
                  <a:pt x="10309" y="18471"/>
                </a:moveTo>
                <a:lnTo>
                  <a:pt x="9327" y="18471"/>
                </a:lnTo>
                <a:cubicBezTo>
                  <a:pt x="9056" y="18471"/>
                  <a:pt x="8836" y="18689"/>
                  <a:pt x="8836" y="18957"/>
                </a:cubicBezTo>
                <a:cubicBezTo>
                  <a:pt x="8836" y="19226"/>
                  <a:pt x="9056" y="19443"/>
                  <a:pt x="9327" y="19443"/>
                </a:cubicBezTo>
                <a:lnTo>
                  <a:pt x="10309" y="19443"/>
                </a:lnTo>
                <a:cubicBezTo>
                  <a:pt x="10580" y="19443"/>
                  <a:pt x="10800" y="19226"/>
                  <a:pt x="10800" y="18957"/>
                </a:cubicBezTo>
                <a:cubicBezTo>
                  <a:pt x="10800" y="18689"/>
                  <a:pt x="10580" y="18471"/>
                  <a:pt x="10309" y="18471"/>
                </a:cubicBezTo>
                <a:moveTo>
                  <a:pt x="20618" y="15554"/>
                </a:moveTo>
                <a:cubicBezTo>
                  <a:pt x="20618" y="16091"/>
                  <a:pt x="20178" y="16526"/>
                  <a:pt x="19636" y="16526"/>
                </a:cubicBezTo>
                <a:lnTo>
                  <a:pt x="16691" y="16526"/>
                </a:lnTo>
                <a:cubicBezTo>
                  <a:pt x="16149" y="16526"/>
                  <a:pt x="15709" y="16091"/>
                  <a:pt x="15709" y="15554"/>
                </a:cubicBezTo>
                <a:lnTo>
                  <a:pt x="15709" y="13609"/>
                </a:lnTo>
                <a:cubicBezTo>
                  <a:pt x="15709" y="13073"/>
                  <a:pt x="16149" y="12637"/>
                  <a:pt x="16691" y="12637"/>
                </a:cubicBezTo>
                <a:lnTo>
                  <a:pt x="19636" y="12637"/>
                </a:lnTo>
                <a:cubicBezTo>
                  <a:pt x="20178" y="12637"/>
                  <a:pt x="20618" y="13073"/>
                  <a:pt x="20618" y="13609"/>
                </a:cubicBezTo>
                <a:cubicBezTo>
                  <a:pt x="20618" y="13609"/>
                  <a:pt x="20618" y="15554"/>
                  <a:pt x="20618" y="15554"/>
                </a:cubicBezTo>
                <a:close/>
                <a:moveTo>
                  <a:pt x="18655" y="19443"/>
                </a:moveTo>
                <a:cubicBezTo>
                  <a:pt x="18655" y="19980"/>
                  <a:pt x="18215" y="20416"/>
                  <a:pt x="17673" y="20416"/>
                </a:cubicBezTo>
                <a:lnTo>
                  <a:pt x="1964" y="20416"/>
                </a:lnTo>
                <a:cubicBezTo>
                  <a:pt x="1422" y="20416"/>
                  <a:pt x="982" y="19980"/>
                  <a:pt x="982" y="19443"/>
                </a:cubicBezTo>
                <a:lnTo>
                  <a:pt x="982" y="9720"/>
                </a:lnTo>
                <a:cubicBezTo>
                  <a:pt x="982" y="9183"/>
                  <a:pt x="1422" y="8747"/>
                  <a:pt x="1964" y="8747"/>
                </a:cubicBezTo>
                <a:lnTo>
                  <a:pt x="17673" y="8747"/>
                </a:lnTo>
                <a:cubicBezTo>
                  <a:pt x="18215" y="8747"/>
                  <a:pt x="18655" y="9183"/>
                  <a:pt x="18655" y="9720"/>
                </a:cubicBezTo>
                <a:lnTo>
                  <a:pt x="18655" y="11664"/>
                </a:lnTo>
                <a:lnTo>
                  <a:pt x="16691" y="11664"/>
                </a:lnTo>
                <a:cubicBezTo>
                  <a:pt x="15606" y="11664"/>
                  <a:pt x="14727" y="12535"/>
                  <a:pt x="14727" y="13609"/>
                </a:cubicBezTo>
                <a:lnTo>
                  <a:pt x="14727" y="15554"/>
                </a:lnTo>
                <a:cubicBezTo>
                  <a:pt x="14727" y="16628"/>
                  <a:pt x="15606" y="17499"/>
                  <a:pt x="16691" y="17499"/>
                </a:cubicBezTo>
                <a:lnTo>
                  <a:pt x="18655" y="17499"/>
                </a:lnTo>
                <a:cubicBezTo>
                  <a:pt x="18655" y="17499"/>
                  <a:pt x="18655" y="19443"/>
                  <a:pt x="18655" y="19443"/>
                </a:cubicBezTo>
                <a:close/>
                <a:moveTo>
                  <a:pt x="982" y="7775"/>
                </a:moveTo>
                <a:cubicBezTo>
                  <a:pt x="982" y="7238"/>
                  <a:pt x="1422" y="6803"/>
                  <a:pt x="1964" y="6803"/>
                </a:cubicBezTo>
                <a:lnTo>
                  <a:pt x="2555" y="6803"/>
                </a:lnTo>
                <a:lnTo>
                  <a:pt x="2817" y="7775"/>
                </a:lnTo>
                <a:lnTo>
                  <a:pt x="1964" y="7775"/>
                </a:lnTo>
                <a:cubicBezTo>
                  <a:pt x="1604" y="7775"/>
                  <a:pt x="1271" y="7878"/>
                  <a:pt x="982" y="8045"/>
                </a:cubicBezTo>
                <a:cubicBezTo>
                  <a:pt x="982" y="8045"/>
                  <a:pt x="982" y="7775"/>
                  <a:pt x="982" y="7775"/>
                </a:cubicBezTo>
                <a:close/>
                <a:moveTo>
                  <a:pt x="3721" y="3600"/>
                </a:moveTo>
                <a:lnTo>
                  <a:pt x="13629" y="1005"/>
                </a:lnTo>
                <a:cubicBezTo>
                  <a:pt x="14152" y="866"/>
                  <a:pt x="14690" y="1174"/>
                  <a:pt x="14831" y="1693"/>
                </a:cubicBezTo>
                <a:lnTo>
                  <a:pt x="15085" y="2631"/>
                </a:lnTo>
                <a:lnTo>
                  <a:pt x="3281" y="5731"/>
                </a:lnTo>
                <a:lnTo>
                  <a:pt x="3026" y="4791"/>
                </a:lnTo>
                <a:cubicBezTo>
                  <a:pt x="2886" y="4272"/>
                  <a:pt x="3197" y="3739"/>
                  <a:pt x="3721" y="3600"/>
                </a:cubicBezTo>
                <a:moveTo>
                  <a:pt x="15847" y="5448"/>
                </a:moveTo>
                <a:lnTo>
                  <a:pt x="16476" y="7775"/>
                </a:lnTo>
                <a:lnTo>
                  <a:pt x="6989" y="7775"/>
                </a:lnTo>
                <a:cubicBezTo>
                  <a:pt x="6989" y="7775"/>
                  <a:pt x="15847" y="5448"/>
                  <a:pt x="15847" y="5448"/>
                </a:cubicBezTo>
                <a:close/>
                <a:moveTo>
                  <a:pt x="17673" y="6803"/>
                </a:moveTo>
                <a:cubicBezTo>
                  <a:pt x="18215" y="6803"/>
                  <a:pt x="18655" y="7238"/>
                  <a:pt x="18655" y="7775"/>
                </a:cubicBezTo>
                <a:lnTo>
                  <a:pt x="18655" y="8045"/>
                </a:lnTo>
                <a:cubicBezTo>
                  <a:pt x="18365" y="7878"/>
                  <a:pt x="18032" y="7775"/>
                  <a:pt x="17673" y="7775"/>
                </a:cubicBezTo>
                <a:lnTo>
                  <a:pt x="17493" y="7775"/>
                </a:lnTo>
                <a:lnTo>
                  <a:pt x="17230" y="6803"/>
                </a:lnTo>
                <a:cubicBezTo>
                  <a:pt x="17230" y="6803"/>
                  <a:pt x="17673" y="6803"/>
                  <a:pt x="17673" y="6803"/>
                </a:cubicBezTo>
                <a:close/>
                <a:moveTo>
                  <a:pt x="19636" y="11664"/>
                </a:moveTo>
                <a:lnTo>
                  <a:pt x="19636" y="7775"/>
                </a:lnTo>
                <a:cubicBezTo>
                  <a:pt x="19636" y="6701"/>
                  <a:pt x="18757" y="5830"/>
                  <a:pt x="17673" y="5830"/>
                </a:cubicBezTo>
                <a:lnTo>
                  <a:pt x="16967" y="5830"/>
                </a:lnTo>
                <a:lnTo>
                  <a:pt x="15779" y="1441"/>
                </a:lnTo>
                <a:cubicBezTo>
                  <a:pt x="15498" y="404"/>
                  <a:pt x="14422" y="-212"/>
                  <a:pt x="13374" y="66"/>
                </a:cubicBezTo>
                <a:lnTo>
                  <a:pt x="3467" y="2660"/>
                </a:lnTo>
                <a:cubicBezTo>
                  <a:pt x="2419" y="2939"/>
                  <a:pt x="1798" y="4005"/>
                  <a:pt x="2078" y="5042"/>
                </a:cubicBezTo>
                <a:lnTo>
                  <a:pt x="2291" y="5830"/>
                </a:lnTo>
                <a:lnTo>
                  <a:pt x="1964" y="5830"/>
                </a:lnTo>
                <a:cubicBezTo>
                  <a:pt x="879" y="5830"/>
                  <a:pt x="0" y="6701"/>
                  <a:pt x="0" y="7775"/>
                </a:cubicBezTo>
                <a:lnTo>
                  <a:pt x="0" y="19443"/>
                </a:lnTo>
                <a:cubicBezTo>
                  <a:pt x="0" y="20517"/>
                  <a:pt x="879" y="21388"/>
                  <a:pt x="1964" y="21388"/>
                </a:cubicBezTo>
                <a:lnTo>
                  <a:pt x="17673" y="21388"/>
                </a:lnTo>
                <a:cubicBezTo>
                  <a:pt x="18757" y="21388"/>
                  <a:pt x="19636" y="20517"/>
                  <a:pt x="19636" y="19443"/>
                </a:cubicBezTo>
                <a:lnTo>
                  <a:pt x="19636" y="17499"/>
                </a:lnTo>
                <a:cubicBezTo>
                  <a:pt x="20721" y="17499"/>
                  <a:pt x="21600" y="16628"/>
                  <a:pt x="21600" y="15554"/>
                </a:cubicBezTo>
                <a:lnTo>
                  <a:pt x="21600" y="13609"/>
                </a:lnTo>
                <a:cubicBezTo>
                  <a:pt x="21600" y="12535"/>
                  <a:pt x="20721" y="11664"/>
                  <a:pt x="19636" y="11664"/>
                </a:cubicBezTo>
                <a:moveTo>
                  <a:pt x="13255" y="9720"/>
                </a:moveTo>
                <a:lnTo>
                  <a:pt x="12273" y="9720"/>
                </a:lnTo>
                <a:cubicBezTo>
                  <a:pt x="12002" y="9720"/>
                  <a:pt x="11782" y="9937"/>
                  <a:pt x="11782" y="10206"/>
                </a:cubicBezTo>
                <a:cubicBezTo>
                  <a:pt x="11782" y="10475"/>
                  <a:pt x="12002" y="10692"/>
                  <a:pt x="12273" y="10692"/>
                </a:cubicBezTo>
                <a:lnTo>
                  <a:pt x="13255" y="10692"/>
                </a:lnTo>
                <a:cubicBezTo>
                  <a:pt x="13525" y="10692"/>
                  <a:pt x="13745" y="10475"/>
                  <a:pt x="13745" y="10206"/>
                </a:cubicBezTo>
                <a:cubicBezTo>
                  <a:pt x="13745" y="9937"/>
                  <a:pt x="13525" y="9720"/>
                  <a:pt x="13255" y="9720"/>
                </a:cubicBezTo>
                <a:moveTo>
                  <a:pt x="7364" y="9720"/>
                </a:moveTo>
                <a:lnTo>
                  <a:pt x="6382" y="9720"/>
                </a:lnTo>
                <a:cubicBezTo>
                  <a:pt x="6111" y="9720"/>
                  <a:pt x="5891" y="9937"/>
                  <a:pt x="5891" y="10206"/>
                </a:cubicBezTo>
                <a:cubicBezTo>
                  <a:pt x="5891" y="10475"/>
                  <a:pt x="6111" y="10692"/>
                  <a:pt x="6382" y="10692"/>
                </a:cubicBezTo>
                <a:lnTo>
                  <a:pt x="7364" y="10692"/>
                </a:lnTo>
                <a:cubicBezTo>
                  <a:pt x="7634" y="10692"/>
                  <a:pt x="7855" y="10475"/>
                  <a:pt x="7855" y="10206"/>
                </a:cubicBezTo>
                <a:cubicBezTo>
                  <a:pt x="7855" y="9937"/>
                  <a:pt x="7634" y="9720"/>
                  <a:pt x="7364" y="9720"/>
                </a:cubicBezTo>
                <a:moveTo>
                  <a:pt x="17182" y="14095"/>
                </a:moveTo>
                <a:cubicBezTo>
                  <a:pt x="16911" y="14095"/>
                  <a:pt x="16691" y="14313"/>
                  <a:pt x="16691" y="14581"/>
                </a:cubicBezTo>
                <a:cubicBezTo>
                  <a:pt x="16691" y="14850"/>
                  <a:pt x="16911" y="15068"/>
                  <a:pt x="17182" y="15068"/>
                </a:cubicBezTo>
                <a:cubicBezTo>
                  <a:pt x="17453" y="15068"/>
                  <a:pt x="17673" y="14850"/>
                  <a:pt x="17673" y="14581"/>
                </a:cubicBezTo>
                <a:cubicBezTo>
                  <a:pt x="17673" y="14313"/>
                  <a:pt x="17453" y="14095"/>
                  <a:pt x="17182" y="14095"/>
                </a:cubicBezTo>
                <a:moveTo>
                  <a:pt x="16200" y="18471"/>
                </a:moveTo>
                <a:lnTo>
                  <a:pt x="15218" y="18471"/>
                </a:lnTo>
                <a:cubicBezTo>
                  <a:pt x="14947" y="18471"/>
                  <a:pt x="14727" y="18689"/>
                  <a:pt x="14727" y="18957"/>
                </a:cubicBezTo>
                <a:cubicBezTo>
                  <a:pt x="14727" y="19226"/>
                  <a:pt x="14947" y="19443"/>
                  <a:pt x="15218" y="19443"/>
                </a:cubicBezTo>
                <a:lnTo>
                  <a:pt x="16200" y="19443"/>
                </a:lnTo>
                <a:cubicBezTo>
                  <a:pt x="16471" y="19443"/>
                  <a:pt x="16691" y="19226"/>
                  <a:pt x="16691" y="18957"/>
                </a:cubicBezTo>
                <a:cubicBezTo>
                  <a:pt x="16691" y="18689"/>
                  <a:pt x="16471" y="18471"/>
                  <a:pt x="16200" y="18471"/>
                </a:cubicBezTo>
                <a:moveTo>
                  <a:pt x="15218" y="10692"/>
                </a:moveTo>
                <a:lnTo>
                  <a:pt x="16200" y="10692"/>
                </a:lnTo>
                <a:cubicBezTo>
                  <a:pt x="16471" y="10692"/>
                  <a:pt x="16691" y="10475"/>
                  <a:pt x="16691" y="10206"/>
                </a:cubicBezTo>
                <a:cubicBezTo>
                  <a:pt x="16691" y="9937"/>
                  <a:pt x="16471" y="9720"/>
                  <a:pt x="16200" y="9720"/>
                </a:cubicBezTo>
                <a:lnTo>
                  <a:pt x="15218" y="9720"/>
                </a:lnTo>
                <a:cubicBezTo>
                  <a:pt x="14947" y="9720"/>
                  <a:pt x="14727" y="9937"/>
                  <a:pt x="14727" y="10206"/>
                </a:cubicBezTo>
                <a:cubicBezTo>
                  <a:pt x="14727" y="10475"/>
                  <a:pt x="14947" y="10692"/>
                  <a:pt x="15218" y="10692"/>
                </a:cubicBezTo>
                <a:moveTo>
                  <a:pt x="4418" y="18471"/>
                </a:moveTo>
                <a:lnTo>
                  <a:pt x="3436" y="18471"/>
                </a:lnTo>
                <a:cubicBezTo>
                  <a:pt x="3166" y="18471"/>
                  <a:pt x="2945" y="18689"/>
                  <a:pt x="2945" y="18957"/>
                </a:cubicBezTo>
                <a:cubicBezTo>
                  <a:pt x="2945" y="19226"/>
                  <a:pt x="3166" y="19443"/>
                  <a:pt x="3436" y="19443"/>
                </a:cubicBezTo>
                <a:lnTo>
                  <a:pt x="4418" y="19443"/>
                </a:lnTo>
                <a:cubicBezTo>
                  <a:pt x="4689" y="19443"/>
                  <a:pt x="4909" y="19226"/>
                  <a:pt x="4909" y="18957"/>
                </a:cubicBezTo>
                <a:cubicBezTo>
                  <a:pt x="4909" y="18689"/>
                  <a:pt x="4689" y="18471"/>
                  <a:pt x="4418" y="18471"/>
                </a:cubicBezTo>
                <a:moveTo>
                  <a:pt x="7364" y="18471"/>
                </a:moveTo>
                <a:lnTo>
                  <a:pt x="6382" y="18471"/>
                </a:lnTo>
                <a:cubicBezTo>
                  <a:pt x="6111" y="18471"/>
                  <a:pt x="5891" y="18689"/>
                  <a:pt x="5891" y="18957"/>
                </a:cubicBezTo>
                <a:cubicBezTo>
                  <a:pt x="5891" y="19226"/>
                  <a:pt x="6111" y="19443"/>
                  <a:pt x="6382" y="19443"/>
                </a:cubicBezTo>
                <a:lnTo>
                  <a:pt x="7364" y="19443"/>
                </a:lnTo>
                <a:cubicBezTo>
                  <a:pt x="7634" y="19443"/>
                  <a:pt x="7855" y="19226"/>
                  <a:pt x="7855" y="18957"/>
                </a:cubicBezTo>
                <a:cubicBezTo>
                  <a:pt x="7855" y="18689"/>
                  <a:pt x="7634" y="18471"/>
                  <a:pt x="7364" y="18471"/>
                </a:cubicBezTo>
                <a:moveTo>
                  <a:pt x="4418" y="9720"/>
                </a:moveTo>
                <a:lnTo>
                  <a:pt x="3436" y="9720"/>
                </a:lnTo>
                <a:cubicBezTo>
                  <a:pt x="3166" y="9720"/>
                  <a:pt x="2945" y="9937"/>
                  <a:pt x="2945" y="10206"/>
                </a:cubicBezTo>
                <a:cubicBezTo>
                  <a:pt x="2945" y="10475"/>
                  <a:pt x="3166" y="10692"/>
                  <a:pt x="3436" y="10692"/>
                </a:cubicBezTo>
                <a:lnTo>
                  <a:pt x="4418" y="10692"/>
                </a:lnTo>
                <a:cubicBezTo>
                  <a:pt x="4689" y="10692"/>
                  <a:pt x="4909" y="10475"/>
                  <a:pt x="4909" y="10206"/>
                </a:cubicBezTo>
                <a:cubicBezTo>
                  <a:pt x="4909" y="9937"/>
                  <a:pt x="4689" y="9720"/>
                  <a:pt x="4418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825">
            <a:extLst>
              <a:ext uri="{FF2B5EF4-FFF2-40B4-BE49-F238E27FC236}">
                <a16:creationId xmlns:a16="http://schemas.microsoft.com/office/drawing/2014/main" id="{2CE23B03-9B08-4A4C-BD76-254A0C91CB7B}"/>
              </a:ext>
            </a:extLst>
          </p:cNvPr>
          <p:cNvSpPr/>
          <p:nvPr/>
        </p:nvSpPr>
        <p:spPr bwMode="gray">
          <a:xfrm>
            <a:off x="894848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17550"/>
                </a:moveTo>
                <a:lnTo>
                  <a:pt x="12273" y="17550"/>
                </a:lnTo>
                <a:cubicBezTo>
                  <a:pt x="12001" y="17550"/>
                  <a:pt x="11782" y="17853"/>
                  <a:pt x="11782" y="18225"/>
                </a:cubicBezTo>
                <a:cubicBezTo>
                  <a:pt x="11782" y="18598"/>
                  <a:pt x="12001" y="18900"/>
                  <a:pt x="12273" y="18900"/>
                </a:cubicBezTo>
                <a:lnTo>
                  <a:pt x="13255" y="18900"/>
                </a:lnTo>
                <a:cubicBezTo>
                  <a:pt x="13526" y="18900"/>
                  <a:pt x="13745" y="18598"/>
                  <a:pt x="13745" y="18225"/>
                </a:cubicBezTo>
                <a:cubicBezTo>
                  <a:pt x="13745" y="17853"/>
                  <a:pt x="13526" y="17550"/>
                  <a:pt x="13255" y="17550"/>
                </a:cubicBezTo>
                <a:moveTo>
                  <a:pt x="10309" y="5400"/>
                </a:moveTo>
                <a:lnTo>
                  <a:pt x="9327" y="5400"/>
                </a:lnTo>
                <a:cubicBezTo>
                  <a:pt x="9056" y="5400"/>
                  <a:pt x="8836" y="5702"/>
                  <a:pt x="8836" y="6075"/>
                </a:cubicBezTo>
                <a:cubicBezTo>
                  <a:pt x="8836" y="6448"/>
                  <a:pt x="9056" y="6750"/>
                  <a:pt x="9327" y="6750"/>
                </a:cubicBezTo>
                <a:lnTo>
                  <a:pt x="10309" y="6750"/>
                </a:lnTo>
                <a:cubicBezTo>
                  <a:pt x="10580" y="6750"/>
                  <a:pt x="10800" y="6448"/>
                  <a:pt x="10800" y="6075"/>
                </a:cubicBezTo>
                <a:cubicBezTo>
                  <a:pt x="10800" y="5702"/>
                  <a:pt x="10580" y="5400"/>
                  <a:pt x="10309" y="5400"/>
                </a:cubicBezTo>
                <a:moveTo>
                  <a:pt x="16200" y="17550"/>
                </a:moveTo>
                <a:lnTo>
                  <a:pt x="15218" y="17550"/>
                </a:lnTo>
                <a:cubicBezTo>
                  <a:pt x="14947" y="17550"/>
                  <a:pt x="14727" y="17853"/>
                  <a:pt x="14727" y="18225"/>
                </a:cubicBezTo>
                <a:cubicBezTo>
                  <a:pt x="14727" y="18598"/>
                  <a:pt x="14947" y="18900"/>
                  <a:pt x="15218" y="18900"/>
                </a:cubicBezTo>
                <a:lnTo>
                  <a:pt x="16200" y="18900"/>
                </a:lnTo>
                <a:cubicBezTo>
                  <a:pt x="16471" y="18900"/>
                  <a:pt x="16691" y="18598"/>
                  <a:pt x="16691" y="18225"/>
                </a:cubicBezTo>
                <a:cubicBezTo>
                  <a:pt x="16691" y="17853"/>
                  <a:pt x="16471" y="17550"/>
                  <a:pt x="16200" y="17550"/>
                </a:cubicBezTo>
                <a:moveTo>
                  <a:pt x="13255" y="5400"/>
                </a:moveTo>
                <a:lnTo>
                  <a:pt x="12273" y="5400"/>
                </a:lnTo>
                <a:cubicBezTo>
                  <a:pt x="12001" y="5400"/>
                  <a:pt x="11782" y="5702"/>
                  <a:pt x="11782" y="6075"/>
                </a:cubicBezTo>
                <a:cubicBezTo>
                  <a:pt x="11782" y="6448"/>
                  <a:pt x="12001" y="6750"/>
                  <a:pt x="12273" y="6750"/>
                </a:cubicBezTo>
                <a:lnTo>
                  <a:pt x="13255" y="6750"/>
                </a:lnTo>
                <a:cubicBezTo>
                  <a:pt x="13526" y="6750"/>
                  <a:pt x="13745" y="6448"/>
                  <a:pt x="13745" y="6075"/>
                </a:cubicBezTo>
                <a:cubicBezTo>
                  <a:pt x="13745" y="5702"/>
                  <a:pt x="13526" y="5400"/>
                  <a:pt x="13255" y="5400"/>
                </a:cubicBezTo>
                <a:moveTo>
                  <a:pt x="10309" y="17550"/>
                </a:moveTo>
                <a:lnTo>
                  <a:pt x="9327" y="17550"/>
                </a:lnTo>
                <a:cubicBezTo>
                  <a:pt x="9056" y="17550"/>
                  <a:pt x="8836" y="17853"/>
                  <a:pt x="8836" y="18225"/>
                </a:cubicBezTo>
                <a:cubicBezTo>
                  <a:pt x="8836" y="18598"/>
                  <a:pt x="9056" y="18900"/>
                  <a:pt x="9327" y="18900"/>
                </a:cubicBezTo>
                <a:lnTo>
                  <a:pt x="10309" y="18900"/>
                </a:lnTo>
                <a:cubicBezTo>
                  <a:pt x="10580" y="18900"/>
                  <a:pt x="10800" y="18598"/>
                  <a:pt x="10800" y="18225"/>
                </a:cubicBezTo>
                <a:cubicBezTo>
                  <a:pt x="10800" y="17853"/>
                  <a:pt x="10580" y="17550"/>
                  <a:pt x="10309" y="17550"/>
                </a:cubicBezTo>
                <a:moveTo>
                  <a:pt x="4418" y="17550"/>
                </a:moveTo>
                <a:lnTo>
                  <a:pt x="3436" y="17550"/>
                </a:lnTo>
                <a:cubicBezTo>
                  <a:pt x="3165" y="17550"/>
                  <a:pt x="2945" y="17853"/>
                  <a:pt x="2945" y="18225"/>
                </a:cubicBezTo>
                <a:cubicBezTo>
                  <a:pt x="2945" y="18598"/>
                  <a:pt x="3165" y="18900"/>
                  <a:pt x="3436" y="18900"/>
                </a:cubicBezTo>
                <a:lnTo>
                  <a:pt x="4418" y="18900"/>
                </a:lnTo>
                <a:cubicBezTo>
                  <a:pt x="4690" y="18900"/>
                  <a:pt x="4909" y="18598"/>
                  <a:pt x="4909" y="18225"/>
                </a:cubicBezTo>
                <a:cubicBezTo>
                  <a:pt x="4909" y="17853"/>
                  <a:pt x="4690" y="17550"/>
                  <a:pt x="4418" y="17550"/>
                </a:cubicBezTo>
                <a:moveTo>
                  <a:pt x="15218" y="6750"/>
                </a:moveTo>
                <a:lnTo>
                  <a:pt x="16200" y="6750"/>
                </a:lnTo>
                <a:cubicBezTo>
                  <a:pt x="16471" y="6750"/>
                  <a:pt x="16691" y="6448"/>
                  <a:pt x="16691" y="6075"/>
                </a:cubicBezTo>
                <a:cubicBezTo>
                  <a:pt x="16691" y="5702"/>
                  <a:pt x="16471" y="5400"/>
                  <a:pt x="16200" y="5400"/>
                </a:cubicBezTo>
                <a:lnTo>
                  <a:pt x="15218" y="5400"/>
                </a:lnTo>
                <a:cubicBezTo>
                  <a:pt x="14947" y="5400"/>
                  <a:pt x="14727" y="5702"/>
                  <a:pt x="14727" y="6075"/>
                </a:cubicBezTo>
                <a:cubicBezTo>
                  <a:pt x="14727" y="6448"/>
                  <a:pt x="14947" y="6750"/>
                  <a:pt x="15218" y="6750"/>
                </a:cubicBezTo>
                <a:moveTo>
                  <a:pt x="20618" y="13500"/>
                </a:moveTo>
                <a:cubicBezTo>
                  <a:pt x="20618" y="14245"/>
                  <a:pt x="20178" y="14850"/>
                  <a:pt x="19636" y="14850"/>
                </a:cubicBezTo>
                <a:lnTo>
                  <a:pt x="16691" y="14850"/>
                </a:lnTo>
                <a:cubicBezTo>
                  <a:pt x="16149" y="14850"/>
                  <a:pt x="15709" y="14245"/>
                  <a:pt x="15709" y="13500"/>
                </a:cubicBezTo>
                <a:lnTo>
                  <a:pt x="15709" y="10800"/>
                </a:lnTo>
                <a:cubicBezTo>
                  <a:pt x="15709" y="10055"/>
                  <a:pt x="16149" y="9450"/>
                  <a:pt x="16691" y="9450"/>
                </a:cubicBezTo>
                <a:lnTo>
                  <a:pt x="19636" y="9450"/>
                </a:lnTo>
                <a:cubicBezTo>
                  <a:pt x="20178" y="9450"/>
                  <a:pt x="20618" y="10055"/>
                  <a:pt x="20618" y="10800"/>
                </a:cubicBezTo>
                <a:cubicBezTo>
                  <a:pt x="20618" y="10800"/>
                  <a:pt x="20618" y="13500"/>
                  <a:pt x="20618" y="13500"/>
                </a:cubicBezTo>
                <a:close/>
                <a:moveTo>
                  <a:pt x="18655" y="18900"/>
                </a:moveTo>
                <a:cubicBezTo>
                  <a:pt x="18655" y="19645"/>
                  <a:pt x="18214" y="20250"/>
                  <a:pt x="17673" y="20250"/>
                </a:cubicBezTo>
                <a:lnTo>
                  <a:pt x="1964" y="20250"/>
                </a:lnTo>
                <a:cubicBezTo>
                  <a:pt x="1422" y="20250"/>
                  <a:pt x="982" y="19645"/>
                  <a:pt x="982" y="18900"/>
                </a:cubicBezTo>
                <a:lnTo>
                  <a:pt x="982" y="5400"/>
                </a:lnTo>
                <a:cubicBezTo>
                  <a:pt x="982" y="4655"/>
                  <a:pt x="1422" y="4050"/>
                  <a:pt x="1964" y="4050"/>
                </a:cubicBezTo>
                <a:lnTo>
                  <a:pt x="17673" y="4050"/>
                </a:lnTo>
                <a:cubicBezTo>
                  <a:pt x="18214" y="4050"/>
                  <a:pt x="18655" y="4655"/>
                  <a:pt x="18655" y="5400"/>
                </a:cubicBezTo>
                <a:lnTo>
                  <a:pt x="18655" y="8100"/>
                </a:lnTo>
                <a:lnTo>
                  <a:pt x="16691" y="8100"/>
                </a:lnTo>
                <a:cubicBezTo>
                  <a:pt x="15606" y="8100"/>
                  <a:pt x="14727" y="9309"/>
                  <a:pt x="14727" y="10800"/>
                </a:cubicBezTo>
                <a:lnTo>
                  <a:pt x="14727" y="13500"/>
                </a:lnTo>
                <a:cubicBezTo>
                  <a:pt x="14727" y="14991"/>
                  <a:pt x="15606" y="16200"/>
                  <a:pt x="16691" y="16200"/>
                </a:cubicBezTo>
                <a:lnTo>
                  <a:pt x="18655" y="16200"/>
                </a:lnTo>
                <a:cubicBezTo>
                  <a:pt x="18655" y="16200"/>
                  <a:pt x="18655" y="18900"/>
                  <a:pt x="18655" y="18900"/>
                </a:cubicBezTo>
                <a:close/>
                <a:moveTo>
                  <a:pt x="982" y="2700"/>
                </a:moveTo>
                <a:cubicBezTo>
                  <a:pt x="982" y="1955"/>
                  <a:pt x="1422" y="1350"/>
                  <a:pt x="1964" y="1350"/>
                </a:cubicBezTo>
                <a:lnTo>
                  <a:pt x="17673" y="1350"/>
                </a:lnTo>
                <a:cubicBezTo>
                  <a:pt x="18214" y="1350"/>
                  <a:pt x="18655" y="1955"/>
                  <a:pt x="18655" y="2700"/>
                </a:cubicBezTo>
                <a:lnTo>
                  <a:pt x="18655" y="3075"/>
                </a:lnTo>
                <a:cubicBezTo>
                  <a:pt x="18365" y="2842"/>
                  <a:pt x="18032" y="2700"/>
                  <a:pt x="17673" y="2700"/>
                </a:cubicBezTo>
                <a:lnTo>
                  <a:pt x="1964" y="2700"/>
                </a:lnTo>
                <a:cubicBezTo>
                  <a:pt x="1604" y="2700"/>
                  <a:pt x="1271" y="2842"/>
                  <a:pt x="982" y="3075"/>
                </a:cubicBezTo>
                <a:cubicBezTo>
                  <a:pt x="982" y="3075"/>
                  <a:pt x="982" y="2700"/>
                  <a:pt x="982" y="2700"/>
                </a:cubicBezTo>
                <a:close/>
                <a:moveTo>
                  <a:pt x="19636" y="8100"/>
                </a:moveTo>
                <a:lnTo>
                  <a:pt x="19636" y="2700"/>
                </a:lnTo>
                <a:cubicBezTo>
                  <a:pt x="19636" y="1209"/>
                  <a:pt x="18757" y="0"/>
                  <a:pt x="17673" y="0"/>
                </a:cubicBez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391"/>
                  <a:pt x="19636" y="18900"/>
                </a:cubicBezTo>
                <a:lnTo>
                  <a:pt x="19636" y="16200"/>
                </a:lnTo>
                <a:cubicBezTo>
                  <a:pt x="20721" y="16200"/>
                  <a:pt x="21600" y="14991"/>
                  <a:pt x="21600" y="13500"/>
                </a:cubicBezTo>
                <a:lnTo>
                  <a:pt x="21600" y="10800"/>
                </a:lnTo>
                <a:cubicBezTo>
                  <a:pt x="21600" y="9309"/>
                  <a:pt x="20721" y="8100"/>
                  <a:pt x="19636" y="8100"/>
                </a:cubicBezTo>
                <a:moveTo>
                  <a:pt x="17182" y="11475"/>
                </a:moveTo>
                <a:cubicBezTo>
                  <a:pt x="16910" y="11475"/>
                  <a:pt x="16691" y="11777"/>
                  <a:pt x="16691" y="12150"/>
                </a:cubicBezTo>
                <a:cubicBezTo>
                  <a:pt x="16691" y="12523"/>
                  <a:pt x="16910" y="12825"/>
                  <a:pt x="17182" y="12825"/>
                </a:cubicBezTo>
                <a:cubicBezTo>
                  <a:pt x="17453" y="12825"/>
                  <a:pt x="17673" y="12523"/>
                  <a:pt x="17673" y="12150"/>
                </a:cubicBezTo>
                <a:cubicBezTo>
                  <a:pt x="17673" y="11777"/>
                  <a:pt x="17453" y="11475"/>
                  <a:pt x="17182" y="11475"/>
                </a:cubicBezTo>
                <a:moveTo>
                  <a:pt x="7364" y="17550"/>
                </a:moveTo>
                <a:lnTo>
                  <a:pt x="6382" y="17550"/>
                </a:lnTo>
                <a:cubicBezTo>
                  <a:pt x="6110" y="17550"/>
                  <a:pt x="5891" y="17853"/>
                  <a:pt x="5891" y="18225"/>
                </a:cubicBezTo>
                <a:cubicBezTo>
                  <a:pt x="5891" y="18598"/>
                  <a:pt x="6110" y="18900"/>
                  <a:pt x="6382" y="18900"/>
                </a:cubicBezTo>
                <a:lnTo>
                  <a:pt x="7364" y="18900"/>
                </a:lnTo>
                <a:cubicBezTo>
                  <a:pt x="7635" y="18900"/>
                  <a:pt x="7855" y="18598"/>
                  <a:pt x="7855" y="18225"/>
                </a:cubicBezTo>
                <a:cubicBezTo>
                  <a:pt x="7855" y="17853"/>
                  <a:pt x="7635" y="17550"/>
                  <a:pt x="7364" y="17550"/>
                </a:cubicBezTo>
                <a:moveTo>
                  <a:pt x="7364" y="5400"/>
                </a:moveTo>
                <a:lnTo>
                  <a:pt x="6382" y="5400"/>
                </a:lnTo>
                <a:cubicBezTo>
                  <a:pt x="6110" y="5400"/>
                  <a:pt x="5891" y="5702"/>
                  <a:pt x="5891" y="6075"/>
                </a:cubicBezTo>
                <a:cubicBezTo>
                  <a:pt x="5891" y="6448"/>
                  <a:pt x="6110" y="6750"/>
                  <a:pt x="6382" y="6750"/>
                </a:cubicBezTo>
                <a:lnTo>
                  <a:pt x="7364" y="6750"/>
                </a:lnTo>
                <a:cubicBezTo>
                  <a:pt x="7635" y="6750"/>
                  <a:pt x="7855" y="6448"/>
                  <a:pt x="7855" y="6075"/>
                </a:cubicBezTo>
                <a:cubicBezTo>
                  <a:pt x="7855" y="5702"/>
                  <a:pt x="7635" y="5400"/>
                  <a:pt x="7364" y="5400"/>
                </a:cubicBezTo>
                <a:moveTo>
                  <a:pt x="4418" y="5400"/>
                </a:moveTo>
                <a:lnTo>
                  <a:pt x="3436" y="5400"/>
                </a:lnTo>
                <a:cubicBezTo>
                  <a:pt x="3165" y="5400"/>
                  <a:pt x="2945" y="5702"/>
                  <a:pt x="2945" y="6075"/>
                </a:cubicBezTo>
                <a:cubicBezTo>
                  <a:pt x="2945" y="6448"/>
                  <a:pt x="3165" y="6750"/>
                  <a:pt x="3436" y="6750"/>
                </a:cubicBezTo>
                <a:lnTo>
                  <a:pt x="4418" y="6750"/>
                </a:lnTo>
                <a:cubicBezTo>
                  <a:pt x="4690" y="6750"/>
                  <a:pt x="4909" y="6448"/>
                  <a:pt x="4909" y="6075"/>
                </a:cubicBezTo>
                <a:cubicBezTo>
                  <a:pt x="4909" y="5702"/>
                  <a:pt x="4690" y="5400"/>
                  <a:pt x="4418" y="5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826">
            <a:extLst>
              <a:ext uri="{FF2B5EF4-FFF2-40B4-BE49-F238E27FC236}">
                <a16:creationId xmlns:a16="http://schemas.microsoft.com/office/drawing/2014/main" id="{717C6C51-66B2-40C0-8D6A-CE6F9CF99AF2}"/>
              </a:ext>
            </a:extLst>
          </p:cNvPr>
          <p:cNvSpPr/>
          <p:nvPr/>
        </p:nvSpPr>
        <p:spPr bwMode="gray">
          <a:xfrm>
            <a:off x="9502795" y="2339753"/>
            <a:ext cx="290354" cy="2377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7214"/>
                </a:moveTo>
                <a:lnTo>
                  <a:pt x="9327" y="7214"/>
                </a:lnTo>
                <a:cubicBezTo>
                  <a:pt x="9056" y="7214"/>
                  <a:pt x="8836" y="7482"/>
                  <a:pt x="8836" y="7813"/>
                </a:cubicBezTo>
                <a:cubicBezTo>
                  <a:pt x="8836" y="8145"/>
                  <a:pt x="9056" y="8413"/>
                  <a:pt x="9327" y="8413"/>
                </a:cubicBezTo>
                <a:lnTo>
                  <a:pt x="10309" y="8413"/>
                </a:lnTo>
                <a:cubicBezTo>
                  <a:pt x="10580" y="8413"/>
                  <a:pt x="10800" y="8145"/>
                  <a:pt x="10800" y="7813"/>
                </a:cubicBezTo>
                <a:cubicBezTo>
                  <a:pt x="10800" y="7482"/>
                  <a:pt x="10580" y="7214"/>
                  <a:pt x="10309" y="7214"/>
                </a:cubicBezTo>
                <a:moveTo>
                  <a:pt x="7364" y="7214"/>
                </a:moveTo>
                <a:lnTo>
                  <a:pt x="6382" y="7214"/>
                </a:lnTo>
                <a:cubicBezTo>
                  <a:pt x="6110" y="7214"/>
                  <a:pt x="5891" y="7482"/>
                  <a:pt x="5891" y="7813"/>
                </a:cubicBezTo>
                <a:cubicBezTo>
                  <a:pt x="5891" y="8145"/>
                  <a:pt x="6110" y="8413"/>
                  <a:pt x="6382" y="8413"/>
                </a:cubicBezTo>
                <a:lnTo>
                  <a:pt x="7364" y="8413"/>
                </a:lnTo>
                <a:cubicBezTo>
                  <a:pt x="7635" y="8413"/>
                  <a:pt x="7855" y="8145"/>
                  <a:pt x="7855" y="7813"/>
                </a:cubicBezTo>
                <a:cubicBezTo>
                  <a:pt x="7855" y="7482"/>
                  <a:pt x="7635" y="7214"/>
                  <a:pt x="7364" y="7214"/>
                </a:cubicBezTo>
                <a:moveTo>
                  <a:pt x="10309" y="18004"/>
                </a:moveTo>
                <a:lnTo>
                  <a:pt x="9327" y="18004"/>
                </a:lnTo>
                <a:cubicBezTo>
                  <a:pt x="9056" y="18004"/>
                  <a:pt x="8836" y="18272"/>
                  <a:pt x="8836" y="18603"/>
                </a:cubicBezTo>
                <a:cubicBezTo>
                  <a:pt x="8836" y="18935"/>
                  <a:pt x="9056" y="19202"/>
                  <a:pt x="9327" y="19202"/>
                </a:cubicBezTo>
                <a:lnTo>
                  <a:pt x="10309" y="19202"/>
                </a:lnTo>
                <a:cubicBezTo>
                  <a:pt x="10580" y="19202"/>
                  <a:pt x="10800" y="18935"/>
                  <a:pt x="10800" y="18603"/>
                </a:cubicBezTo>
                <a:cubicBezTo>
                  <a:pt x="10800" y="18272"/>
                  <a:pt x="10580" y="18004"/>
                  <a:pt x="10309" y="18004"/>
                </a:cubicBezTo>
                <a:moveTo>
                  <a:pt x="13255" y="18004"/>
                </a:moveTo>
                <a:lnTo>
                  <a:pt x="12273" y="18004"/>
                </a:lnTo>
                <a:cubicBezTo>
                  <a:pt x="12001" y="18004"/>
                  <a:pt x="11782" y="18272"/>
                  <a:pt x="11782" y="18603"/>
                </a:cubicBezTo>
                <a:cubicBezTo>
                  <a:pt x="11782" y="18935"/>
                  <a:pt x="12001" y="19202"/>
                  <a:pt x="12273" y="19202"/>
                </a:cubicBezTo>
                <a:lnTo>
                  <a:pt x="13255" y="19202"/>
                </a:lnTo>
                <a:cubicBezTo>
                  <a:pt x="13526" y="19202"/>
                  <a:pt x="13745" y="18935"/>
                  <a:pt x="13745" y="18603"/>
                </a:cubicBezTo>
                <a:cubicBezTo>
                  <a:pt x="13745" y="18272"/>
                  <a:pt x="13526" y="18004"/>
                  <a:pt x="13255" y="18004"/>
                </a:cubicBezTo>
                <a:moveTo>
                  <a:pt x="20618" y="14407"/>
                </a:moveTo>
                <a:cubicBezTo>
                  <a:pt x="20618" y="15069"/>
                  <a:pt x="20178" y="15606"/>
                  <a:pt x="19636" y="15606"/>
                </a:cubicBezTo>
                <a:lnTo>
                  <a:pt x="16691" y="15606"/>
                </a:lnTo>
                <a:cubicBezTo>
                  <a:pt x="16148" y="15606"/>
                  <a:pt x="15709" y="15069"/>
                  <a:pt x="15709" y="14407"/>
                </a:cubicBezTo>
                <a:lnTo>
                  <a:pt x="15709" y="12009"/>
                </a:lnTo>
                <a:cubicBezTo>
                  <a:pt x="15709" y="11348"/>
                  <a:pt x="16148" y="10811"/>
                  <a:pt x="16691" y="10811"/>
                </a:cubicBezTo>
                <a:lnTo>
                  <a:pt x="19636" y="10811"/>
                </a:lnTo>
                <a:cubicBezTo>
                  <a:pt x="20178" y="10811"/>
                  <a:pt x="20618" y="11348"/>
                  <a:pt x="20618" y="12009"/>
                </a:cubicBezTo>
                <a:cubicBezTo>
                  <a:pt x="20618" y="12009"/>
                  <a:pt x="20618" y="14407"/>
                  <a:pt x="20618" y="14407"/>
                </a:cubicBezTo>
                <a:close/>
                <a:moveTo>
                  <a:pt x="18655" y="19202"/>
                </a:moveTo>
                <a:cubicBezTo>
                  <a:pt x="18655" y="19864"/>
                  <a:pt x="18214" y="20401"/>
                  <a:pt x="17673" y="20401"/>
                </a:cubicBezTo>
                <a:lnTo>
                  <a:pt x="1964" y="20401"/>
                </a:lnTo>
                <a:cubicBezTo>
                  <a:pt x="1421" y="20401"/>
                  <a:pt x="982" y="19864"/>
                  <a:pt x="982" y="19202"/>
                </a:cubicBezTo>
                <a:lnTo>
                  <a:pt x="982" y="7214"/>
                </a:lnTo>
                <a:cubicBezTo>
                  <a:pt x="982" y="6553"/>
                  <a:pt x="1421" y="6015"/>
                  <a:pt x="1964" y="6015"/>
                </a:cubicBezTo>
                <a:lnTo>
                  <a:pt x="17673" y="6015"/>
                </a:lnTo>
                <a:cubicBezTo>
                  <a:pt x="18214" y="6015"/>
                  <a:pt x="18655" y="6553"/>
                  <a:pt x="18655" y="7214"/>
                </a:cubicBezTo>
                <a:lnTo>
                  <a:pt x="18655" y="9612"/>
                </a:lnTo>
                <a:lnTo>
                  <a:pt x="16691" y="9612"/>
                </a:lnTo>
                <a:cubicBezTo>
                  <a:pt x="15606" y="9612"/>
                  <a:pt x="14727" y="10685"/>
                  <a:pt x="14727" y="12009"/>
                </a:cubicBezTo>
                <a:lnTo>
                  <a:pt x="14727" y="14407"/>
                </a:lnTo>
                <a:cubicBezTo>
                  <a:pt x="14727" y="15731"/>
                  <a:pt x="15606" y="16805"/>
                  <a:pt x="16691" y="16805"/>
                </a:cubicBezTo>
                <a:lnTo>
                  <a:pt x="18655" y="16805"/>
                </a:lnTo>
                <a:cubicBezTo>
                  <a:pt x="18655" y="16805"/>
                  <a:pt x="18655" y="19202"/>
                  <a:pt x="18655" y="19202"/>
                </a:cubicBezTo>
                <a:close/>
                <a:moveTo>
                  <a:pt x="982" y="4816"/>
                </a:moveTo>
                <a:cubicBezTo>
                  <a:pt x="982" y="4155"/>
                  <a:pt x="1420" y="3618"/>
                  <a:pt x="1963" y="3618"/>
                </a:cubicBezTo>
                <a:lnTo>
                  <a:pt x="1692" y="4850"/>
                </a:lnTo>
                <a:cubicBezTo>
                  <a:pt x="1436" y="4894"/>
                  <a:pt x="1197" y="4996"/>
                  <a:pt x="982" y="5149"/>
                </a:cubicBezTo>
                <a:cubicBezTo>
                  <a:pt x="982" y="5149"/>
                  <a:pt x="982" y="4816"/>
                  <a:pt x="982" y="4816"/>
                </a:cubicBezTo>
                <a:close/>
                <a:moveTo>
                  <a:pt x="3451" y="1468"/>
                </a:moveTo>
                <a:lnTo>
                  <a:pt x="13684" y="4816"/>
                </a:lnTo>
                <a:lnTo>
                  <a:pt x="2716" y="4816"/>
                </a:lnTo>
                <a:cubicBezTo>
                  <a:pt x="2716" y="4816"/>
                  <a:pt x="3451" y="1468"/>
                  <a:pt x="3451" y="1468"/>
                </a:cubicBezTo>
                <a:close/>
                <a:moveTo>
                  <a:pt x="16776" y="2582"/>
                </a:moveTo>
                <a:lnTo>
                  <a:pt x="16982" y="4654"/>
                </a:lnTo>
                <a:lnTo>
                  <a:pt x="12560" y="3208"/>
                </a:lnTo>
                <a:cubicBezTo>
                  <a:pt x="12560" y="3208"/>
                  <a:pt x="16776" y="2582"/>
                  <a:pt x="16776" y="2582"/>
                </a:cubicBezTo>
                <a:close/>
                <a:moveTo>
                  <a:pt x="18655" y="4816"/>
                </a:moveTo>
                <a:lnTo>
                  <a:pt x="18655" y="5149"/>
                </a:lnTo>
                <a:cubicBezTo>
                  <a:pt x="18453" y="5005"/>
                  <a:pt x="18231" y="4904"/>
                  <a:pt x="17992" y="4856"/>
                </a:cubicBezTo>
                <a:lnTo>
                  <a:pt x="17871" y="3642"/>
                </a:lnTo>
                <a:cubicBezTo>
                  <a:pt x="18318" y="3754"/>
                  <a:pt x="18655" y="4237"/>
                  <a:pt x="18655" y="4816"/>
                </a:cubicBezTo>
                <a:moveTo>
                  <a:pt x="19636" y="9612"/>
                </a:moveTo>
                <a:lnTo>
                  <a:pt x="19636" y="4816"/>
                </a:lnTo>
                <a:cubicBezTo>
                  <a:pt x="19636" y="3525"/>
                  <a:pt x="18798" y="2479"/>
                  <a:pt x="17750" y="2428"/>
                </a:cubicBezTo>
                <a:lnTo>
                  <a:pt x="17633" y="1247"/>
                </a:lnTo>
                <a:lnTo>
                  <a:pt x="10020" y="2377"/>
                </a:lnTo>
                <a:lnTo>
                  <a:pt x="2757" y="0"/>
                </a:lnTo>
                <a:lnTo>
                  <a:pt x="2226" y="2419"/>
                </a:lnTo>
                <a:lnTo>
                  <a:pt x="1964" y="2419"/>
                </a:lnTo>
                <a:cubicBezTo>
                  <a:pt x="879" y="2419"/>
                  <a:pt x="0" y="3492"/>
                  <a:pt x="0" y="4816"/>
                </a:cubicBezTo>
                <a:lnTo>
                  <a:pt x="0" y="19202"/>
                </a:lnTo>
                <a:cubicBezTo>
                  <a:pt x="0" y="20526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526"/>
                  <a:pt x="19636" y="19202"/>
                </a:cubicBezTo>
                <a:lnTo>
                  <a:pt x="19636" y="16805"/>
                </a:lnTo>
                <a:cubicBezTo>
                  <a:pt x="20721" y="16805"/>
                  <a:pt x="21600" y="15731"/>
                  <a:pt x="21600" y="14407"/>
                </a:cubicBezTo>
                <a:lnTo>
                  <a:pt x="21600" y="12009"/>
                </a:lnTo>
                <a:cubicBezTo>
                  <a:pt x="21600" y="10685"/>
                  <a:pt x="20721" y="9612"/>
                  <a:pt x="19636" y="9612"/>
                </a:cubicBezTo>
                <a:moveTo>
                  <a:pt x="13255" y="7214"/>
                </a:moveTo>
                <a:lnTo>
                  <a:pt x="12273" y="7214"/>
                </a:lnTo>
                <a:cubicBezTo>
                  <a:pt x="12001" y="7214"/>
                  <a:pt x="11782" y="7482"/>
                  <a:pt x="11782" y="7813"/>
                </a:cubicBezTo>
                <a:cubicBezTo>
                  <a:pt x="11782" y="8145"/>
                  <a:pt x="12001" y="8413"/>
                  <a:pt x="12273" y="8413"/>
                </a:cubicBezTo>
                <a:lnTo>
                  <a:pt x="13255" y="8413"/>
                </a:lnTo>
                <a:cubicBezTo>
                  <a:pt x="13526" y="8413"/>
                  <a:pt x="13745" y="8145"/>
                  <a:pt x="13745" y="7813"/>
                </a:cubicBezTo>
                <a:cubicBezTo>
                  <a:pt x="13745" y="7482"/>
                  <a:pt x="13526" y="7214"/>
                  <a:pt x="13255" y="7214"/>
                </a:cubicBezTo>
                <a:moveTo>
                  <a:pt x="16200" y="18004"/>
                </a:moveTo>
                <a:lnTo>
                  <a:pt x="15218" y="18004"/>
                </a:lnTo>
                <a:cubicBezTo>
                  <a:pt x="14947" y="18004"/>
                  <a:pt x="14727" y="18272"/>
                  <a:pt x="14727" y="18603"/>
                </a:cubicBezTo>
                <a:cubicBezTo>
                  <a:pt x="14727" y="18935"/>
                  <a:pt x="14947" y="19202"/>
                  <a:pt x="15218" y="19202"/>
                </a:cubicBezTo>
                <a:lnTo>
                  <a:pt x="16200" y="19202"/>
                </a:lnTo>
                <a:cubicBezTo>
                  <a:pt x="16471" y="19202"/>
                  <a:pt x="16691" y="18935"/>
                  <a:pt x="16691" y="18603"/>
                </a:cubicBezTo>
                <a:cubicBezTo>
                  <a:pt x="16691" y="18272"/>
                  <a:pt x="16471" y="18004"/>
                  <a:pt x="16200" y="18004"/>
                </a:cubicBezTo>
                <a:moveTo>
                  <a:pt x="17182" y="12609"/>
                </a:moveTo>
                <a:cubicBezTo>
                  <a:pt x="16910" y="12609"/>
                  <a:pt x="16691" y="12877"/>
                  <a:pt x="16691" y="13208"/>
                </a:cubicBezTo>
                <a:cubicBezTo>
                  <a:pt x="16691" y="13540"/>
                  <a:pt x="16910" y="13808"/>
                  <a:pt x="17182" y="13808"/>
                </a:cubicBezTo>
                <a:cubicBezTo>
                  <a:pt x="17453" y="13808"/>
                  <a:pt x="17673" y="13540"/>
                  <a:pt x="17673" y="13208"/>
                </a:cubicBezTo>
                <a:cubicBezTo>
                  <a:pt x="17673" y="12877"/>
                  <a:pt x="17453" y="12609"/>
                  <a:pt x="17182" y="12609"/>
                </a:cubicBezTo>
                <a:moveTo>
                  <a:pt x="4418" y="7214"/>
                </a:moveTo>
                <a:lnTo>
                  <a:pt x="3436" y="7214"/>
                </a:lnTo>
                <a:cubicBezTo>
                  <a:pt x="3165" y="7214"/>
                  <a:pt x="2945" y="7482"/>
                  <a:pt x="2945" y="7813"/>
                </a:cubicBezTo>
                <a:cubicBezTo>
                  <a:pt x="2945" y="8145"/>
                  <a:pt x="3165" y="8413"/>
                  <a:pt x="3436" y="8413"/>
                </a:cubicBezTo>
                <a:lnTo>
                  <a:pt x="4418" y="8413"/>
                </a:lnTo>
                <a:cubicBezTo>
                  <a:pt x="4690" y="8413"/>
                  <a:pt x="4909" y="8145"/>
                  <a:pt x="4909" y="7813"/>
                </a:cubicBezTo>
                <a:cubicBezTo>
                  <a:pt x="4909" y="7482"/>
                  <a:pt x="4690" y="7214"/>
                  <a:pt x="4418" y="7214"/>
                </a:cubicBezTo>
                <a:moveTo>
                  <a:pt x="15218" y="8413"/>
                </a:moveTo>
                <a:lnTo>
                  <a:pt x="16200" y="8413"/>
                </a:lnTo>
                <a:cubicBezTo>
                  <a:pt x="16471" y="8413"/>
                  <a:pt x="16691" y="8145"/>
                  <a:pt x="16691" y="7813"/>
                </a:cubicBezTo>
                <a:cubicBezTo>
                  <a:pt x="16691" y="7482"/>
                  <a:pt x="16471" y="7214"/>
                  <a:pt x="16200" y="7214"/>
                </a:cubicBezTo>
                <a:lnTo>
                  <a:pt x="15218" y="7214"/>
                </a:lnTo>
                <a:cubicBezTo>
                  <a:pt x="14947" y="7214"/>
                  <a:pt x="14727" y="7482"/>
                  <a:pt x="14727" y="7813"/>
                </a:cubicBezTo>
                <a:cubicBezTo>
                  <a:pt x="14727" y="8145"/>
                  <a:pt x="14947" y="8413"/>
                  <a:pt x="15218" y="8413"/>
                </a:cubicBezTo>
                <a:moveTo>
                  <a:pt x="7364" y="18004"/>
                </a:moveTo>
                <a:lnTo>
                  <a:pt x="6382" y="18004"/>
                </a:lnTo>
                <a:cubicBezTo>
                  <a:pt x="6110" y="18004"/>
                  <a:pt x="5891" y="18272"/>
                  <a:pt x="5891" y="18603"/>
                </a:cubicBezTo>
                <a:cubicBezTo>
                  <a:pt x="5891" y="18935"/>
                  <a:pt x="6110" y="19202"/>
                  <a:pt x="6382" y="19202"/>
                </a:cubicBezTo>
                <a:lnTo>
                  <a:pt x="7364" y="19202"/>
                </a:lnTo>
                <a:cubicBezTo>
                  <a:pt x="7635" y="19202"/>
                  <a:pt x="7855" y="18935"/>
                  <a:pt x="7855" y="18603"/>
                </a:cubicBezTo>
                <a:cubicBezTo>
                  <a:pt x="7855" y="18272"/>
                  <a:pt x="7635" y="18004"/>
                  <a:pt x="7364" y="18004"/>
                </a:cubicBezTo>
                <a:moveTo>
                  <a:pt x="4418" y="18004"/>
                </a:moveTo>
                <a:lnTo>
                  <a:pt x="3436" y="18004"/>
                </a:lnTo>
                <a:cubicBezTo>
                  <a:pt x="3165" y="18004"/>
                  <a:pt x="2945" y="18272"/>
                  <a:pt x="2945" y="18603"/>
                </a:cubicBezTo>
                <a:cubicBezTo>
                  <a:pt x="2945" y="18935"/>
                  <a:pt x="3165" y="19202"/>
                  <a:pt x="3436" y="19202"/>
                </a:cubicBezTo>
                <a:lnTo>
                  <a:pt x="4418" y="19202"/>
                </a:lnTo>
                <a:cubicBezTo>
                  <a:pt x="4690" y="19202"/>
                  <a:pt x="4909" y="18935"/>
                  <a:pt x="4909" y="18603"/>
                </a:cubicBezTo>
                <a:cubicBezTo>
                  <a:pt x="4909" y="18272"/>
                  <a:pt x="4690" y="18004"/>
                  <a:pt x="4418" y="1800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827">
            <a:extLst>
              <a:ext uri="{FF2B5EF4-FFF2-40B4-BE49-F238E27FC236}">
                <a16:creationId xmlns:a16="http://schemas.microsoft.com/office/drawing/2014/main" id="{505647C8-A098-4773-B580-7D78888B050C}"/>
              </a:ext>
            </a:extLst>
          </p:cNvPr>
          <p:cNvSpPr/>
          <p:nvPr/>
        </p:nvSpPr>
        <p:spPr bwMode="gray">
          <a:xfrm>
            <a:off x="10096700" y="2313357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00" y="9818"/>
                </a:moveTo>
                <a:lnTo>
                  <a:pt x="2700" y="9818"/>
                </a:lnTo>
                <a:lnTo>
                  <a:pt x="2700" y="10800"/>
                </a:lnTo>
                <a:lnTo>
                  <a:pt x="13500" y="10800"/>
                </a:lnTo>
                <a:cubicBezTo>
                  <a:pt x="13500" y="10800"/>
                  <a:pt x="13500" y="9818"/>
                  <a:pt x="13500" y="9818"/>
                </a:cubicBezTo>
                <a:close/>
                <a:moveTo>
                  <a:pt x="18900" y="11782"/>
                </a:moveTo>
                <a:lnTo>
                  <a:pt x="2700" y="11782"/>
                </a:lnTo>
                <a:lnTo>
                  <a:pt x="2700" y="12764"/>
                </a:lnTo>
                <a:lnTo>
                  <a:pt x="18900" y="12764"/>
                </a:lnTo>
                <a:cubicBezTo>
                  <a:pt x="18900" y="12764"/>
                  <a:pt x="18900" y="11782"/>
                  <a:pt x="18900" y="11782"/>
                </a:cubicBezTo>
                <a:close/>
                <a:moveTo>
                  <a:pt x="4050" y="1964"/>
                </a:moveTo>
                <a:lnTo>
                  <a:pt x="2700" y="1964"/>
                </a:lnTo>
                <a:lnTo>
                  <a:pt x="2700" y="7855"/>
                </a:lnTo>
                <a:lnTo>
                  <a:pt x="4050" y="7855"/>
                </a:lnTo>
                <a:cubicBezTo>
                  <a:pt x="4050" y="7855"/>
                  <a:pt x="4050" y="1964"/>
                  <a:pt x="4050" y="1964"/>
                </a:cubicBezTo>
                <a:close/>
                <a:moveTo>
                  <a:pt x="18900" y="13745"/>
                </a:moveTo>
                <a:lnTo>
                  <a:pt x="2700" y="13745"/>
                </a:lnTo>
                <a:lnTo>
                  <a:pt x="2700" y="14727"/>
                </a:lnTo>
                <a:lnTo>
                  <a:pt x="18900" y="14727"/>
                </a:lnTo>
                <a:cubicBezTo>
                  <a:pt x="18900" y="14727"/>
                  <a:pt x="18900" y="13745"/>
                  <a:pt x="18900" y="13745"/>
                </a:cubicBezTo>
                <a:close/>
                <a:moveTo>
                  <a:pt x="16200" y="15709"/>
                </a:moveTo>
                <a:lnTo>
                  <a:pt x="2700" y="15709"/>
                </a:lnTo>
                <a:lnTo>
                  <a:pt x="2700" y="16691"/>
                </a:lnTo>
                <a:lnTo>
                  <a:pt x="16200" y="16691"/>
                </a:lnTo>
                <a:cubicBezTo>
                  <a:pt x="16200" y="16691"/>
                  <a:pt x="16200" y="15709"/>
                  <a:pt x="16200" y="15709"/>
                </a:cubicBezTo>
                <a:close/>
                <a:moveTo>
                  <a:pt x="20250" y="19924"/>
                </a:moveTo>
                <a:lnTo>
                  <a:pt x="18702" y="18798"/>
                </a:lnTo>
                <a:cubicBezTo>
                  <a:pt x="18580" y="18710"/>
                  <a:pt x="18412" y="18655"/>
                  <a:pt x="18225" y="18655"/>
                </a:cubicBezTo>
                <a:cubicBezTo>
                  <a:pt x="18039" y="18655"/>
                  <a:pt x="17870" y="18710"/>
                  <a:pt x="17748" y="18798"/>
                </a:cubicBezTo>
                <a:lnTo>
                  <a:pt x="15525" y="20415"/>
                </a:lnTo>
                <a:lnTo>
                  <a:pt x="13302" y="18798"/>
                </a:lnTo>
                <a:cubicBezTo>
                  <a:pt x="13180" y="18710"/>
                  <a:pt x="13012" y="18655"/>
                  <a:pt x="12825" y="18655"/>
                </a:cubicBezTo>
                <a:cubicBezTo>
                  <a:pt x="12604" y="18655"/>
                  <a:pt x="12418" y="18737"/>
                  <a:pt x="12294" y="18856"/>
                </a:cubicBezTo>
                <a:lnTo>
                  <a:pt x="12285" y="18851"/>
                </a:lnTo>
                <a:lnTo>
                  <a:pt x="10800" y="20291"/>
                </a:lnTo>
                <a:lnTo>
                  <a:pt x="9315" y="18851"/>
                </a:lnTo>
                <a:lnTo>
                  <a:pt x="9306" y="18856"/>
                </a:lnTo>
                <a:cubicBezTo>
                  <a:pt x="9182" y="18737"/>
                  <a:pt x="8996" y="18655"/>
                  <a:pt x="8775" y="18655"/>
                </a:cubicBezTo>
                <a:cubicBezTo>
                  <a:pt x="8589" y="18655"/>
                  <a:pt x="8420" y="18710"/>
                  <a:pt x="8298" y="18798"/>
                </a:cubicBezTo>
                <a:lnTo>
                  <a:pt x="6075" y="20415"/>
                </a:lnTo>
                <a:lnTo>
                  <a:pt x="3852" y="18798"/>
                </a:lnTo>
                <a:cubicBezTo>
                  <a:pt x="3730" y="18710"/>
                  <a:pt x="3562" y="18655"/>
                  <a:pt x="3375" y="18655"/>
                </a:cubicBezTo>
                <a:cubicBezTo>
                  <a:pt x="3188" y="18655"/>
                  <a:pt x="3020" y="18710"/>
                  <a:pt x="2898" y="18798"/>
                </a:cubicBezTo>
                <a:lnTo>
                  <a:pt x="1350" y="19924"/>
                </a:lnTo>
                <a:lnTo>
                  <a:pt x="1350" y="982"/>
                </a:lnTo>
                <a:lnTo>
                  <a:pt x="20250" y="982"/>
                </a:lnTo>
                <a:cubicBezTo>
                  <a:pt x="20250" y="982"/>
                  <a:pt x="20250" y="19924"/>
                  <a:pt x="20250" y="19924"/>
                </a:cubicBezTo>
                <a:close/>
                <a:moveTo>
                  <a:pt x="20925" y="0"/>
                </a:moveTo>
                <a:lnTo>
                  <a:pt x="675" y="0"/>
                </a:lnTo>
                <a:cubicBezTo>
                  <a:pt x="302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862" y="21600"/>
                  <a:pt x="1031" y="21545"/>
                  <a:pt x="1152" y="21456"/>
                </a:cubicBezTo>
                <a:lnTo>
                  <a:pt x="3375" y="19840"/>
                </a:lnTo>
                <a:lnTo>
                  <a:pt x="5598" y="21456"/>
                </a:lnTo>
                <a:cubicBezTo>
                  <a:pt x="5720" y="21545"/>
                  <a:pt x="5888" y="21600"/>
                  <a:pt x="6075" y="21600"/>
                </a:cubicBezTo>
                <a:cubicBezTo>
                  <a:pt x="6262" y="21600"/>
                  <a:pt x="6431" y="21545"/>
                  <a:pt x="6552" y="21456"/>
                </a:cubicBezTo>
                <a:lnTo>
                  <a:pt x="8702" y="19893"/>
                </a:lnTo>
                <a:lnTo>
                  <a:pt x="10260" y="21404"/>
                </a:lnTo>
                <a:lnTo>
                  <a:pt x="10269" y="21399"/>
                </a:lnTo>
                <a:cubicBezTo>
                  <a:pt x="10393" y="21518"/>
                  <a:pt x="10579" y="21600"/>
                  <a:pt x="10800" y="21600"/>
                </a:cubicBezTo>
                <a:cubicBezTo>
                  <a:pt x="11021" y="21600"/>
                  <a:pt x="11207" y="21518"/>
                  <a:pt x="11331" y="21399"/>
                </a:cubicBezTo>
                <a:lnTo>
                  <a:pt x="11340" y="21404"/>
                </a:lnTo>
                <a:lnTo>
                  <a:pt x="12898" y="19893"/>
                </a:lnTo>
                <a:lnTo>
                  <a:pt x="15048" y="21456"/>
                </a:lnTo>
                <a:cubicBezTo>
                  <a:pt x="15170" y="21545"/>
                  <a:pt x="15338" y="21600"/>
                  <a:pt x="15525" y="21600"/>
                </a:cubicBezTo>
                <a:cubicBezTo>
                  <a:pt x="15712" y="21600"/>
                  <a:pt x="15881" y="21545"/>
                  <a:pt x="16002" y="21456"/>
                </a:cubicBezTo>
                <a:lnTo>
                  <a:pt x="18225" y="19840"/>
                </a:lnTo>
                <a:lnTo>
                  <a:pt x="20448" y="21456"/>
                </a:lnTo>
                <a:cubicBezTo>
                  <a:pt x="20570" y="21545"/>
                  <a:pt x="20738" y="21600"/>
                  <a:pt x="20925" y="21600"/>
                </a:cubicBezTo>
                <a:cubicBezTo>
                  <a:pt x="21298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298" y="0"/>
                  <a:pt x="20925" y="0"/>
                </a:cubicBezTo>
                <a:moveTo>
                  <a:pt x="16200" y="1964"/>
                </a:moveTo>
                <a:lnTo>
                  <a:pt x="14850" y="1964"/>
                </a:lnTo>
                <a:lnTo>
                  <a:pt x="14850" y="7855"/>
                </a:lnTo>
                <a:lnTo>
                  <a:pt x="16200" y="7855"/>
                </a:lnTo>
                <a:cubicBezTo>
                  <a:pt x="16200" y="7855"/>
                  <a:pt x="16200" y="1964"/>
                  <a:pt x="16200" y="1964"/>
                </a:cubicBezTo>
                <a:close/>
                <a:moveTo>
                  <a:pt x="18900" y="1964"/>
                </a:moveTo>
                <a:lnTo>
                  <a:pt x="17550" y="1964"/>
                </a:lnTo>
                <a:lnTo>
                  <a:pt x="17550" y="7855"/>
                </a:lnTo>
                <a:lnTo>
                  <a:pt x="18900" y="7855"/>
                </a:lnTo>
                <a:cubicBezTo>
                  <a:pt x="18900" y="7855"/>
                  <a:pt x="18900" y="1964"/>
                  <a:pt x="18900" y="1964"/>
                </a:cubicBezTo>
                <a:close/>
                <a:moveTo>
                  <a:pt x="10800" y="1964"/>
                </a:moveTo>
                <a:lnTo>
                  <a:pt x="9450" y="1964"/>
                </a:lnTo>
                <a:lnTo>
                  <a:pt x="9450" y="7855"/>
                </a:lnTo>
                <a:lnTo>
                  <a:pt x="10800" y="7855"/>
                </a:lnTo>
                <a:cubicBezTo>
                  <a:pt x="10800" y="7855"/>
                  <a:pt x="10800" y="1964"/>
                  <a:pt x="10800" y="1964"/>
                </a:cubicBezTo>
                <a:close/>
                <a:moveTo>
                  <a:pt x="8100" y="1964"/>
                </a:moveTo>
                <a:lnTo>
                  <a:pt x="5400" y="1964"/>
                </a:lnTo>
                <a:lnTo>
                  <a:pt x="5400" y="7855"/>
                </a:lnTo>
                <a:lnTo>
                  <a:pt x="8100" y="7855"/>
                </a:lnTo>
                <a:cubicBezTo>
                  <a:pt x="8100" y="7855"/>
                  <a:pt x="8100" y="1964"/>
                  <a:pt x="8100" y="1964"/>
                </a:cubicBezTo>
                <a:close/>
                <a:moveTo>
                  <a:pt x="13500" y="1964"/>
                </a:moveTo>
                <a:lnTo>
                  <a:pt x="12150" y="1964"/>
                </a:lnTo>
                <a:lnTo>
                  <a:pt x="12150" y="7855"/>
                </a:lnTo>
                <a:lnTo>
                  <a:pt x="13500" y="7855"/>
                </a:lnTo>
                <a:cubicBezTo>
                  <a:pt x="13500" y="7855"/>
                  <a:pt x="13500" y="1964"/>
                  <a:pt x="13500" y="196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828">
            <a:extLst>
              <a:ext uri="{FF2B5EF4-FFF2-40B4-BE49-F238E27FC236}">
                <a16:creationId xmlns:a16="http://schemas.microsoft.com/office/drawing/2014/main" id="{08419664-047D-4467-885F-D2650C1C7938}"/>
              </a:ext>
            </a:extLst>
          </p:cNvPr>
          <p:cNvSpPr/>
          <p:nvPr/>
        </p:nvSpPr>
        <p:spPr bwMode="gray">
          <a:xfrm>
            <a:off x="10637814" y="2313357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2400" y="13745"/>
                </a:lnTo>
                <a:lnTo>
                  <a:pt x="2400" y="14727"/>
                </a:lnTo>
                <a:lnTo>
                  <a:pt x="14400" y="14727"/>
                </a:lnTo>
                <a:cubicBezTo>
                  <a:pt x="14400" y="14727"/>
                  <a:pt x="14400" y="13745"/>
                  <a:pt x="14400" y="13745"/>
                </a:cubicBezTo>
                <a:close/>
                <a:moveTo>
                  <a:pt x="15600" y="20092"/>
                </a:moveTo>
                <a:lnTo>
                  <a:pt x="13624" y="18798"/>
                </a:lnTo>
                <a:cubicBezTo>
                  <a:pt x="13515" y="18710"/>
                  <a:pt x="13366" y="18655"/>
                  <a:pt x="13200" y="18655"/>
                </a:cubicBezTo>
                <a:cubicBezTo>
                  <a:pt x="13035" y="18655"/>
                  <a:pt x="12885" y="18710"/>
                  <a:pt x="12776" y="18798"/>
                </a:cubicBezTo>
                <a:lnTo>
                  <a:pt x="10800" y="20415"/>
                </a:lnTo>
                <a:lnTo>
                  <a:pt x="8824" y="18798"/>
                </a:lnTo>
                <a:cubicBezTo>
                  <a:pt x="8716" y="18710"/>
                  <a:pt x="8566" y="18655"/>
                  <a:pt x="8400" y="18655"/>
                </a:cubicBezTo>
                <a:cubicBezTo>
                  <a:pt x="8235" y="18655"/>
                  <a:pt x="8085" y="18710"/>
                  <a:pt x="7976" y="18798"/>
                </a:cubicBezTo>
                <a:lnTo>
                  <a:pt x="6000" y="20415"/>
                </a:lnTo>
                <a:lnTo>
                  <a:pt x="4024" y="18798"/>
                </a:lnTo>
                <a:cubicBezTo>
                  <a:pt x="3915" y="18710"/>
                  <a:pt x="3766" y="18655"/>
                  <a:pt x="3600" y="18655"/>
                </a:cubicBezTo>
                <a:cubicBezTo>
                  <a:pt x="3435" y="18655"/>
                  <a:pt x="3285" y="18710"/>
                  <a:pt x="3176" y="18798"/>
                </a:cubicBezTo>
                <a:lnTo>
                  <a:pt x="1200" y="20092"/>
                </a:lnTo>
                <a:lnTo>
                  <a:pt x="1200" y="3927"/>
                </a:lnTo>
                <a:lnTo>
                  <a:pt x="15600" y="3927"/>
                </a:lnTo>
                <a:cubicBezTo>
                  <a:pt x="15600" y="3927"/>
                  <a:pt x="15600" y="20092"/>
                  <a:pt x="15600" y="20092"/>
                </a:cubicBezTo>
                <a:close/>
                <a:moveTo>
                  <a:pt x="16200" y="2945"/>
                </a:moveTo>
                <a:lnTo>
                  <a:pt x="600" y="2945"/>
                </a:lnTo>
                <a:cubicBezTo>
                  <a:pt x="268" y="2945"/>
                  <a:pt x="0" y="3165"/>
                  <a:pt x="0" y="3436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766" y="21600"/>
                  <a:pt x="916" y="21545"/>
                  <a:pt x="1024" y="21456"/>
                </a:cubicBezTo>
                <a:lnTo>
                  <a:pt x="3553" y="19801"/>
                </a:lnTo>
                <a:lnTo>
                  <a:pt x="5576" y="21456"/>
                </a:lnTo>
                <a:cubicBezTo>
                  <a:pt x="5684" y="21545"/>
                  <a:pt x="5834" y="21600"/>
                  <a:pt x="6000" y="21600"/>
                </a:cubicBezTo>
                <a:cubicBezTo>
                  <a:pt x="6166" y="21600"/>
                  <a:pt x="6316" y="21545"/>
                  <a:pt x="6424" y="21456"/>
                </a:cubicBezTo>
                <a:lnTo>
                  <a:pt x="8400" y="19840"/>
                </a:lnTo>
                <a:lnTo>
                  <a:pt x="10376" y="21456"/>
                </a:lnTo>
                <a:cubicBezTo>
                  <a:pt x="10484" y="21545"/>
                  <a:pt x="10634" y="21600"/>
                  <a:pt x="10800" y="21600"/>
                </a:cubicBezTo>
                <a:cubicBezTo>
                  <a:pt x="10966" y="21600"/>
                  <a:pt x="11116" y="21545"/>
                  <a:pt x="11224" y="21456"/>
                </a:cubicBezTo>
                <a:lnTo>
                  <a:pt x="13247" y="19801"/>
                </a:lnTo>
                <a:lnTo>
                  <a:pt x="15776" y="21456"/>
                </a:lnTo>
                <a:cubicBezTo>
                  <a:pt x="15884" y="21545"/>
                  <a:pt x="16034" y="21600"/>
                  <a:pt x="16200" y="21600"/>
                </a:cubicBezTo>
                <a:cubicBezTo>
                  <a:pt x="16532" y="21600"/>
                  <a:pt x="16800" y="21380"/>
                  <a:pt x="16800" y="21109"/>
                </a:cubicBezTo>
                <a:lnTo>
                  <a:pt x="16800" y="3436"/>
                </a:lnTo>
                <a:cubicBezTo>
                  <a:pt x="16800" y="3165"/>
                  <a:pt x="16532" y="2945"/>
                  <a:pt x="16200" y="2945"/>
                </a:cubicBezTo>
                <a:moveTo>
                  <a:pt x="8400" y="11782"/>
                </a:moveTo>
                <a:lnTo>
                  <a:pt x="2400" y="11782"/>
                </a:lnTo>
                <a:lnTo>
                  <a:pt x="2400" y="12764"/>
                </a:lnTo>
                <a:lnTo>
                  <a:pt x="8400" y="12764"/>
                </a:lnTo>
                <a:cubicBezTo>
                  <a:pt x="8400" y="12764"/>
                  <a:pt x="8400" y="11782"/>
                  <a:pt x="8400" y="11782"/>
                </a:cubicBezTo>
                <a:close/>
                <a:moveTo>
                  <a:pt x="21000" y="0"/>
                </a:moveTo>
                <a:lnTo>
                  <a:pt x="5400" y="0"/>
                </a:lnTo>
                <a:cubicBezTo>
                  <a:pt x="5068" y="0"/>
                  <a:pt x="4800" y="220"/>
                  <a:pt x="4800" y="491"/>
                </a:cubicBezTo>
                <a:lnTo>
                  <a:pt x="4800" y="1964"/>
                </a:lnTo>
                <a:lnTo>
                  <a:pt x="6000" y="1964"/>
                </a:lnTo>
                <a:lnTo>
                  <a:pt x="6000" y="982"/>
                </a:lnTo>
                <a:lnTo>
                  <a:pt x="20400" y="982"/>
                </a:lnTo>
                <a:lnTo>
                  <a:pt x="20400" y="17146"/>
                </a:lnTo>
                <a:lnTo>
                  <a:pt x="18424" y="15853"/>
                </a:lnTo>
                <a:cubicBezTo>
                  <a:pt x="18316" y="15764"/>
                  <a:pt x="18166" y="15709"/>
                  <a:pt x="18000" y="15709"/>
                </a:cubicBezTo>
                <a:lnTo>
                  <a:pt x="18000" y="16894"/>
                </a:lnTo>
                <a:lnTo>
                  <a:pt x="18047" y="16856"/>
                </a:lnTo>
                <a:lnTo>
                  <a:pt x="20576" y="18511"/>
                </a:lnTo>
                <a:cubicBezTo>
                  <a:pt x="20684" y="18599"/>
                  <a:pt x="20834" y="18655"/>
                  <a:pt x="21000" y="18655"/>
                </a:cubicBezTo>
                <a:cubicBezTo>
                  <a:pt x="21332" y="18655"/>
                  <a:pt x="21600" y="18435"/>
                  <a:pt x="21600" y="18164"/>
                </a:cubicBezTo>
                <a:lnTo>
                  <a:pt x="21600" y="491"/>
                </a:lnTo>
                <a:cubicBezTo>
                  <a:pt x="21600" y="220"/>
                  <a:pt x="21332" y="0"/>
                  <a:pt x="21000" y="0"/>
                </a:cubicBezTo>
                <a:moveTo>
                  <a:pt x="10800" y="15709"/>
                </a:moveTo>
                <a:lnTo>
                  <a:pt x="2400" y="15709"/>
                </a:lnTo>
                <a:lnTo>
                  <a:pt x="2400" y="16691"/>
                </a:lnTo>
                <a:lnTo>
                  <a:pt x="10800" y="16691"/>
                </a:lnTo>
                <a:cubicBezTo>
                  <a:pt x="10800" y="16691"/>
                  <a:pt x="10800" y="15709"/>
                  <a:pt x="10800" y="15709"/>
                </a:cubicBezTo>
                <a:close/>
                <a:moveTo>
                  <a:pt x="12000" y="4909"/>
                </a:moveTo>
                <a:lnTo>
                  <a:pt x="10800" y="4909"/>
                </a:lnTo>
                <a:lnTo>
                  <a:pt x="10800" y="9818"/>
                </a:lnTo>
                <a:lnTo>
                  <a:pt x="12000" y="9818"/>
                </a:lnTo>
                <a:cubicBezTo>
                  <a:pt x="12000" y="9818"/>
                  <a:pt x="12000" y="4909"/>
                  <a:pt x="12000" y="4909"/>
                </a:cubicBezTo>
                <a:close/>
                <a:moveTo>
                  <a:pt x="14400" y="4909"/>
                </a:moveTo>
                <a:lnTo>
                  <a:pt x="13200" y="4909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4909"/>
                  <a:pt x="14400" y="4909"/>
                </a:cubicBezTo>
                <a:close/>
                <a:moveTo>
                  <a:pt x="7200" y="4909"/>
                </a:moveTo>
                <a:lnTo>
                  <a:pt x="4800" y="4909"/>
                </a:lnTo>
                <a:lnTo>
                  <a:pt x="4800" y="9818"/>
                </a:lnTo>
                <a:lnTo>
                  <a:pt x="7200" y="9818"/>
                </a:lnTo>
                <a:cubicBezTo>
                  <a:pt x="7200" y="9818"/>
                  <a:pt x="7200" y="4909"/>
                  <a:pt x="7200" y="4909"/>
                </a:cubicBezTo>
                <a:close/>
                <a:moveTo>
                  <a:pt x="3600" y="4909"/>
                </a:moveTo>
                <a:lnTo>
                  <a:pt x="2400" y="4909"/>
                </a:lnTo>
                <a:lnTo>
                  <a:pt x="2400" y="9818"/>
                </a:lnTo>
                <a:lnTo>
                  <a:pt x="3600" y="9818"/>
                </a:lnTo>
                <a:cubicBezTo>
                  <a:pt x="3600" y="9818"/>
                  <a:pt x="3600" y="4909"/>
                  <a:pt x="3600" y="4909"/>
                </a:cubicBezTo>
                <a:close/>
                <a:moveTo>
                  <a:pt x="9600" y="4909"/>
                </a:moveTo>
                <a:lnTo>
                  <a:pt x="8400" y="4909"/>
                </a:lnTo>
                <a:lnTo>
                  <a:pt x="8400" y="9818"/>
                </a:lnTo>
                <a:lnTo>
                  <a:pt x="9600" y="9818"/>
                </a:lnTo>
                <a:cubicBezTo>
                  <a:pt x="9600" y="9818"/>
                  <a:pt x="9600" y="4909"/>
                  <a:pt x="9600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829">
            <a:extLst>
              <a:ext uri="{FF2B5EF4-FFF2-40B4-BE49-F238E27FC236}">
                <a16:creationId xmlns:a16="http://schemas.microsoft.com/office/drawing/2014/main" id="{8197861F-8975-4035-828C-15E9FA880577}"/>
              </a:ext>
            </a:extLst>
          </p:cNvPr>
          <p:cNvSpPr/>
          <p:nvPr/>
        </p:nvSpPr>
        <p:spPr bwMode="gray">
          <a:xfrm>
            <a:off x="11165731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2764"/>
                </a:moveTo>
                <a:cubicBezTo>
                  <a:pt x="10529" y="12764"/>
                  <a:pt x="10309" y="12544"/>
                  <a:pt x="10309" y="12273"/>
                </a:cubicBezTo>
                <a:cubicBezTo>
                  <a:pt x="10309" y="12001"/>
                  <a:pt x="10529" y="11782"/>
                  <a:pt x="10800" y="11782"/>
                </a:cubicBezTo>
                <a:cubicBezTo>
                  <a:pt x="11071" y="11782"/>
                  <a:pt x="11291" y="12001"/>
                  <a:pt x="11291" y="12273"/>
                </a:cubicBezTo>
                <a:cubicBezTo>
                  <a:pt x="11291" y="12544"/>
                  <a:pt x="11071" y="12764"/>
                  <a:pt x="10800" y="12764"/>
                </a:cubicBezTo>
                <a:moveTo>
                  <a:pt x="10800" y="10800"/>
                </a:moveTo>
                <a:cubicBezTo>
                  <a:pt x="9987" y="10800"/>
                  <a:pt x="9327" y="11460"/>
                  <a:pt x="9327" y="12273"/>
                </a:cubicBezTo>
                <a:cubicBezTo>
                  <a:pt x="9327" y="13086"/>
                  <a:pt x="9987" y="13745"/>
                  <a:pt x="10800" y="13745"/>
                </a:cubicBezTo>
                <a:cubicBezTo>
                  <a:pt x="11613" y="13745"/>
                  <a:pt x="12273" y="13086"/>
                  <a:pt x="12273" y="12273"/>
                </a:cubicBezTo>
                <a:cubicBezTo>
                  <a:pt x="12273" y="11460"/>
                  <a:pt x="11613" y="10800"/>
                  <a:pt x="10800" y="10800"/>
                </a:cubicBezTo>
                <a:moveTo>
                  <a:pt x="20469" y="11563"/>
                </a:moveTo>
                <a:lnTo>
                  <a:pt x="19745" y="13686"/>
                </a:lnTo>
                <a:cubicBezTo>
                  <a:pt x="17492" y="14931"/>
                  <a:pt x="14436" y="15709"/>
                  <a:pt x="11045" y="15709"/>
                </a:cubicBezTo>
                <a:cubicBezTo>
                  <a:pt x="7337" y="15709"/>
                  <a:pt x="4024" y="14783"/>
                  <a:pt x="1732" y="13326"/>
                </a:cubicBezTo>
                <a:lnTo>
                  <a:pt x="1132" y="11568"/>
                </a:lnTo>
                <a:cubicBezTo>
                  <a:pt x="1132" y="11568"/>
                  <a:pt x="982" y="11171"/>
                  <a:pt x="982" y="10800"/>
                </a:cubicBezTo>
                <a:cubicBezTo>
                  <a:pt x="982" y="9718"/>
                  <a:pt x="1863" y="8836"/>
                  <a:pt x="2945" y="8836"/>
                </a:cubicBezTo>
                <a:lnTo>
                  <a:pt x="18655" y="8836"/>
                </a:lnTo>
                <a:cubicBezTo>
                  <a:pt x="19738" y="8836"/>
                  <a:pt x="20618" y="9718"/>
                  <a:pt x="20618" y="10800"/>
                </a:cubicBezTo>
                <a:cubicBezTo>
                  <a:pt x="20618" y="11173"/>
                  <a:pt x="20469" y="11563"/>
                  <a:pt x="20469" y="11563"/>
                </a:cubicBezTo>
                <a:moveTo>
                  <a:pt x="17640" y="19860"/>
                </a:moveTo>
                <a:cubicBezTo>
                  <a:pt x="17636" y="19861"/>
                  <a:pt x="17438" y="20618"/>
                  <a:pt x="16691" y="20618"/>
                </a:cubicBezTo>
                <a:lnTo>
                  <a:pt x="4909" y="20618"/>
                </a:lnTo>
                <a:cubicBezTo>
                  <a:pt x="4169" y="20618"/>
                  <a:pt x="3960" y="19860"/>
                  <a:pt x="3960" y="19860"/>
                </a:cubicBezTo>
                <a:lnTo>
                  <a:pt x="2196" y="14687"/>
                </a:lnTo>
                <a:cubicBezTo>
                  <a:pt x="4567" y="15928"/>
                  <a:pt x="7651" y="16691"/>
                  <a:pt x="11045" y="16691"/>
                </a:cubicBezTo>
                <a:cubicBezTo>
                  <a:pt x="14163" y="16691"/>
                  <a:pt x="17019" y="16046"/>
                  <a:pt x="19304" y="14981"/>
                </a:cubicBezTo>
                <a:cubicBezTo>
                  <a:pt x="19304" y="14981"/>
                  <a:pt x="17640" y="19860"/>
                  <a:pt x="17640" y="19860"/>
                </a:cubicBezTo>
                <a:close/>
                <a:moveTo>
                  <a:pt x="10800" y="982"/>
                </a:moveTo>
                <a:cubicBezTo>
                  <a:pt x="13436" y="982"/>
                  <a:pt x="15657" y="3875"/>
                  <a:pt x="16409" y="7855"/>
                </a:cubicBezTo>
                <a:lnTo>
                  <a:pt x="5191" y="7855"/>
                </a:lnTo>
                <a:cubicBezTo>
                  <a:pt x="5943" y="3875"/>
                  <a:pt x="8164" y="982"/>
                  <a:pt x="10800" y="982"/>
                </a:cubicBezTo>
                <a:moveTo>
                  <a:pt x="18655" y="7855"/>
                </a:moveTo>
                <a:lnTo>
                  <a:pt x="17401" y="7855"/>
                </a:lnTo>
                <a:cubicBezTo>
                  <a:pt x="16584" y="3325"/>
                  <a:pt x="13944" y="0"/>
                  <a:pt x="10800" y="0"/>
                </a:cubicBezTo>
                <a:cubicBezTo>
                  <a:pt x="7656" y="0"/>
                  <a:pt x="5016" y="3325"/>
                  <a:pt x="4200" y="7855"/>
                </a:cubicBezTo>
                <a:lnTo>
                  <a:pt x="2945" y="7855"/>
                </a:lnTo>
                <a:cubicBezTo>
                  <a:pt x="1319" y="7855"/>
                  <a:pt x="0" y="9174"/>
                  <a:pt x="0" y="10800"/>
                </a:cubicBezTo>
                <a:cubicBezTo>
                  <a:pt x="0" y="11348"/>
                  <a:pt x="151" y="11732"/>
                  <a:pt x="151" y="11732"/>
                </a:cubicBezTo>
                <a:lnTo>
                  <a:pt x="3118" y="20435"/>
                </a:lnTo>
                <a:cubicBezTo>
                  <a:pt x="3118" y="20435"/>
                  <a:pt x="3452" y="21600"/>
                  <a:pt x="4909" y="21600"/>
                </a:cubicBezTo>
                <a:lnTo>
                  <a:pt x="16691" y="21600"/>
                </a:lnTo>
                <a:cubicBezTo>
                  <a:pt x="18153" y="21600"/>
                  <a:pt x="18565" y="20194"/>
                  <a:pt x="18570" y="20177"/>
                </a:cubicBezTo>
                <a:lnTo>
                  <a:pt x="21437" y="11727"/>
                </a:lnTo>
                <a:cubicBezTo>
                  <a:pt x="21534" y="11434"/>
                  <a:pt x="21600" y="11126"/>
                  <a:pt x="21600" y="10800"/>
                </a:cubicBezTo>
                <a:cubicBezTo>
                  <a:pt x="21600" y="9174"/>
                  <a:pt x="20281" y="7855"/>
                  <a:pt x="18655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831">
            <a:extLst>
              <a:ext uri="{FF2B5EF4-FFF2-40B4-BE49-F238E27FC236}">
                <a16:creationId xmlns:a16="http://schemas.microsoft.com/office/drawing/2014/main" id="{27F7E894-C2E6-45BC-BB03-A9490315AC31}"/>
              </a:ext>
            </a:extLst>
          </p:cNvPr>
          <p:cNvSpPr/>
          <p:nvPr/>
        </p:nvSpPr>
        <p:spPr bwMode="gray">
          <a:xfrm>
            <a:off x="657133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  <a:moveTo>
                  <a:pt x="5400" y="12764"/>
                </a:moveTo>
                <a:cubicBezTo>
                  <a:pt x="5028" y="12764"/>
                  <a:pt x="4725" y="12983"/>
                  <a:pt x="4725" y="13255"/>
                </a:cubicBezTo>
                <a:cubicBezTo>
                  <a:pt x="4725" y="13390"/>
                  <a:pt x="4800" y="13513"/>
                  <a:pt x="4923" y="13602"/>
                </a:cubicBezTo>
                <a:lnTo>
                  <a:pt x="10323" y="17529"/>
                </a:lnTo>
                <a:cubicBezTo>
                  <a:pt x="10445" y="17618"/>
                  <a:pt x="10614" y="17673"/>
                  <a:pt x="10800" y="17673"/>
                </a:cubicBezTo>
                <a:cubicBezTo>
                  <a:pt x="10986" y="17673"/>
                  <a:pt x="11155" y="17618"/>
                  <a:pt x="11277" y="17529"/>
                </a:cubicBezTo>
                <a:lnTo>
                  <a:pt x="16677" y="13602"/>
                </a:lnTo>
                <a:cubicBezTo>
                  <a:pt x="16800" y="13513"/>
                  <a:pt x="16875" y="13390"/>
                  <a:pt x="16875" y="13255"/>
                </a:cubicBezTo>
                <a:cubicBezTo>
                  <a:pt x="16875" y="12983"/>
                  <a:pt x="16572" y="12764"/>
                  <a:pt x="16200" y="12764"/>
                </a:cubicBezTo>
                <a:cubicBezTo>
                  <a:pt x="16014" y="12764"/>
                  <a:pt x="15845" y="12819"/>
                  <a:pt x="15723" y="12907"/>
                </a:cubicBezTo>
                <a:lnTo>
                  <a:pt x="11475" y="15997"/>
                </a:lnTo>
                <a:lnTo>
                  <a:pt x="11475" y="491"/>
                </a:lnTo>
                <a:cubicBezTo>
                  <a:pt x="11475" y="220"/>
                  <a:pt x="11172" y="0"/>
                  <a:pt x="10800" y="0"/>
                </a:cubicBezTo>
                <a:cubicBezTo>
                  <a:pt x="10428" y="0"/>
                  <a:pt x="10125" y="220"/>
                  <a:pt x="10125" y="491"/>
                </a:cubicBezTo>
                <a:lnTo>
                  <a:pt x="10125" y="15997"/>
                </a:lnTo>
                <a:lnTo>
                  <a:pt x="5877" y="12907"/>
                </a:lnTo>
                <a:cubicBezTo>
                  <a:pt x="5755" y="12819"/>
                  <a:pt x="5586" y="12764"/>
                  <a:pt x="54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832">
            <a:extLst>
              <a:ext uri="{FF2B5EF4-FFF2-40B4-BE49-F238E27FC236}">
                <a16:creationId xmlns:a16="http://schemas.microsoft.com/office/drawing/2014/main" id="{3350AB22-0BF3-45B2-99DD-2EA5D77FF608}"/>
              </a:ext>
            </a:extLst>
          </p:cNvPr>
          <p:cNvSpPr/>
          <p:nvPr/>
        </p:nvSpPr>
        <p:spPr bwMode="gray">
          <a:xfrm>
            <a:off x="1211445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4909"/>
                </a:moveTo>
                <a:cubicBezTo>
                  <a:pt x="5586" y="4909"/>
                  <a:pt x="5755" y="4855"/>
                  <a:pt x="5877" y="4765"/>
                </a:cubicBezTo>
                <a:lnTo>
                  <a:pt x="10125" y="1676"/>
                </a:lnTo>
                <a:lnTo>
                  <a:pt x="10125" y="17182"/>
                </a:lnTo>
                <a:cubicBezTo>
                  <a:pt x="10125" y="17453"/>
                  <a:pt x="10428" y="17673"/>
                  <a:pt x="10800" y="17673"/>
                </a:cubicBezTo>
                <a:cubicBezTo>
                  <a:pt x="11172" y="17673"/>
                  <a:pt x="11475" y="17453"/>
                  <a:pt x="11475" y="17182"/>
                </a:cubicBezTo>
                <a:lnTo>
                  <a:pt x="11475" y="1676"/>
                </a:lnTo>
                <a:lnTo>
                  <a:pt x="15723" y="4765"/>
                </a:lnTo>
                <a:cubicBezTo>
                  <a:pt x="15845" y="4855"/>
                  <a:pt x="16014" y="4909"/>
                  <a:pt x="16200" y="4909"/>
                </a:cubicBezTo>
                <a:cubicBezTo>
                  <a:pt x="16572" y="4909"/>
                  <a:pt x="16875" y="4690"/>
                  <a:pt x="16875" y="4418"/>
                </a:cubicBezTo>
                <a:cubicBezTo>
                  <a:pt x="16875" y="4283"/>
                  <a:pt x="16800" y="4161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0" y="4161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833">
            <a:extLst>
              <a:ext uri="{FF2B5EF4-FFF2-40B4-BE49-F238E27FC236}">
                <a16:creationId xmlns:a16="http://schemas.microsoft.com/office/drawing/2014/main" id="{DF458113-5B1B-4E0C-9793-32FDCEBDBA83}"/>
              </a:ext>
            </a:extLst>
          </p:cNvPr>
          <p:cNvSpPr/>
          <p:nvPr/>
        </p:nvSpPr>
        <p:spPr bwMode="gray">
          <a:xfrm>
            <a:off x="172616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  <a:moveTo>
                  <a:pt x="7140" y="14181"/>
                </a:moveTo>
                <a:cubicBezTo>
                  <a:pt x="6970" y="13741"/>
                  <a:pt x="6873" y="13264"/>
                  <a:pt x="6873" y="12764"/>
                </a:cubicBezTo>
                <a:cubicBezTo>
                  <a:pt x="6873" y="10595"/>
                  <a:pt x="8631" y="8836"/>
                  <a:pt x="10800" y="8836"/>
                </a:cubicBezTo>
                <a:cubicBezTo>
                  <a:pt x="11300" y="8836"/>
                  <a:pt x="11777" y="8934"/>
                  <a:pt x="12217" y="9104"/>
                </a:cubicBezTo>
                <a:lnTo>
                  <a:pt x="13217" y="8494"/>
                </a:lnTo>
                <a:cubicBezTo>
                  <a:pt x="12503" y="8089"/>
                  <a:pt x="11680" y="7855"/>
                  <a:pt x="10800" y="7855"/>
                </a:cubicBezTo>
                <a:cubicBezTo>
                  <a:pt x="8089" y="7855"/>
                  <a:pt x="5891" y="10053"/>
                  <a:pt x="5891" y="12764"/>
                </a:cubicBezTo>
                <a:cubicBezTo>
                  <a:pt x="5891" y="13643"/>
                  <a:pt x="6125" y="14467"/>
                  <a:pt x="6530" y="15181"/>
                </a:cubicBezTo>
                <a:cubicBezTo>
                  <a:pt x="6530" y="15181"/>
                  <a:pt x="7140" y="14181"/>
                  <a:pt x="7140" y="14181"/>
                </a:cubicBezTo>
                <a:close/>
                <a:moveTo>
                  <a:pt x="14460" y="11347"/>
                </a:moveTo>
                <a:cubicBezTo>
                  <a:pt x="14630" y="11787"/>
                  <a:pt x="14727" y="12263"/>
                  <a:pt x="14727" y="12764"/>
                </a:cubicBezTo>
                <a:cubicBezTo>
                  <a:pt x="14727" y="14932"/>
                  <a:pt x="12969" y="16691"/>
                  <a:pt x="10800" y="16691"/>
                </a:cubicBezTo>
                <a:cubicBezTo>
                  <a:pt x="10300" y="16691"/>
                  <a:pt x="9823" y="16594"/>
                  <a:pt x="9383" y="16423"/>
                </a:cubicBezTo>
                <a:lnTo>
                  <a:pt x="8383" y="17034"/>
                </a:lnTo>
                <a:cubicBezTo>
                  <a:pt x="9097" y="17439"/>
                  <a:pt x="9920" y="17673"/>
                  <a:pt x="10800" y="17673"/>
                </a:cubicBezTo>
                <a:cubicBezTo>
                  <a:pt x="13511" y="17673"/>
                  <a:pt x="15709" y="15475"/>
                  <a:pt x="15709" y="12764"/>
                </a:cubicBezTo>
                <a:cubicBezTo>
                  <a:pt x="15709" y="11884"/>
                  <a:pt x="15475" y="11061"/>
                  <a:pt x="15070" y="10346"/>
                </a:cubicBezTo>
                <a:cubicBezTo>
                  <a:pt x="15070" y="10346"/>
                  <a:pt x="14460" y="11347"/>
                  <a:pt x="14460" y="11347"/>
                </a:cubicBezTo>
                <a:close/>
                <a:moveTo>
                  <a:pt x="10453" y="12417"/>
                </a:moveTo>
                <a:cubicBezTo>
                  <a:pt x="10645" y="12225"/>
                  <a:pt x="10955" y="12225"/>
                  <a:pt x="11147" y="12417"/>
                </a:cubicBezTo>
                <a:cubicBezTo>
                  <a:pt x="11339" y="12609"/>
                  <a:pt x="11339" y="12919"/>
                  <a:pt x="11147" y="13111"/>
                </a:cubicBezTo>
                <a:cubicBezTo>
                  <a:pt x="10955" y="13303"/>
                  <a:pt x="10645" y="13303"/>
                  <a:pt x="10453" y="13111"/>
                </a:cubicBezTo>
                <a:cubicBezTo>
                  <a:pt x="10261" y="12919"/>
                  <a:pt x="10261" y="12609"/>
                  <a:pt x="10453" y="12417"/>
                </a:cubicBezTo>
                <a:moveTo>
                  <a:pt x="6144" y="17420"/>
                </a:moveTo>
                <a:lnTo>
                  <a:pt x="11842" y="13805"/>
                </a:lnTo>
                <a:lnTo>
                  <a:pt x="15456" y="8107"/>
                </a:lnTo>
                <a:lnTo>
                  <a:pt x="9759" y="11722"/>
                </a:lnTo>
                <a:cubicBezTo>
                  <a:pt x="9759" y="11722"/>
                  <a:pt x="6144" y="17420"/>
                  <a:pt x="6144" y="1742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834">
            <a:extLst>
              <a:ext uri="{FF2B5EF4-FFF2-40B4-BE49-F238E27FC236}">
                <a16:creationId xmlns:a16="http://schemas.microsoft.com/office/drawing/2014/main" id="{53A46125-BCD1-4FAC-BFB6-C1DB208F6E9C}"/>
              </a:ext>
            </a:extLst>
          </p:cNvPr>
          <p:cNvSpPr/>
          <p:nvPr/>
        </p:nvSpPr>
        <p:spPr bwMode="gray">
          <a:xfrm>
            <a:off x="22804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835">
            <a:extLst>
              <a:ext uri="{FF2B5EF4-FFF2-40B4-BE49-F238E27FC236}">
                <a16:creationId xmlns:a16="http://schemas.microsoft.com/office/drawing/2014/main" id="{97B35B54-630C-4266-BA80-6B8F83939FBC}"/>
              </a:ext>
            </a:extLst>
          </p:cNvPr>
          <p:cNvSpPr/>
          <p:nvPr/>
        </p:nvSpPr>
        <p:spPr bwMode="gray">
          <a:xfrm>
            <a:off x="28347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218" y="5891"/>
                </a:moveTo>
                <a:lnTo>
                  <a:pt x="8345" y="5891"/>
                </a:lnTo>
                <a:cubicBezTo>
                  <a:pt x="8075" y="5891"/>
                  <a:pt x="7855" y="6111"/>
                  <a:pt x="7855" y="6382"/>
                </a:cubicBezTo>
                <a:cubicBezTo>
                  <a:pt x="7855" y="6653"/>
                  <a:pt x="8075" y="6873"/>
                  <a:pt x="8345" y="6873"/>
                </a:cubicBez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moveTo>
                  <a:pt x="6382" y="5891"/>
                </a:moveTo>
                <a:cubicBezTo>
                  <a:pt x="6111" y="5891"/>
                  <a:pt x="5891" y="6111"/>
                  <a:pt x="5891" y="6382"/>
                </a:cubicBezTo>
                <a:cubicBezTo>
                  <a:pt x="5891" y="6653"/>
                  <a:pt x="6111" y="6873"/>
                  <a:pt x="6382" y="6873"/>
                </a:cubicBezTo>
                <a:cubicBezTo>
                  <a:pt x="6653" y="6873"/>
                  <a:pt x="6873" y="6653"/>
                  <a:pt x="6873" y="6382"/>
                </a:cubicBezTo>
                <a:cubicBezTo>
                  <a:pt x="6873" y="6111"/>
                  <a:pt x="6653" y="5891"/>
                  <a:pt x="6382" y="5891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5" y="16691"/>
                  <a:pt x="18655" y="16910"/>
                  <a:pt x="18655" y="17182"/>
                </a:cubicBezTo>
                <a:cubicBezTo>
                  <a:pt x="18655" y="17453"/>
                  <a:pt x="18875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5891"/>
                </a:moveTo>
                <a:cubicBezTo>
                  <a:pt x="2184" y="5891"/>
                  <a:pt x="1964" y="6111"/>
                  <a:pt x="1964" y="6382"/>
                </a:cubicBezTo>
                <a:cubicBezTo>
                  <a:pt x="1964" y="6653"/>
                  <a:pt x="2184" y="6873"/>
                  <a:pt x="2455" y="6873"/>
                </a:cubicBezTo>
                <a:cubicBezTo>
                  <a:pt x="2725" y="6873"/>
                  <a:pt x="2945" y="6653"/>
                  <a:pt x="2945" y="6382"/>
                </a:cubicBezTo>
                <a:cubicBezTo>
                  <a:pt x="2945" y="6111"/>
                  <a:pt x="2725" y="5891"/>
                  <a:pt x="2455" y="5891"/>
                </a:cubicBezTo>
                <a:moveTo>
                  <a:pt x="4418" y="5891"/>
                </a:moveTo>
                <a:cubicBezTo>
                  <a:pt x="4147" y="5891"/>
                  <a:pt x="3927" y="6111"/>
                  <a:pt x="3927" y="6382"/>
                </a:cubicBezTo>
                <a:cubicBezTo>
                  <a:pt x="3927" y="6653"/>
                  <a:pt x="4147" y="6873"/>
                  <a:pt x="4418" y="6873"/>
                </a:cubicBezTo>
                <a:cubicBezTo>
                  <a:pt x="4689" y="6873"/>
                  <a:pt x="4909" y="6653"/>
                  <a:pt x="4909" y="6382"/>
                </a:cubicBezTo>
                <a:cubicBezTo>
                  <a:pt x="4909" y="6111"/>
                  <a:pt x="4689" y="5891"/>
                  <a:pt x="4418" y="5891"/>
                </a:cubicBezTo>
                <a:moveTo>
                  <a:pt x="16691" y="7855"/>
                </a:moveTo>
                <a:lnTo>
                  <a:pt x="982" y="7855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7855"/>
                  <a:pt x="16691" y="7855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836">
            <a:extLst>
              <a:ext uri="{FF2B5EF4-FFF2-40B4-BE49-F238E27FC236}">
                <a16:creationId xmlns:a16="http://schemas.microsoft.com/office/drawing/2014/main" id="{EECF8935-091E-49F6-A508-1580B4E3A88E}"/>
              </a:ext>
            </a:extLst>
          </p:cNvPr>
          <p:cNvSpPr/>
          <p:nvPr/>
        </p:nvSpPr>
        <p:spPr bwMode="gray">
          <a:xfrm>
            <a:off x="3389098" y="2882957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837">
            <a:extLst>
              <a:ext uri="{FF2B5EF4-FFF2-40B4-BE49-F238E27FC236}">
                <a16:creationId xmlns:a16="http://schemas.microsoft.com/office/drawing/2014/main" id="{EDFD0A8D-DBCC-4F7F-AC5C-E977467C34DF}"/>
              </a:ext>
            </a:extLst>
          </p:cNvPr>
          <p:cNvSpPr/>
          <p:nvPr/>
        </p:nvSpPr>
        <p:spPr bwMode="gray">
          <a:xfrm>
            <a:off x="3943410" y="2876358"/>
            <a:ext cx="290354" cy="224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8667"/>
                </a:moveTo>
                <a:lnTo>
                  <a:pt x="12576" y="13341"/>
                </a:lnTo>
                <a:lnTo>
                  <a:pt x="16691" y="8016"/>
                </a:lnTo>
                <a:cubicBezTo>
                  <a:pt x="16691" y="8016"/>
                  <a:pt x="16691" y="18667"/>
                  <a:pt x="16691" y="18667"/>
                </a:cubicBezTo>
                <a:close/>
                <a:moveTo>
                  <a:pt x="15709" y="20329"/>
                </a:moveTo>
                <a:lnTo>
                  <a:pt x="1964" y="20329"/>
                </a:lnTo>
                <a:cubicBezTo>
                  <a:pt x="1719" y="20329"/>
                  <a:pt x="1498" y="20210"/>
                  <a:pt x="1326" y="20018"/>
                </a:cubicBezTo>
                <a:lnTo>
                  <a:pt x="5791" y="14240"/>
                </a:lnTo>
                <a:lnTo>
                  <a:pt x="7477" y="16421"/>
                </a:lnTo>
                <a:cubicBezTo>
                  <a:pt x="7853" y="16907"/>
                  <a:pt x="8344" y="17150"/>
                  <a:pt x="8836" y="17150"/>
                </a:cubicBezTo>
                <a:cubicBezTo>
                  <a:pt x="9329" y="17150"/>
                  <a:pt x="9821" y="16907"/>
                  <a:pt x="10195" y="16421"/>
                </a:cubicBezTo>
                <a:lnTo>
                  <a:pt x="11882" y="14240"/>
                </a:lnTo>
                <a:lnTo>
                  <a:pt x="16347" y="20018"/>
                </a:lnTo>
                <a:cubicBezTo>
                  <a:pt x="16175" y="20210"/>
                  <a:pt x="15954" y="20329"/>
                  <a:pt x="15709" y="20329"/>
                </a:cubicBezTo>
                <a:moveTo>
                  <a:pt x="982" y="8016"/>
                </a:moveTo>
                <a:lnTo>
                  <a:pt x="5097" y="13341"/>
                </a:lnTo>
                <a:lnTo>
                  <a:pt x="982" y="18667"/>
                </a:lnTo>
                <a:cubicBezTo>
                  <a:pt x="982" y="18667"/>
                  <a:pt x="982" y="8016"/>
                  <a:pt x="982" y="8016"/>
                </a:cubicBezTo>
                <a:close/>
                <a:moveTo>
                  <a:pt x="1964" y="6353"/>
                </a:moveTo>
                <a:lnTo>
                  <a:pt x="15709" y="6353"/>
                </a:lnTo>
                <a:cubicBezTo>
                  <a:pt x="15954" y="6353"/>
                  <a:pt x="16175" y="6474"/>
                  <a:pt x="16347" y="6665"/>
                </a:cubicBezTo>
                <a:lnTo>
                  <a:pt x="9502" y="15523"/>
                </a:lnTo>
                <a:cubicBezTo>
                  <a:pt x="9324" y="15752"/>
                  <a:pt x="9088" y="15880"/>
                  <a:pt x="8836" y="15880"/>
                </a:cubicBezTo>
                <a:cubicBezTo>
                  <a:pt x="8585" y="15880"/>
                  <a:pt x="8349" y="15752"/>
                  <a:pt x="8170" y="15523"/>
                </a:cubicBezTo>
                <a:lnTo>
                  <a:pt x="1326" y="6664"/>
                </a:lnTo>
                <a:cubicBezTo>
                  <a:pt x="1498" y="6474"/>
                  <a:pt x="1719" y="6353"/>
                  <a:pt x="1964" y="6353"/>
                </a:cubicBezTo>
                <a:moveTo>
                  <a:pt x="15709" y="5082"/>
                </a:moveTo>
                <a:lnTo>
                  <a:pt x="1964" y="5082"/>
                </a:lnTo>
                <a:cubicBezTo>
                  <a:pt x="879" y="5082"/>
                  <a:pt x="0" y="6220"/>
                  <a:pt x="0" y="7624"/>
                </a:cubicBezTo>
                <a:lnTo>
                  <a:pt x="0" y="19059"/>
                </a:lnTo>
                <a:cubicBezTo>
                  <a:pt x="0" y="20462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462"/>
                  <a:pt x="17673" y="19059"/>
                </a:cubicBezTo>
                <a:lnTo>
                  <a:pt x="17673" y="7624"/>
                </a:lnTo>
                <a:cubicBezTo>
                  <a:pt x="17673" y="6220"/>
                  <a:pt x="16794" y="5082"/>
                  <a:pt x="15709" y="5082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1138"/>
                  <a:pt x="3927" y="2541"/>
                </a:cubicBezTo>
                <a:lnTo>
                  <a:pt x="3927" y="3176"/>
                </a:lnTo>
                <a:cubicBezTo>
                  <a:pt x="3927" y="3528"/>
                  <a:pt x="4147" y="3812"/>
                  <a:pt x="4418" y="3812"/>
                </a:cubicBezTo>
                <a:cubicBezTo>
                  <a:pt x="4690" y="3812"/>
                  <a:pt x="4909" y="3528"/>
                  <a:pt x="4909" y="3176"/>
                </a:cubicBezTo>
                <a:lnTo>
                  <a:pt x="4909" y="2541"/>
                </a:lnTo>
                <a:cubicBezTo>
                  <a:pt x="4909" y="1840"/>
                  <a:pt x="5348" y="1271"/>
                  <a:pt x="5891" y="1271"/>
                </a:cubicBezTo>
                <a:lnTo>
                  <a:pt x="19636" y="1271"/>
                </a:lnTo>
                <a:cubicBezTo>
                  <a:pt x="20178" y="1271"/>
                  <a:pt x="20618" y="1840"/>
                  <a:pt x="20618" y="2541"/>
                </a:cubicBezTo>
                <a:lnTo>
                  <a:pt x="20618" y="13976"/>
                </a:lnTo>
                <a:cubicBezTo>
                  <a:pt x="20618" y="14678"/>
                  <a:pt x="20178" y="15247"/>
                  <a:pt x="19636" y="15247"/>
                </a:cubicBezTo>
                <a:lnTo>
                  <a:pt x="19145" y="15247"/>
                </a:lnTo>
                <a:cubicBezTo>
                  <a:pt x="18874" y="15247"/>
                  <a:pt x="18655" y="15532"/>
                  <a:pt x="18655" y="15882"/>
                </a:cubicBezTo>
                <a:cubicBezTo>
                  <a:pt x="18655" y="16234"/>
                  <a:pt x="18874" y="16518"/>
                  <a:pt x="19145" y="16518"/>
                </a:cubicBezTo>
                <a:lnTo>
                  <a:pt x="19636" y="16518"/>
                </a:lnTo>
                <a:cubicBezTo>
                  <a:pt x="20721" y="16518"/>
                  <a:pt x="21600" y="15380"/>
                  <a:pt x="21600" y="13976"/>
                </a:cubicBezTo>
                <a:lnTo>
                  <a:pt x="21600" y="2541"/>
                </a:lnTo>
                <a:cubicBezTo>
                  <a:pt x="21600" y="1138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838">
            <a:extLst>
              <a:ext uri="{FF2B5EF4-FFF2-40B4-BE49-F238E27FC236}">
                <a16:creationId xmlns:a16="http://schemas.microsoft.com/office/drawing/2014/main" id="{9399601E-E4C1-4217-A88C-85976DB53737}"/>
              </a:ext>
            </a:extLst>
          </p:cNvPr>
          <p:cNvSpPr/>
          <p:nvPr/>
        </p:nvSpPr>
        <p:spPr bwMode="gray">
          <a:xfrm>
            <a:off x="4497722" y="2869759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4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5" y="12000"/>
                  <a:pt x="13745" y="12269"/>
                  <a:pt x="13745" y="12600"/>
                </a:cubicBezTo>
                <a:cubicBezTo>
                  <a:pt x="13745" y="14589"/>
                  <a:pt x="12426" y="16200"/>
                  <a:pt x="10800" y="16200"/>
                </a:cubicBezTo>
                <a:cubicBezTo>
                  <a:pt x="9173" y="16200"/>
                  <a:pt x="7855" y="14589"/>
                  <a:pt x="7855" y="12600"/>
                </a:cubicBezTo>
                <a:cubicBezTo>
                  <a:pt x="7855" y="12269"/>
                  <a:pt x="7635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5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5"/>
                </a:lnTo>
                <a:cubicBezTo>
                  <a:pt x="23" y="12415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5"/>
                  <a:pt x="21543" y="1233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839">
            <a:extLst>
              <a:ext uri="{FF2B5EF4-FFF2-40B4-BE49-F238E27FC236}">
                <a16:creationId xmlns:a16="http://schemas.microsoft.com/office/drawing/2014/main" id="{9FC2C76A-27E1-4585-9102-745A1B5677CC}"/>
              </a:ext>
            </a:extLst>
          </p:cNvPr>
          <p:cNvSpPr/>
          <p:nvPr/>
        </p:nvSpPr>
        <p:spPr bwMode="gray">
          <a:xfrm>
            <a:off x="5052034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4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3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4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2764" y="2160"/>
                </a:lnTo>
                <a:cubicBezTo>
                  <a:pt x="12492" y="2160"/>
                  <a:pt x="12273" y="2402"/>
                  <a:pt x="12273" y="2700"/>
                </a:cubicBezTo>
                <a:cubicBezTo>
                  <a:pt x="12273" y="2999"/>
                  <a:pt x="12492" y="3240"/>
                  <a:pt x="12764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8836" y="3240"/>
                </a:lnTo>
                <a:cubicBezTo>
                  <a:pt x="9108" y="3240"/>
                  <a:pt x="9327" y="2999"/>
                  <a:pt x="9327" y="2700"/>
                </a:cubicBezTo>
                <a:cubicBezTo>
                  <a:pt x="9327" y="2402"/>
                  <a:pt x="9108" y="2160"/>
                  <a:pt x="8836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3" y="13261"/>
                </a:cubicBezTo>
                <a:moveTo>
                  <a:pt x="7855" y="8640"/>
                </a:moveTo>
                <a:cubicBezTo>
                  <a:pt x="7583" y="8640"/>
                  <a:pt x="7364" y="8882"/>
                  <a:pt x="7364" y="9180"/>
                </a:cubicBezTo>
                <a:cubicBezTo>
                  <a:pt x="7364" y="9329"/>
                  <a:pt x="7418" y="9464"/>
                  <a:pt x="7507" y="9562"/>
                </a:cubicBezTo>
                <a:lnTo>
                  <a:pt x="10453" y="12802"/>
                </a:lnTo>
                <a:cubicBezTo>
                  <a:pt x="10542" y="12900"/>
                  <a:pt x="10665" y="12960"/>
                  <a:pt x="10800" y="12960"/>
                </a:cubicBezTo>
                <a:cubicBezTo>
                  <a:pt x="10936" y="12960"/>
                  <a:pt x="11058" y="12900"/>
                  <a:pt x="11147" y="12802"/>
                </a:cubicBezTo>
                <a:lnTo>
                  <a:pt x="14093" y="9562"/>
                </a:lnTo>
                <a:cubicBezTo>
                  <a:pt x="14182" y="9464"/>
                  <a:pt x="14236" y="9329"/>
                  <a:pt x="14236" y="9180"/>
                </a:cubicBezTo>
                <a:cubicBezTo>
                  <a:pt x="14236" y="8882"/>
                  <a:pt x="14017" y="8640"/>
                  <a:pt x="13745" y="8640"/>
                </a:cubicBezTo>
                <a:cubicBezTo>
                  <a:pt x="13610" y="8640"/>
                  <a:pt x="13487" y="8701"/>
                  <a:pt x="13398" y="8798"/>
                </a:cubicBezTo>
                <a:lnTo>
                  <a:pt x="11291" y="111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11116"/>
                </a:lnTo>
                <a:lnTo>
                  <a:pt x="8202" y="8798"/>
                </a:lnTo>
                <a:cubicBezTo>
                  <a:pt x="8113" y="8701"/>
                  <a:pt x="7990" y="8640"/>
                  <a:pt x="7855" y="86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840">
            <a:extLst>
              <a:ext uri="{FF2B5EF4-FFF2-40B4-BE49-F238E27FC236}">
                <a16:creationId xmlns:a16="http://schemas.microsoft.com/office/drawing/2014/main" id="{D127AE3E-F11F-4AEF-A6E7-6CACDDDBFA7D}"/>
              </a:ext>
            </a:extLst>
          </p:cNvPr>
          <p:cNvSpPr/>
          <p:nvPr/>
        </p:nvSpPr>
        <p:spPr bwMode="gray">
          <a:xfrm>
            <a:off x="5606346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3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4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5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5709" y="2160"/>
                </a:lnTo>
                <a:cubicBezTo>
                  <a:pt x="15438" y="2160"/>
                  <a:pt x="15218" y="2402"/>
                  <a:pt x="15218" y="2700"/>
                </a:cubicBezTo>
                <a:cubicBezTo>
                  <a:pt x="15218" y="2999"/>
                  <a:pt x="15438" y="3240"/>
                  <a:pt x="15709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5891" y="3240"/>
                </a:lnTo>
                <a:cubicBezTo>
                  <a:pt x="6162" y="3240"/>
                  <a:pt x="6382" y="2999"/>
                  <a:pt x="6382" y="2700"/>
                </a:cubicBezTo>
                <a:cubicBezTo>
                  <a:pt x="6382" y="2402"/>
                  <a:pt x="6162" y="2160"/>
                  <a:pt x="5891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4" y="13261"/>
                </a:cubicBezTo>
                <a:moveTo>
                  <a:pt x="7855" y="4320"/>
                </a:moveTo>
                <a:cubicBezTo>
                  <a:pt x="7990" y="4320"/>
                  <a:pt x="8113" y="4260"/>
                  <a:pt x="8202" y="4162"/>
                </a:cubicBezTo>
                <a:lnTo>
                  <a:pt x="10309" y="1844"/>
                </a:lnTo>
                <a:lnTo>
                  <a:pt x="10309" y="12420"/>
                </a:lnTo>
                <a:cubicBezTo>
                  <a:pt x="10309" y="12719"/>
                  <a:pt x="10529" y="12960"/>
                  <a:pt x="10800" y="12960"/>
                </a:cubicBezTo>
                <a:cubicBezTo>
                  <a:pt x="11071" y="12960"/>
                  <a:pt x="11291" y="12719"/>
                  <a:pt x="11291" y="12420"/>
                </a:cubicBezTo>
                <a:lnTo>
                  <a:pt x="11291" y="1844"/>
                </a:lnTo>
                <a:lnTo>
                  <a:pt x="13398" y="4162"/>
                </a:lnTo>
                <a:cubicBezTo>
                  <a:pt x="13487" y="4260"/>
                  <a:pt x="13610" y="4320"/>
                  <a:pt x="13745" y="4320"/>
                </a:cubicBezTo>
                <a:cubicBezTo>
                  <a:pt x="14017" y="4320"/>
                  <a:pt x="14236" y="4079"/>
                  <a:pt x="14236" y="3780"/>
                </a:cubicBezTo>
                <a:cubicBezTo>
                  <a:pt x="14236" y="3631"/>
                  <a:pt x="14181" y="3497"/>
                  <a:pt x="14093" y="339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1"/>
                  <a:pt x="10453" y="158"/>
                </a:cubicBezTo>
                <a:lnTo>
                  <a:pt x="7507" y="3398"/>
                </a:lnTo>
                <a:cubicBezTo>
                  <a:pt x="7419" y="3497"/>
                  <a:pt x="7364" y="3631"/>
                  <a:pt x="7364" y="3780"/>
                </a:cubicBezTo>
                <a:cubicBezTo>
                  <a:pt x="7364" y="4079"/>
                  <a:pt x="7583" y="4320"/>
                  <a:pt x="7855" y="43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841">
            <a:extLst>
              <a:ext uri="{FF2B5EF4-FFF2-40B4-BE49-F238E27FC236}">
                <a16:creationId xmlns:a16="http://schemas.microsoft.com/office/drawing/2014/main" id="{2B21EF4A-C9BB-409E-AE75-5E2444E11543}"/>
              </a:ext>
            </a:extLst>
          </p:cNvPr>
          <p:cNvSpPr/>
          <p:nvPr/>
        </p:nvSpPr>
        <p:spPr bwMode="gray">
          <a:xfrm>
            <a:off x="617539" y="342407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3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6" y="12000"/>
                  <a:pt x="13745" y="12269"/>
                  <a:pt x="13745" y="12600"/>
                </a:cubicBezTo>
                <a:cubicBezTo>
                  <a:pt x="13745" y="14588"/>
                  <a:pt x="12427" y="16200"/>
                  <a:pt x="10800" y="16200"/>
                </a:cubicBezTo>
                <a:cubicBezTo>
                  <a:pt x="9173" y="16200"/>
                  <a:pt x="7855" y="14588"/>
                  <a:pt x="7855" y="12600"/>
                </a:cubicBezTo>
                <a:cubicBezTo>
                  <a:pt x="7855" y="12269"/>
                  <a:pt x="7634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4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4"/>
                </a:lnTo>
                <a:cubicBezTo>
                  <a:pt x="23" y="12416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6"/>
                  <a:pt x="21543" y="12334"/>
                </a:cubicBezTo>
                <a:moveTo>
                  <a:pt x="16691" y="9000"/>
                </a:moveTo>
                <a:cubicBezTo>
                  <a:pt x="16691" y="8669"/>
                  <a:pt x="16471" y="8400"/>
                  <a:pt x="16200" y="8400"/>
                </a:cubicBezTo>
                <a:lnTo>
                  <a:pt x="5400" y="8400"/>
                </a:lnTo>
                <a:cubicBezTo>
                  <a:pt x="5129" y="8400"/>
                  <a:pt x="4909" y="8669"/>
                  <a:pt x="4909" y="9000"/>
                </a:cubicBezTo>
                <a:cubicBezTo>
                  <a:pt x="4909" y="9332"/>
                  <a:pt x="5129" y="9600"/>
                  <a:pt x="5400" y="9600"/>
                </a:cubicBez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moveTo>
                  <a:pt x="6382" y="7200"/>
                </a:moveTo>
                <a:lnTo>
                  <a:pt x="15218" y="7200"/>
                </a:lnTo>
                <a:cubicBezTo>
                  <a:pt x="15489" y="7200"/>
                  <a:pt x="15709" y="6932"/>
                  <a:pt x="15709" y="6600"/>
                </a:cubicBezTo>
                <a:cubicBezTo>
                  <a:pt x="15709" y="6269"/>
                  <a:pt x="15489" y="6000"/>
                  <a:pt x="15218" y="6000"/>
                </a:cubicBezTo>
                <a:lnTo>
                  <a:pt x="6382" y="6000"/>
                </a:lnTo>
                <a:cubicBezTo>
                  <a:pt x="6111" y="6000"/>
                  <a:pt x="5891" y="6269"/>
                  <a:pt x="5891" y="6600"/>
                </a:cubicBezTo>
                <a:cubicBezTo>
                  <a:pt x="5891" y="6932"/>
                  <a:pt x="6111" y="7200"/>
                  <a:pt x="6382" y="7200"/>
                </a:cubicBezTo>
                <a:moveTo>
                  <a:pt x="7364" y="4800"/>
                </a:moveTo>
                <a:lnTo>
                  <a:pt x="14236" y="4800"/>
                </a:lnTo>
                <a:cubicBezTo>
                  <a:pt x="14507" y="4800"/>
                  <a:pt x="14727" y="4532"/>
                  <a:pt x="14727" y="4200"/>
                </a:cubicBezTo>
                <a:cubicBezTo>
                  <a:pt x="14727" y="3869"/>
                  <a:pt x="14507" y="3600"/>
                  <a:pt x="14236" y="3600"/>
                </a:cubicBezTo>
                <a:lnTo>
                  <a:pt x="7364" y="3600"/>
                </a:lnTo>
                <a:cubicBezTo>
                  <a:pt x="7093" y="3600"/>
                  <a:pt x="6873" y="3869"/>
                  <a:pt x="6873" y="4200"/>
                </a:cubicBezTo>
                <a:cubicBezTo>
                  <a:pt x="6873" y="4532"/>
                  <a:pt x="7093" y="4800"/>
                  <a:pt x="7364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842">
            <a:extLst>
              <a:ext uri="{FF2B5EF4-FFF2-40B4-BE49-F238E27FC236}">
                <a16:creationId xmlns:a16="http://schemas.microsoft.com/office/drawing/2014/main" id="{0B3EAD25-E9D8-4796-BA0A-E32A59D157D2}"/>
              </a:ext>
            </a:extLst>
          </p:cNvPr>
          <p:cNvSpPr/>
          <p:nvPr/>
        </p:nvSpPr>
        <p:spPr bwMode="gray">
          <a:xfrm>
            <a:off x="117185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6907" y="6873"/>
                </a:lnTo>
                <a:cubicBezTo>
                  <a:pt x="7149" y="8810"/>
                  <a:pt x="8798" y="10309"/>
                  <a:pt x="10800" y="10309"/>
                </a:cubicBezTo>
                <a:cubicBezTo>
                  <a:pt x="12802" y="10309"/>
                  <a:pt x="14451" y="8810"/>
                  <a:pt x="14693" y="6873"/>
                </a:cubicBezTo>
                <a:lnTo>
                  <a:pt x="20618" y="6873"/>
                </a:lnTo>
                <a:cubicBezTo>
                  <a:pt x="20618" y="6873"/>
                  <a:pt x="20618" y="11782"/>
                  <a:pt x="20618" y="11782"/>
                </a:cubicBezTo>
                <a:close/>
                <a:moveTo>
                  <a:pt x="20264" y="14727"/>
                </a:moveTo>
                <a:lnTo>
                  <a:pt x="14236" y="14727"/>
                </a:lnTo>
                <a:cubicBezTo>
                  <a:pt x="13966" y="14727"/>
                  <a:pt x="13745" y="14947"/>
                  <a:pt x="13745" y="15218"/>
                </a:cubicBezTo>
                <a:cubicBezTo>
                  <a:pt x="13745" y="16845"/>
                  <a:pt x="12427" y="18164"/>
                  <a:pt x="10800" y="18164"/>
                </a:cubicBezTo>
                <a:cubicBezTo>
                  <a:pt x="9173" y="18164"/>
                  <a:pt x="7855" y="16845"/>
                  <a:pt x="7855" y="15218"/>
                </a:cubicBezTo>
                <a:cubicBezTo>
                  <a:pt x="7855" y="14947"/>
                  <a:pt x="7634" y="14727"/>
                  <a:pt x="7364" y="14727"/>
                </a:cubicBezTo>
                <a:lnTo>
                  <a:pt x="1336" y="14727"/>
                </a:lnTo>
                <a:lnTo>
                  <a:pt x="2682" y="12764"/>
                </a:lnTo>
                <a:lnTo>
                  <a:pt x="18918" y="12764"/>
                </a:lnTo>
                <a:cubicBezTo>
                  <a:pt x="18918" y="12764"/>
                  <a:pt x="20264" y="14727"/>
                  <a:pt x="20264" y="14727"/>
                </a:cubicBezTo>
                <a:close/>
                <a:moveTo>
                  <a:pt x="20618" y="20618"/>
                </a:moveTo>
                <a:lnTo>
                  <a:pt x="982" y="20618"/>
                </a:lnTo>
                <a:lnTo>
                  <a:pt x="982" y="15709"/>
                </a:lnTo>
                <a:lnTo>
                  <a:pt x="6907" y="15709"/>
                </a:lnTo>
                <a:cubicBezTo>
                  <a:pt x="7149" y="17646"/>
                  <a:pt x="8798" y="19145"/>
                  <a:pt x="10800" y="19145"/>
                </a:cubicBezTo>
                <a:cubicBezTo>
                  <a:pt x="12802" y="19145"/>
                  <a:pt x="14451" y="17646"/>
                  <a:pt x="14693" y="15709"/>
                </a:cubicBezTo>
                <a:lnTo>
                  <a:pt x="20618" y="15709"/>
                </a:lnTo>
                <a:cubicBezTo>
                  <a:pt x="20618" y="15709"/>
                  <a:pt x="20618" y="20618"/>
                  <a:pt x="20618" y="20618"/>
                </a:cubicBezTo>
                <a:close/>
                <a:moveTo>
                  <a:pt x="4702" y="982"/>
                </a:moveTo>
                <a:lnTo>
                  <a:pt x="16898" y="982"/>
                </a:lnTo>
                <a:lnTo>
                  <a:pt x="20264" y="5891"/>
                </a:lnTo>
                <a:lnTo>
                  <a:pt x="14236" y="5891"/>
                </a:lnTo>
                <a:cubicBezTo>
                  <a:pt x="13966" y="5891"/>
                  <a:pt x="13745" y="6111"/>
                  <a:pt x="13745" y="6382"/>
                </a:cubicBezTo>
                <a:cubicBezTo>
                  <a:pt x="13745" y="8009"/>
                  <a:pt x="12427" y="9327"/>
                  <a:pt x="10800" y="9327"/>
                </a:cubicBezTo>
                <a:cubicBezTo>
                  <a:pt x="9173" y="9327"/>
                  <a:pt x="7855" y="8009"/>
                  <a:pt x="7855" y="6382"/>
                </a:cubicBezTo>
                <a:cubicBezTo>
                  <a:pt x="7855" y="6111"/>
                  <a:pt x="7634" y="5891"/>
                  <a:pt x="7364" y="5891"/>
                </a:cubicBezTo>
                <a:lnTo>
                  <a:pt x="1336" y="5891"/>
                </a:lnTo>
                <a:cubicBezTo>
                  <a:pt x="1336" y="5891"/>
                  <a:pt x="4702" y="982"/>
                  <a:pt x="4702" y="982"/>
                </a:cubicBezTo>
                <a:close/>
                <a:moveTo>
                  <a:pt x="21600" y="12273"/>
                </a:moveTo>
                <a:lnTo>
                  <a:pt x="21600" y="6382"/>
                </a:lnTo>
                <a:cubicBezTo>
                  <a:pt x="21600" y="6303"/>
                  <a:pt x="21577" y="6231"/>
                  <a:pt x="21543" y="6165"/>
                </a:cubicBezTo>
                <a:lnTo>
                  <a:pt x="21548" y="6162"/>
                </a:lnTo>
                <a:lnTo>
                  <a:pt x="17621" y="272"/>
                </a:lnTo>
                <a:lnTo>
                  <a:pt x="17616" y="274"/>
                </a:lnTo>
                <a:cubicBezTo>
                  <a:pt x="17536" y="113"/>
                  <a:pt x="17374" y="0"/>
                  <a:pt x="17182" y="0"/>
                </a:cubicBezTo>
                <a:lnTo>
                  <a:pt x="4418" y="0"/>
                </a:lnTo>
                <a:cubicBezTo>
                  <a:pt x="4226" y="0"/>
                  <a:pt x="4064" y="113"/>
                  <a:pt x="3984" y="274"/>
                </a:cubicBezTo>
                <a:lnTo>
                  <a:pt x="3979" y="272"/>
                </a:lnTo>
                <a:lnTo>
                  <a:pt x="52" y="6162"/>
                </a:lnTo>
                <a:lnTo>
                  <a:pt x="57" y="6165"/>
                </a:lnTo>
                <a:cubicBezTo>
                  <a:pt x="23" y="6231"/>
                  <a:pt x="0" y="6303"/>
                  <a:pt x="0" y="6382"/>
                </a:cubicBezTo>
                <a:lnTo>
                  <a:pt x="0" y="12273"/>
                </a:lnTo>
                <a:cubicBezTo>
                  <a:pt x="0" y="12544"/>
                  <a:pt x="220" y="12764"/>
                  <a:pt x="491" y="12764"/>
                </a:cubicBezTo>
                <a:lnTo>
                  <a:pt x="1542" y="12764"/>
                </a:lnTo>
                <a:lnTo>
                  <a:pt x="52" y="14999"/>
                </a:lnTo>
                <a:lnTo>
                  <a:pt x="57" y="15001"/>
                </a:lnTo>
                <a:cubicBezTo>
                  <a:pt x="23" y="15067"/>
                  <a:pt x="0" y="15139"/>
                  <a:pt x="0" y="15218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lnTo>
                  <a:pt x="21600" y="15218"/>
                </a:lnTo>
                <a:cubicBezTo>
                  <a:pt x="21600" y="15139"/>
                  <a:pt x="21577" y="15067"/>
                  <a:pt x="21543" y="15001"/>
                </a:cubicBezTo>
                <a:lnTo>
                  <a:pt x="21548" y="14999"/>
                </a:lnTo>
                <a:lnTo>
                  <a:pt x="20058" y="12764"/>
                </a:lnTo>
                <a:lnTo>
                  <a:pt x="21109" y="12764"/>
                </a:lnTo>
                <a:cubicBezTo>
                  <a:pt x="21380" y="12764"/>
                  <a:pt x="21600" y="12544"/>
                  <a:pt x="216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843">
            <a:extLst>
              <a:ext uri="{FF2B5EF4-FFF2-40B4-BE49-F238E27FC236}">
                <a16:creationId xmlns:a16="http://schemas.microsoft.com/office/drawing/2014/main" id="{E29FDE2D-5A54-4D22-9D57-3DF138ACACE6}"/>
              </a:ext>
            </a:extLst>
          </p:cNvPr>
          <p:cNvSpPr/>
          <p:nvPr/>
        </p:nvSpPr>
        <p:spPr bwMode="gray">
          <a:xfrm>
            <a:off x="172616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844">
            <a:extLst>
              <a:ext uri="{FF2B5EF4-FFF2-40B4-BE49-F238E27FC236}">
                <a16:creationId xmlns:a16="http://schemas.microsoft.com/office/drawing/2014/main" id="{2180800A-2173-40AE-B04E-7E71E23E1E31}"/>
              </a:ext>
            </a:extLst>
          </p:cNvPr>
          <p:cNvSpPr/>
          <p:nvPr/>
        </p:nvSpPr>
        <p:spPr bwMode="gray">
          <a:xfrm>
            <a:off x="22804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982"/>
                </a:move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cubicBezTo>
                  <a:pt x="762" y="11291"/>
                  <a:pt x="982" y="11071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7588" y="20618"/>
                  <a:pt x="4740" y="19075"/>
                  <a:pt x="2948" y="16691"/>
                </a:cubicBezTo>
                <a:lnTo>
                  <a:pt x="6873" y="16691"/>
                </a:lnTo>
                <a:cubicBezTo>
                  <a:pt x="7144" y="16691"/>
                  <a:pt x="7364" y="16471"/>
                  <a:pt x="7364" y="16200"/>
                </a:cubicBezTo>
                <a:cubicBezTo>
                  <a:pt x="7364" y="15929"/>
                  <a:pt x="7144" y="15709"/>
                  <a:pt x="6873" y="15709"/>
                </a:cubicBezTo>
                <a:lnTo>
                  <a:pt x="1964" y="15709"/>
                </a:lnTo>
                <a:cubicBezTo>
                  <a:pt x="1693" y="15709"/>
                  <a:pt x="1473" y="15929"/>
                  <a:pt x="1473" y="16200"/>
                </a:cubicBezTo>
                <a:lnTo>
                  <a:pt x="1473" y="21109"/>
                </a:lnTo>
                <a:cubicBezTo>
                  <a:pt x="1473" y="21380"/>
                  <a:pt x="1693" y="21600"/>
                  <a:pt x="1964" y="21600"/>
                </a:cubicBezTo>
                <a:cubicBezTo>
                  <a:pt x="2234" y="21600"/>
                  <a:pt x="2455" y="21380"/>
                  <a:pt x="2455" y="21109"/>
                </a:cubicBezTo>
                <a:lnTo>
                  <a:pt x="2455" y="17639"/>
                </a:lnTo>
                <a:cubicBezTo>
                  <a:pt x="4434" y="20054"/>
                  <a:pt x="7433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845">
            <a:extLst>
              <a:ext uri="{FF2B5EF4-FFF2-40B4-BE49-F238E27FC236}">
                <a16:creationId xmlns:a16="http://schemas.microsoft.com/office/drawing/2014/main" id="{F37B57B3-CB72-433E-BBB2-78794F0B2C44}"/>
              </a:ext>
            </a:extLst>
          </p:cNvPr>
          <p:cNvSpPr/>
          <p:nvPr/>
        </p:nvSpPr>
        <p:spPr bwMode="gray">
          <a:xfrm>
            <a:off x="2861182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00" y="1408"/>
                </a:moveTo>
                <a:lnTo>
                  <a:pt x="17518" y="4418"/>
                </a:lnTo>
                <a:lnTo>
                  <a:pt x="12000" y="7429"/>
                </a:lnTo>
                <a:cubicBezTo>
                  <a:pt x="12000" y="7429"/>
                  <a:pt x="12000" y="1408"/>
                  <a:pt x="12000" y="1408"/>
                </a:cubicBezTo>
                <a:close/>
                <a:moveTo>
                  <a:pt x="21000" y="12273"/>
                </a:moveTo>
                <a:cubicBezTo>
                  <a:pt x="20669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0800" y="8345"/>
                </a:lnTo>
                <a:cubicBezTo>
                  <a:pt x="10800" y="8617"/>
                  <a:pt x="11069" y="8836"/>
                  <a:pt x="11400" y="8836"/>
                </a:cubicBezTo>
                <a:cubicBezTo>
                  <a:pt x="11524" y="8836"/>
                  <a:pt x="11631" y="8799"/>
                  <a:pt x="11726" y="8747"/>
                </a:cubicBezTo>
                <a:lnTo>
                  <a:pt x="11733" y="8754"/>
                </a:lnTo>
                <a:lnTo>
                  <a:pt x="18933" y="4827"/>
                </a:lnTo>
                <a:lnTo>
                  <a:pt x="18926" y="4819"/>
                </a:lnTo>
                <a:cubicBezTo>
                  <a:pt x="19087" y="4731"/>
                  <a:pt x="19200" y="4589"/>
                  <a:pt x="19200" y="4418"/>
                </a:cubicBezTo>
                <a:cubicBezTo>
                  <a:pt x="19200" y="4248"/>
                  <a:pt x="19087" y="4106"/>
                  <a:pt x="18926" y="4017"/>
                </a:cubicBezTo>
                <a:lnTo>
                  <a:pt x="18933" y="4010"/>
                </a:lnTo>
                <a:lnTo>
                  <a:pt x="11733" y="82"/>
                </a:lnTo>
                <a:lnTo>
                  <a:pt x="11726" y="90"/>
                </a:lnTo>
                <a:cubicBezTo>
                  <a:pt x="11631" y="38"/>
                  <a:pt x="11524" y="0"/>
                  <a:pt x="11400" y="0"/>
                </a:cubicBezTo>
                <a:cubicBezTo>
                  <a:pt x="11069" y="0"/>
                  <a:pt x="10800" y="220"/>
                  <a:pt x="10800" y="491"/>
                </a:cubicBezTo>
                <a:lnTo>
                  <a:pt x="10800" y="3927"/>
                </a:lnTo>
                <a:cubicBezTo>
                  <a:pt x="4835" y="3927"/>
                  <a:pt x="0" y="7883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1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846">
            <a:extLst>
              <a:ext uri="{FF2B5EF4-FFF2-40B4-BE49-F238E27FC236}">
                <a16:creationId xmlns:a16="http://schemas.microsoft.com/office/drawing/2014/main" id="{E5A989D8-3C57-40B7-BC73-173CAFBE4D40}"/>
              </a:ext>
            </a:extLst>
          </p:cNvPr>
          <p:cNvSpPr/>
          <p:nvPr/>
        </p:nvSpPr>
        <p:spPr bwMode="gray">
          <a:xfrm>
            <a:off x="3415494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00" y="12273"/>
                </a:moveTo>
                <a:cubicBezTo>
                  <a:pt x="20668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4768" y="4909"/>
                </a:lnTo>
                <a:lnTo>
                  <a:pt x="11067" y="7937"/>
                </a:lnTo>
                <a:lnTo>
                  <a:pt x="11073" y="7945"/>
                </a:lnTo>
                <a:cubicBezTo>
                  <a:pt x="10912" y="8033"/>
                  <a:pt x="10800" y="8175"/>
                  <a:pt x="10800" y="8345"/>
                </a:cubicBezTo>
                <a:cubicBezTo>
                  <a:pt x="10800" y="8617"/>
                  <a:pt x="11068" y="8836"/>
                  <a:pt x="11400" y="8836"/>
                </a:cubicBezTo>
                <a:cubicBezTo>
                  <a:pt x="11523" y="8836"/>
                  <a:pt x="11631" y="8798"/>
                  <a:pt x="11727" y="8747"/>
                </a:cubicBezTo>
                <a:lnTo>
                  <a:pt x="11733" y="8754"/>
                </a:lnTo>
                <a:lnTo>
                  <a:pt x="11774" y="8721"/>
                </a:lnTo>
                <a:cubicBezTo>
                  <a:pt x="11805" y="8700"/>
                  <a:pt x="11832" y="8677"/>
                  <a:pt x="11858" y="8651"/>
                </a:cubicBezTo>
                <a:lnTo>
                  <a:pt x="16533" y="4827"/>
                </a:lnTo>
                <a:lnTo>
                  <a:pt x="16527" y="4819"/>
                </a:lnTo>
                <a:cubicBezTo>
                  <a:pt x="16688" y="4731"/>
                  <a:pt x="16800" y="4589"/>
                  <a:pt x="16800" y="4418"/>
                </a:cubicBezTo>
                <a:cubicBezTo>
                  <a:pt x="16800" y="4248"/>
                  <a:pt x="16688" y="4106"/>
                  <a:pt x="16527" y="4018"/>
                </a:cubicBezTo>
                <a:lnTo>
                  <a:pt x="16533" y="4010"/>
                </a:lnTo>
                <a:lnTo>
                  <a:pt x="11858" y="185"/>
                </a:lnTo>
                <a:cubicBezTo>
                  <a:pt x="11832" y="159"/>
                  <a:pt x="11805" y="137"/>
                  <a:pt x="11774" y="116"/>
                </a:cubicBezTo>
                <a:lnTo>
                  <a:pt x="11733" y="82"/>
                </a:lnTo>
                <a:lnTo>
                  <a:pt x="11727" y="90"/>
                </a:lnTo>
                <a:cubicBezTo>
                  <a:pt x="11631" y="38"/>
                  <a:pt x="11523" y="0"/>
                  <a:pt x="11400" y="0"/>
                </a:cubicBezTo>
                <a:cubicBezTo>
                  <a:pt x="11068" y="0"/>
                  <a:pt x="10800" y="220"/>
                  <a:pt x="10800" y="491"/>
                </a:cubicBezTo>
                <a:cubicBezTo>
                  <a:pt x="10800" y="662"/>
                  <a:pt x="10912" y="804"/>
                  <a:pt x="11073" y="892"/>
                </a:cubicBezTo>
                <a:lnTo>
                  <a:pt x="11067" y="899"/>
                </a:lnTo>
                <a:lnTo>
                  <a:pt x="14768" y="3927"/>
                </a:lnTo>
                <a:lnTo>
                  <a:pt x="10800" y="3927"/>
                </a:lnTo>
                <a:cubicBezTo>
                  <a:pt x="4835" y="3927"/>
                  <a:pt x="0" y="7884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2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847">
            <a:extLst>
              <a:ext uri="{FF2B5EF4-FFF2-40B4-BE49-F238E27FC236}">
                <a16:creationId xmlns:a16="http://schemas.microsoft.com/office/drawing/2014/main" id="{C39EE578-201A-4BA1-9F93-7DF74F7C840A}"/>
              </a:ext>
            </a:extLst>
          </p:cNvPr>
          <p:cNvSpPr/>
          <p:nvPr/>
        </p:nvSpPr>
        <p:spPr bwMode="gray">
          <a:xfrm>
            <a:off x="3943410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6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7673"/>
                </a:moveTo>
                <a:cubicBezTo>
                  <a:pt x="13610" y="17673"/>
                  <a:pt x="13488" y="17728"/>
                  <a:pt x="13398" y="17817"/>
                </a:cubicBezTo>
                <a:lnTo>
                  <a:pt x="11291" y="19924"/>
                </a:lnTo>
                <a:lnTo>
                  <a:pt x="11291" y="8346"/>
                </a:lnTo>
                <a:cubicBezTo>
                  <a:pt x="11291" y="8074"/>
                  <a:pt x="11071" y="7855"/>
                  <a:pt x="10800" y="7855"/>
                </a:cubicBezTo>
                <a:cubicBezTo>
                  <a:pt x="10529" y="7855"/>
                  <a:pt x="10309" y="8074"/>
                  <a:pt x="10309" y="8346"/>
                </a:cubicBezTo>
                <a:lnTo>
                  <a:pt x="10309" y="19924"/>
                </a:lnTo>
                <a:lnTo>
                  <a:pt x="8202" y="17817"/>
                </a:lnTo>
                <a:cubicBezTo>
                  <a:pt x="8113" y="17728"/>
                  <a:pt x="7990" y="17673"/>
                  <a:pt x="7855" y="17673"/>
                </a:cubicBezTo>
                <a:cubicBezTo>
                  <a:pt x="7583" y="17673"/>
                  <a:pt x="7364" y="17893"/>
                  <a:pt x="7364" y="18164"/>
                </a:cubicBezTo>
                <a:cubicBezTo>
                  <a:pt x="7364" y="18300"/>
                  <a:pt x="7419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4" y="21600"/>
                  <a:pt x="10800" y="21600"/>
                </a:cubicBezTo>
                <a:cubicBezTo>
                  <a:pt x="10936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2" y="18422"/>
                  <a:pt x="14236" y="18300"/>
                  <a:pt x="14236" y="18164"/>
                </a:cubicBezTo>
                <a:cubicBezTo>
                  <a:pt x="14236" y="17893"/>
                  <a:pt x="14017" y="17673"/>
                  <a:pt x="13745" y="176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848">
            <a:extLst>
              <a:ext uri="{FF2B5EF4-FFF2-40B4-BE49-F238E27FC236}">
                <a16:creationId xmlns:a16="http://schemas.microsoft.com/office/drawing/2014/main" id="{5287BE6E-E977-476E-8B25-13D98EF57347}"/>
              </a:ext>
            </a:extLst>
          </p:cNvPr>
          <p:cNvSpPr/>
          <p:nvPr/>
        </p:nvSpPr>
        <p:spPr bwMode="gray">
          <a:xfrm>
            <a:off x="4497722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7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1782"/>
                </a:moveTo>
                <a:cubicBezTo>
                  <a:pt x="14017" y="11782"/>
                  <a:pt x="14236" y="11562"/>
                  <a:pt x="14236" y="11291"/>
                </a:cubicBezTo>
                <a:cubicBezTo>
                  <a:pt x="14236" y="11156"/>
                  <a:pt x="14182" y="11033"/>
                  <a:pt x="14093" y="10944"/>
                </a:cubicBezTo>
                <a:lnTo>
                  <a:pt x="11147" y="7998"/>
                </a:lnTo>
                <a:cubicBezTo>
                  <a:pt x="11058" y="7910"/>
                  <a:pt x="10936" y="7855"/>
                  <a:pt x="10800" y="7855"/>
                </a:cubicBezTo>
                <a:cubicBezTo>
                  <a:pt x="10665" y="7855"/>
                  <a:pt x="10542" y="7910"/>
                  <a:pt x="10453" y="7998"/>
                </a:cubicBezTo>
                <a:lnTo>
                  <a:pt x="7507" y="10944"/>
                </a:lnTo>
                <a:cubicBezTo>
                  <a:pt x="7419" y="11033"/>
                  <a:pt x="7364" y="11156"/>
                  <a:pt x="7364" y="11291"/>
                </a:cubicBezTo>
                <a:cubicBezTo>
                  <a:pt x="7364" y="11562"/>
                  <a:pt x="7583" y="11782"/>
                  <a:pt x="7855" y="11782"/>
                </a:cubicBezTo>
                <a:cubicBezTo>
                  <a:pt x="7990" y="11782"/>
                  <a:pt x="8113" y="11727"/>
                  <a:pt x="8202" y="11638"/>
                </a:cubicBezTo>
                <a:lnTo>
                  <a:pt x="10309" y="9531"/>
                </a:lnTo>
                <a:lnTo>
                  <a:pt x="10309" y="21109"/>
                </a:lnTo>
                <a:cubicBezTo>
                  <a:pt x="10309" y="21380"/>
                  <a:pt x="10529" y="21600"/>
                  <a:pt x="10800" y="21600"/>
                </a:cubicBezTo>
                <a:cubicBezTo>
                  <a:pt x="11071" y="21600"/>
                  <a:pt x="11291" y="21380"/>
                  <a:pt x="11291" y="21109"/>
                </a:cubicBezTo>
                <a:lnTo>
                  <a:pt x="11291" y="9531"/>
                </a:lnTo>
                <a:lnTo>
                  <a:pt x="13398" y="11638"/>
                </a:lnTo>
                <a:cubicBezTo>
                  <a:pt x="13488" y="11727"/>
                  <a:pt x="13610" y="11782"/>
                  <a:pt x="1374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849">
            <a:extLst>
              <a:ext uri="{FF2B5EF4-FFF2-40B4-BE49-F238E27FC236}">
                <a16:creationId xmlns:a16="http://schemas.microsoft.com/office/drawing/2014/main" id="{D16034C6-B002-4A3E-9908-6387815DAED5}"/>
              </a:ext>
            </a:extLst>
          </p:cNvPr>
          <p:cNvSpPr/>
          <p:nvPr/>
        </p:nvSpPr>
        <p:spPr bwMode="gray">
          <a:xfrm>
            <a:off x="5052034" y="3417472"/>
            <a:ext cx="290354" cy="25099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2" extrusionOk="0">
                <a:moveTo>
                  <a:pt x="13421" y="20466"/>
                </a:moveTo>
                <a:lnTo>
                  <a:pt x="12630" y="20221"/>
                </a:lnTo>
                <a:cubicBezTo>
                  <a:pt x="13305" y="19604"/>
                  <a:pt x="13745" y="18664"/>
                  <a:pt x="13745" y="17589"/>
                </a:cubicBezTo>
                <a:cubicBezTo>
                  <a:pt x="13745" y="16189"/>
                  <a:pt x="13013" y="14988"/>
                  <a:pt x="11967" y="14465"/>
                </a:cubicBezTo>
                <a:lnTo>
                  <a:pt x="11702" y="15585"/>
                </a:lnTo>
                <a:cubicBezTo>
                  <a:pt x="12330" y="15964"/>
                  <a:pt x="12764" y="16715"/>
                  <a:pt x="12764" y="17589"/>
                </a:cubicBezTo>
                <a:cubicBezTo>
                  <a:pt x="12764" y="18299"/>
                  <a:pt x="12477" y="18923"/>
                  <a:pt x="12035" y="19336"/>
                </a:cubicBezTo>
                <a:lnTo>
                  <a:pt x="12296" y="18213"/>
                </a:lnTo>
                <a:cubicBezTo>
                  <a:pt x="12327" y="18073"/>
                  <a:pt x="12314" y="17918"/>
                  <a:pt x="12246" y="17782"/>
                </a:cubicBezTo>
                <a:cubicBezTo>
                  <a:pt x="12111" y="17511"/>
                  <a:pt x="11811" y="17418"/>
                  <a:pt x="11576" y="17574"/>
                </a:cubicBezTo>
                <a:cubicBezTo>
                  <a:pt x="11459" y="17653"/>
                  <a:pt x="11380" y="17779"/>
                  <a:pt x="11347" y="17920"/>
                </a:cubicBezTo>
                <a:lnTo>
                  <a:pt x="10808" y="20244"/>
                </a:lnTo>
                <a:cubicBezTo>
                  <a:pt x="10776" y="20384"/>
                  <a:pt x="10789" y="20539"/>
                  <a:pt x="10857" y="20675"/>
                </a:cubicBezTo>
                <a:cubicBezTo>
                  <a:pt x="10920" y="20802"/>
                  <a:pt x="11021" y="20885"/>
                  <a:pt x="11133" y="20927"/>
                </a:cubicBezTo>
                <a:lnTo>
                  <a:pt x="11126" y="20956"/>
                </a:lnTo>
                <a:cubicBezTo>
                  <a:pt x="11142" y="20954"/>
                  <a:pt x="11158" y="20948"/>
                  <a:pt x="11173" y="20945"/>
                </a:cubicBezTo>
                <a:lnTo>
                  <a:pt x="13166" y="21562"/>
                </a:lnTo>
                <a:cubicBezTo>
                  <a:pt x="13288" y="21600"/>
                  <a:pt x="13422" y="21584"/>
                  <a:pt x="13539" y="21506"/>
                </a:cubicBezTo>
                <a:cubicBezTo>
                  <a:pt x="13774" y="21350"/>
                  <a:pt x="13855" y="21002"/>
                  <a:pt x="13719" y="20730"/>
                </a:cubicBezTo>
                <a:cubicBezTo>
                  <a:pt x="13651" y="20595"/>
                  <a:pt x="13542" y="20503"/>
                  <a:pt x="13421" y="20466"/>
                </a:cubicBezTo>
                <a:moveTo>
                  <a:pt x="18634" y="7273"/>
                </a:moveTo>
                <a:cubicBezTo>
                  <a:pt x="18643" y="7119"/>
                  <a:pt x="18655" y="6966"/>
                  <a:pt x="18655" y="6809"/>
                </a:cubicBezTo>
                <a:cubicBezTo>
                  <a:pt x="18655" y="3049"/>
                  <a:pt x="16017" y="0"/>
                  <a:pt x="12764" y="0"/>
                </a:cubicBezTo>
                <a:cubicBezTo>
                  <a:pt x="10499" y="0"/>
                  <a:pt x="8536" y="1479"/>
                  <a:pt x="7550" y="3645"/>
                </a:cubicBezTo>
                <a:cubicBezTo>
                  <a:pt x="7185" y="3492"/>
                  <a:pt x="6793" y="3404"/>
                  <a:pt x="6382" y="3404"/>
                </a:cubicBezTo>
                <a:cubicBezTo>
                  <a:pt x="4484" y="3404"/>
                  <a:pt x="2945" y="5183"/>
                  <a:pt x="2945" y="7376"/>
                </a:cubicBezTo>
                <a:cubicBezTo>
                  <a:pt x="2945" y="7662"/>
                  <a:pt x="2973" y="7940"/>
                  <a:pt x="3022" y="8208"/>
                </a:cubicBezTo>
                <a:cubicBezTo>
                  <a:pt x="1267" y="8884"/>
                  <a:pt x="0" y="10794"/>
                  <a:pt x="0" y="13050"/>
                </a:cubicBezTo>
                <a:cubicBezTo>
                  <a:pt x="0" y="15871"/>
                  <a:pt x="1978" y="18157"/>
                  <a:pt x="4418" y="18157"/>
                </a:cubicBezTo>
                <a:lnTo>
                  <a:pt x="6382" y="18157"/>
                </a:lnTo>
                <a:cubicBezTo>
                  <a:pt x="6653" y="18157"/>
                  <a:pt x="6873" y="17903"/>
                  <a:pt x="6873" y="17589"/>
                </a:cubicBezTo>
                <a:cubicBezTo>
                  <a:pt x="6873" y="17276"/>
                  <a:pt x="6653" y="17022"/>
                  <a:pt x="6382" y="17022"/>
                </a:cubicBezTo>
                <a:lnTo>
                  <a:pt x="4418" y="17022"/>
                </a:lnTo>
                <a:cubicBezTo>
                  <a:pt x="2524" y="17022"/>
                  <a:pt x="982" y="15240"/>
                  <a:pt x="982" y="13050"/>
                </a:cubicBezTo>
                <a:cubicBezTo>
                  <a:pt x="982" y="11339"/>
                  <a:pt x="1926" y="9826"/>
                  <a:pt x="3333" y="9284"/>
                </a:cubicBezTo>
                <a:lnTo>
                  <a:pt x="4165" y="8964"/>
                </a:lnTo>
                <a:lnTo>
                  <a:pt x="3982" y="7971"/>
                </a:lnTo>
                <a:cubicBezTo>
                  <a:pt x="3946" y="7773"/>
                  <a:pt x="3927" y="7572"/>
                  <a:pt x="3927" y="7376"/>
                </a:cubicBezTo>
                <a:cubicBezTo>
                  <a:pt x="3927" y="5812"/>
                  <a:pt x="5028" y="4539"/>
                  <a:pt x="6382" y="4539"/>
                </a:cubicBezTo>
                <a:cubicBezTo>
                  <a:pt x="6661" y="4539"/>
                  <a:pt x="6942" y="4597"/>
                  <a:pt x="7215" y="4712"/>
                </a:cubicBezTo>
                <a:lnTo>
                  <a:pt x="8019" y="5049"/>
                </a:lnTo>
                <a:lnTo>
                  <a:pt x="8418" y="4173"/>
                </a:lnTo>
                <a:cubicBezTo>
                  <a:pt x="9272" y="2299"/>
                  <a:pt x="10937" y="1135"/>
                  <a:pt x="12764" y="1135"/>
                </a:cubicBezTo>
                <a:cubicBezTo>
                  <a:pt x="15470" y="1135"/>
                  <a:pt x="17673" y="3680"/>
                  <a:pt x="17673" y="6809"/>
                </a:cubicBezTo>
                <a:cubicBezTo>
                  <a:pt x="17673" y="6908"/>
                  <a:pt x="17666" y="7005"/>
                  <a:pt x="17660" y="7102"/>
                </a:cubicBezTo>
                <a:lnTo>
                  <a:pt x="17655" y="7199"/>
                </a:lnTo>
                <a:lnTo>
                  <a:pt x="17610" y="7998"/>
                </a:lnTo>
                <a:lnTo>
                  <a:pt x="18245" y="8315"/>
                </a:lnTo>
                <a:cubicBezTo>
                  <a:pt x="19687" y="9034"/>
                  <a:pt x="20618" y="10670"/>
                  <a:pt x="20618" y="12483"/>
                </a:cubicBezTo>
                <a:cubicBezTo>
                  <a:pt x="20618" y="14986"/>
                  <a:pt x="18856" y="17022"/>
                  <a:pt x="16691" y="17022"/>
                </a:cubicBezTo>
                <a:lnTo>
                  <a:pt x="15218" y="17022"/>
                </a:lnTo>
                <a:cubicBezTo>
                  <a:pt x="14947" y="17022"/>
                  <a:pt x="14727" y="17276"/>
                  <a:pt x="14727" y="17589"/>
                </a:cubicBezTo>
                <a:cubicBezTo>
                  <a:pt x="14727" y="17903"/>
                  <a:pt x="14947" y="18157"/>
                  <a:pt x="15218" y="18157"/>
                </a:cubicBezTo>
                <a:lnTo>
                  <a:pt x="16691" y="18157"/>
                </a:lnTo>
                <a:cubicBezTo>
                  <a:pt x="19402" y="18157"/>
                  <a:pt x="21600" y="15617"/>
                  <a:pt x="21600" y="12483"/>
                </a:cubicBezTo>
                <a:cubicBezTo>
                  <a:pt x="21600" y="10147"/>
                  <a:pt x="20378" y="8143"/>
                  <a:pt x="18634" y="7273"/>
                </a:cubicBezTo>
                <a:moveTo>
                  <a:pt x="10773" y="14522"/>
                </a:moveTo>
                <a:cubicBezTo>
                  <a:pt x="10711" y="14398"/>
                  <a:pt x="10613" y="14316"/>
                  <a:pt x="10504" y="14274"/>
                </a:cubicBezTo>
                <a:lnTo>
                  <a:pt x="10517" y="14218"/>
                </a:lnTo>
                <a:cubicBezTo>
                  <a:pt x="10484" y="14221"/>
                  <a:pt x="10451" y="14231"/>
                  <a:pt x="10418" y="14240"/>
                </a:cubicBezTo>
                <a:lnTo>
                  <a:pt x="8463" y="13634"/>
                </a:lnTo>
                <a:lnTo>
                  <a:pt x="8463" y="13635"/>
                </a:lnTo>
                <a:cubicBezTo>
                  <a:pt x="8343" y="13598"/>
                  <a:pt x="8209" y="13613"/>
                  <a:pt x="8091" y="13692"/>
                </a:cubicBezTo>
                <a:cubicBezTo>
                  <a:pt x="7856" y="13848"/>
                  <a:pt x="7776" y="14195"/>
                  <a:pt x="7911" y="14466"/>
                </a:cubicBezTo>
                <a:cubicBezTo>
                  <a:pt x="7979" y="14602"/>
                  <a:pt x="8088" y="14693"/>
                  <a:pt x="8210" y="14731"/>
                </a:cubicBezTo>
                <a:lnTo>
                  <a:pt x="8965" y="14964"/>
                </a:lnTo>
                <a:cubicBezTo>
                  <a:pt x="8292" y="15580"/>
                  <a:pt x="7855" y="16518"/>
                  <a:pt x="7855" y="17589"/>
                </a:cubicBezTo>
                <a:cubicBezTo>
                  <a:pt x="7855" y="19007"/>
                  <a:pt x="8604" y="20220"/>
                  <a:pt x="9671" y="20732"/>
                </a:cubicBezTo>
                <a:lnTo>
                  <a:pt x="9934" y="19617"/>
                </a:lnTo>
                <a:cubicBezTo>
                  <a:pt x="9286" y="19246"/>
                  <a:pt x="8836" y="18482"/>
                  <a:pt x="8836" y="17589"/>
                </a:cubicBezTo>
                <a:cubicBezTo>
                  <a:pt x="8836" y="16857"/>
                  <a:pt x="9142" y="16215"/>
                  <a:pt x="9609" y="15802"/>
                </a:cubicBezTo>
                <a:lnTo>
                  <a:pt x="9335" y="16984"/>
                </a:lnTo>
                <a:cubicBezTo>
                  <a:pt x="9303" y="17124"/>
                  <a:pt x="9317" y="17279"/>
                  <a:pt x="9384" y="17415"/>
                </a:cubicBezTo>
                <a:cubicBezTo>
                  <a:pt x="9520" y="17686"/>
                  <a:pt x="9820" y="17779"/>
                  <a:pt x="10055" y="17623"/>
                </a:cubicBezTo>
                <a:cubicBezTo>
                  <a:pt x="10172" y="17544"/>
                  <a:pt x="10251" y="17418"/>
                  <a:pt x="10283" y="17278"/>
                </a:cubicBezTo>
                <a:lnTo>
                  <a:pt x="10823" y="14952"/>
                </a:lnTo>
                <a:cubicBezTo>
                  <a:pt x="10855" y="14812"/>
                  <a:pt x="10841" y="14658"/>
                  <a:pt x="10773" y="1452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850">
            <a:extLst>
              <a:ext uri="{FF2B5EF4-FFF2-40B4-BE49-F238E27FC236}">
                <a16:creationId xmlns:a16="http://schemas.microsoft.com/office/drawing/2014/main" id="{420781B7-857C-41B5-B4DC-123D7B44B2E5}"/>
              </a:ext>
            </a:extLst>
          </p:cNvPr>
          <p:cNvSpPr/>
          <p:nvPr/>
        </p:nvSpPr>
        <p:spPr bwMode="gray">
          <a:xfrm>
            <a:off x="5606346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" y="0"/>
                </a:move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cubicBezTo>
                  <a:pt x="11607" y="982"/>
                  <a:pt x="20618" y="9993"/>
                  <a:pt x="20618" y="21109"/>
                </a:cubicBezTo>
                <a:cubicBezTo>
                  <a:pt x="20618" y="21380"/>
                  <a:pt x="20838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9451"/>
                  <a:pt x="12149" y="0"/>
                  <a:pt x="491" y="0"/>
                </a:cubicBezTo>
                <a:moveTo>
                  <a:pt x="491" y="9818"/>
                </a:moveTo>
                <a:cubicBezTo>
                  <a:pt x="220" y="9818"/>
                  <a:pt x="0" y="10038"/>
                  <a:pt x="0" y="10309"/>
                </a:cubicBezTo>
                <a:cubicBezTo>
                  <a:pt x="0" y="10581"/>
                  <a:pt x="220" y="10800"/>
                  <a:pt x="491" y="10800"/>
                </a:cubicBezTo>
                <a:cubicBezTo>
                  <a:pt x="6184" y="10800"/>
                  <a:pt x="10800" y="15416"/>
                  <a:pt x="10800" y="21109"/>
                </a:cubicBezTo>
                <a:cubicBezTo>
                  <a:pt x="10800" y="21380"/>
                  <a:pt x="11020" y="21600"/>
                  <a:pt x="11291" y="21600"/>
                </a:cubicBezTo>
                <a:cubicBezTo>
                  <a:pt x="11562" y="21600"/>
                  <a:pt x="11782" y="21380"/>
                  <a:pt x="11782" y="21109"/>
                </a:cubicBezTo>
                <a:cubicBezTo>
                  <a:pt x="11782" y="14873"/>
                  <a:pt x="6727" y="9818"/>
                  <a:pt x="491" y="9818"/>
                </a:cubicBezTo>
                <a:moveTo>
                  <a:pt x="491" y="4909"/>
                </a:moveTo>
                <a:cubicBezTo>
                  <a:pt x="220" y="4909"/>
                  <a:pt x="0" y="5129"/>
                  <a:pt x="0" y="5400"/>
                </a:cubicBezTo>
                <a:cubicBezTo>
                  <a:pt x="0" y="5672"/>
                  <a:pt x="220" y="5891"/>
                  <a:pt x="491" y="5891"/>
                </a:cubicBezTo>
                <a:cubicBezTo>
                  <a:pt x="8896" y="5891"/>
                  <a:pt x="15709" y="12705"/>
                  <a:pt x="15709" y="21109"/>
                </a:cubicBez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cubicBezTo>
                  <a:pt x="16691" y="12162"/>
                  <a:pt x="9438" y="4909"/>
                  <a:pt x="491" y="4909"/>
                </a:cubicBezTo>
                <a:moveTo>
                  <a:pt x="2945" y="20618"/>
                </a:moveTo>
                <a:cubicBezTo>
                  <a:pt x="1861" y="20618"/>
                  <a:pt x="982" y="19739"/>
                  <a:pt x="982" y="18655"/>
                </a:cubicBezTo>
                <a:cubicBezTo>
                  <a:pt x="982" y="17570"/>
                  <a:pt x="1861" y="16691"/>
                  <a:pt x="2945" y="16691"/>
                </a:cubicBezTo>
                <a:cubicBezTo>
                  <a:pt x="4030" y="16691"/>
                  <a:pt x="4909" y="17570"/>
                  <a:pt x="4909" y="18655"/>
                </a:cubicBezTo>
                <a:cubicBezTo>
                  <a:pt x="4909" y="19739"/>
                  <a:pt x="4030" y="20618"/>
                  <a:pt x="2945" y="20618"/>
                </a:cubicBezTo>
                <a:moveTo>
                  <a:pt x="2945" y="15709"/>
                </a:moveTo>
                <a:cubicBezTo>
                  <a:pt x="1319" y="15709"/>
                  <a:pt x="0" y="17028"/>
                  <a:pt x="0" y="18655"/>
                </a:cubicBezTo>
                <a:cubicBezTo>
                  <a:pt x="0" y="20281"/>
                  <a:pt x="1319" y="21600"/>
                  <a:pt x="2945" y="21600"/>
                </a:cubicBezTo>
                <a:cubicBezTo>
                  <a:pt x="4573" y="21600"/>
                  <a:pt x="5891" y="20281"/>
                  <a:pt x="5891" y="18655"/>
                </a:cubicBezTo>
                <a:cubicBezTo>
                  <a:pt x="5891" y="17028"/>
                  <a:pt x="4573" y="15709"/>
                  <a:pt x="2945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851">
            <a:extLst>
              <a:ext uri="{FF2B5EF4-FFF2-40B4-BE49-F238E27FC236}">
                <a16:creationId xmlns:a16="http://schemas.microsoft.com/office/drawing/2014/main" id="{535EC991-2949-4CF1-B9AD-A7B48529DF2E}"/>
              </a:ext>
            </a:extLst>
          </p:cNvPr>
          <p:cNvSpPr/>
          <p:nvPr/>
        </p:nvSpPr>
        <p:spPr bwMode="gray">
          <a:xfrm>
            <a:off x="617539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10309"/>
                </a:moveTo>
                <a:lnTo>
                  <a:pt x="4909" y="10309"/>
                </a:lnTo>
                <a:cubicBezTo>
                  <a:pt x="4638" y="10309"/>
                  <a:pt x="4418" y="10529"/>
                  <a:pt x="4418" y="10800"/>
                </a:cubicBezTo>
                <a:cubicBezTo>
                  <a:pt x="4418" y="11071"/>
                  <a:pt x="4638" y="11291"/>
                  <a:pt x="4909" y="11291"/>
                </a:cubicBezTo>
                <a:lnTo>
                  <a:pt x="5891" y="11291"/>
                </a:lnTo>
                <a:cubicBezTo>
                  <a:pt x="8331" y="11291"/>
                  <a:pt x="10309" y="13269"/>
                  <a:pt x="10309" y="15709"/>
                </a:cubicBezTo>
                <a:lnTo>
                  <a:pt x="10309" y="16691"/>
                </a:lnTo>
                <a:cubicBezTo>
                  <a:pt x="10309" y="16962"/>
                  <a:pt x="10529" y="17182"/>
                  <a:pt x="10800" y="17182"/>
                </a:cubicBezTo>
                <a:cubicBezTo>
                  <a:pt x="11071" y="17182"/>
                  <a:pt x="11291" y="16962"/>
                  <a:pt x="11291" y="16691"/>
                </a:cubicBezTo>
                <a:lnTo>
                  <a:pt x="11291" y="15709"/>
                </a:lnTo>
                <a:cubicBezTo>
                  <a:pt x="11291" y="12727"/>
                  <a:pt x="8873" y="10309"/>
                  <a:pt x="5891" y="10309"/>
                </a:cubicBezTo>
                <a:moveTo>
                  <a:pt x="5891" y="7364"/>
                </a:moveTo>
                <a:lnTo>
                  <a:pt x="4909" y="7364"/>
                </a:lnTo>
                <a:cubicBezTo>
                  <a:pt x="4638" y="7364"/>
                  <a:pt x="4418" y="7583"/>
                  <a:pt x="4418" y="7855"/>
                </a:cubicBezTo>
                <a:cubicBezTo>
                  <a:pt x="4418" y="8126"/>
                  <a:pt x="4638" y="8345"/>
                  <a:pt x="4909" y="8345"/>
                </a:cubicBezTo>
                <a:lnTo>
                  <a:pt x="5891" y="8345"/>
                </a:lnTo>
                <a:cubicBezTo>
                  <a:pt x="9958" y="8345"/>
                  <a:pt x="13255" y="11642"/>
                  <a:pt x="13255" y="15709"/>
                </a:cubicBezTo>
                <a:lnTo>
                  <a:pt x="13255" y="16691"/>
                </a:lnTo>
                <a:cubicBezTo>
                  <a:pt x="13255" y="16962"/>
                  <a:pt x="13475" y="17182"/>
                  <a:pt x="13745" y="17182"/>
                </a:cubicBezTo>
                <a:cubicBezTo>
                  <a:pt x="14016" y="17182"/>
                  <a:pt x="14236" y="16962"/>
                  <a:pt x="14236" y="16691"/>
                </a:cubicBezTo>
                <a:lnTo>
                  <a:pt x="14236" y="15709"/>
                </a:lnTo>
                <a:cubicBezTo>
                  <a:pt x="14236" y="11100"/>
                  <a:pt x="10500" y="7364"/>
                  <a:pt x="5891" y="7364"/>
                </a:cubicBezTo>
                <a:moveTo>
                  <a:pt x="6382" y="16200"/>
                </a:moveTo>
                <a:cubicBezTo>
                  <a:pt x="5840" y="16200"/>
                  <a:pt x="5400" y="15761"/>
                  <a:pt x="5400" y="15218"/>
                </a:cubicBezTo>
                <a:cubicBezTo>
                  <a:pt x="5400" y="14676"/>
                  <a:pt x="5840" y="14236"/>
                  <a:pt x="6382" y="14236"/>
                </a:cubicBezTo>
                <a:cubicBezTo>
                  <a:pt x="6924" y="14236"/>
                  <a:pt x="7364" y="14676"/>
                  <a:pt x="7364" y="15218"/>
                </a:cubicBezTo>
                <a:cubicBezTo>
                  <a:pt x="7364" y="15761"/>
                  <a:pt x="6924" y="16200"/>
                  <a:pt x="6382" y="16200"/>
                </a:cubicBezTo>
                <a:moveTo>
                  <a:pt x="6382" y="13255"/>
                </a:moveTo>
                <a:cubicBezTo>
                  <a:pt x="5297" y="13255"/>
                  <a:pt x="4418" y="14134"/>
                  <a:pt x="4418" y="15218"/>
                </a:cubicBezTo>
                <a:cubicBezTo>
                  <a:pt x="4418" y="16303"/>
                  <a:pt x="5297" y="17182"/>
                  <a:pt x="6382" y="17182"/>
                </a:cubicBezTo>
                <a:cubicBezTo>
                  <a:pt x="7466" y="17182"/>
                  <a:pt x="8345" y="16303"/>
                  <a:pt x="8345" y="15218"/>
                </a:cubicBezTo>
                <a:cubicBezTo>
                  <a:pt x="8345" y="14134"/>
                  <a:pt x="7466" y="13255"/>
                  <a:pt x="6382" y="13255"/>
                </a:cubicBezTo>
                <a:moveTo>
                  <a:pt x="5891" y="4418"/>
                </a:moveTo>
                <a:lnTo>
                  <a:pt x="4909" y="4418"/>
                </a:lnTo>
                <a:cubicBezTo>
                  <a:pt x="4638" y="4418"/>
                  <a:pt x="4418" y="4638"/>
                  <a:pt x="4418" y="4909"/>
                </a:cubicBezTo>
                <a:cubicBezTo>
                  <a:pt x="4418" y="5180"/>
                  <a:pt x="4638" y="5400"/>
                  <a:pt x="4909" y="5400"/>
                </a:cubicBezTo>
                <a:lnTo>
                  <a:pt x="5891" y="5400"/>
                </a:lnTo>
                <a:cubicBezTo>
                  <a:pt x="11585" y="5400"/>
                  <a:pt x="16200" y="10016"/>
                  <a:pt x="16200" y="15709"/>
                </a:cubicBezTo>
                <a:lnTo>
                  <a:pt x="16200" y="16691"/>
                </a:lnTo>
                <a:cubicBezTo>
                  <a:pt x="16200" y="16962"/>
                  <a:pt x="16420" y="17182"/>
                  <a:pt x="16691" y="17182"/>
                </a:cubicBezTo>
                <a:cubicBezTo>
                  <a:pt x="16962" y="17182"/>
                  <a:pt x="17182" y="16962"/>
                  <a:pt x="17182" y="16691"/>
                </a:cubicBezTo>
                <a:lnTo>
                  <a:pt x="17182" y="15709"/>
                </a:lnTo>
                <a:cubicBezTo>
                  <a:pt x="17182" y="9473"/>
                  <a:pt x="12127" y="4418"/>
                  <a:pt x="5891" y="4418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852">
            <a:extLst>
              <a:ext uri="{FF2B5EF4-FFF2-40B4-BE49-F238E27FC236}">
                <a16:creationId xmlns:a16="http://schemas.microsoft.com/office/drawing/2014/main" id="{71E8AADB-6DFB-4A54-A742-C4767585EAC0}"/>
              </a:ext>
            </a:extLst>
          </p:cNvPr>
          <p:cNvSpPr/>
          <p:nvPr/>
        </p:nvSpPr>
        <p:spPr bwMode="gray">
          <a:xfrm>
            <a:off x="1185049" y="3951988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44" y="12617"/>
                </a:moveTo>
                <a:cubicBezTo>
                  <a:pt x="14459" y="12872"/>
                  <a:pt x="14634" y="13163"/>
                  <a:pt x="14771" y="13485"/>
                </a:cubicBezTo>
                <a:cubicBezTo>
                  <a:pt x="16295" y="12407"/>
                  <a:pt x="17280" y="10728"/>
                  <a:pt x="17280" y="8836"/>
                </a:cubicBezTo>
                <a:cubicBezTo>
                  <a:pt x="17280" y="5583"/>
                  <a:pt x="14379" y="2945"/>
                  <a:pt x="10800" y="2945"/>
                </a:cubicBezTo>
                <a:cubicBezTo>
                  <a:pt x="7221" y="2945"/>
                  <a:pt x="4320" y="5583"/>
                  <a:pt x="4320" y="8836"/>
                </a:cubicBezTo>
                <a:cubicBezTo>
                  <a:pt x="4320" y="10714"/>
                  <a:pt x="5289" y="12382"/>
                  <a:pt x="6794" y="13461"/>
                </a:cubicBezTo>
                <a:cubicBezTo>
                  <a:pt x="6928" y="13135"/>
                  <a:pt x="7106" y="12845"/>
                  <a:pt x="7323" y="12590"/>
                </a:cubicBezTo>
                <a:cubicBezTo>
                  <a:pt x="6148" y="11689"/>
                  <a:pt x="5400" y="10343"/>
                  <a:pt x="5400" y="8836"/>
                </a:cubicBezTo>
                <a:cubicBezTo>
                  <a:pt x="5400" y="6125"/>
                  <a:pt x="7818" y="3927"/>
                  <a:pt x="10800" y="3927"/>
                </a:cubicBezTo>
                <a:cubicBezTo>
                  <a:pt x="13782" y="3927"/>
                  <a:pt x="16200" y="6125"/>
                  <a:pt x="16200" y="8836"/>
                </a:cubicBezTo>
                <a:cubicBezTo>
                  <a:pt x="16200" y="10358"/>
                  <a:pt x="15439" y="11717"/>
                  <a:pt x="14244" y="12617"/>
                </a:cubicBezTo>
                <a:moveTo>
                  <a:pt x="10800" y="0"/>
                </a:moveTo>
                <a:cubicBezTo>
                  <a:pt x="4836" y="0"/>
                  <a:pt x="0" y="4396"/>
                  <a:pt x="0" y="9818"/>
                </a:cubicBezTo>
                <a:cubicBezTo>
                  <a:pt x="0" y="14007"/>
                  <a:pt x="2891" y="17573"/>
                  <a:pt x="6953" y="18983"/>
                </a:cubicBezTo>
                <a:cubicBezTo>
                  <a:pt x="6874" y="18609"/>
                  <a:pt x="6803" y="18223"/>
                  <a:pt x="6741" y="17840"/>
                </a:cubicBezTo>
                <a:cubicBezTo>
                  <a:pt x="3402" y="16441"/>
                  <a:pt x="1080" y="13379"/>
                  <a:pt x="1080" y="9818"/>
                </a:cubicBezTo>
                <a:cubicBezTo>
                  <a:pt x="1080" y="4938"/>
                  <a:pt x="5432" y="982"/>
                  <a:pt x="10800" y="982"/>
                </a:cubicBezTo>
                <a:cubicBezTo>
                  <a:pt x="16168" y="982"/>
                  <a:pt x="20520" y="4938"/>
                  <a:pt x="20520" y="9818"/>
                </a:cubicBezTo>
                <a:cubicBezTo>
                  <a:pt x="20520" y="13374"/>
                  <a:pt x="18204" y="16431"/>
                  <a:pt x="14874" y="17833"/>
                </a:cubicBezTo>
                <a:cubicBezTo>
                  <a:pt x="14812" y="18216"/>
                  <a:pt x="14740" y="18603"/>
                  <a:pt x="14660" y="18979"/>
                </a:cubicBezTo>
                <a:cubicBezTo>
                  <a:pt x="18716" y="17565"/>
                  <a:pt x="21600" y="14002"/>
                  <a:pt x="21600" y="9818"/>
                </a:cubicBezTo>
                <a:cubicBezTo>
                  <a:pt x="21600" y="4396"/>
                  <a:pt x="16765" y="0"/>
                  <a:pt x="10800" y="0"/>
                </a:cubicBezTo>
                <a:moveTo>
                  <a:pt x="10800" y="7364"/>
                </a:moveTo>
                <a:cubicBezTo>
                  <a:pt x="11695" y="7364"/>
                  <a:pt x="12420" y="8023"/>
                  <a:pt x="12420" y="8836"/>
                </a:cubicBezTo>
                <a:cubicBezTo>
                  <a:pt x="12420" y="9649"/>
                  <a:pt x="11695" y="10309"/>
                  <a:pt x="10800" y="10309"/>
                </a:cubicBezTo>
                <a:cubicBezTo>
                  <a:pt x="9905" y="10309"/>
                  <a:pt x="9180" y="9649"/>
                  <a:pt x="9180" y="8836"/>
                </a:cubicBezTo>
                <a:cubicBezTo>
                  <a:pt x="9180" y="8023"/>
                  <a:pt x="9905" y="7364"/>
                  <a:pt x="10800" y="7364"/>
                </a:cubicBezTo>
                <a:moveTo>
                  <a:pt x="10800" y="11291"/>
                </a:moveTo>
                <a:cubicBezTo>
                  <a:pt x="12292" y="11291"/>
                  <a:pt x="13500" y="10192"/>
                  <a:pt x="13500" y="8836"/>
                </a:cubicBezTo>
                <a:cubicBezTo>
                  <a:pt x="13500" y="7481"/>
                  <a:pt x="12292" y="6382"/>
                  <a:pt x="10800" y="6382"/>
                </a:cubicBezTo>
                <a:cubicBezTo>
                  <a:pt x="9309" y="6382"/>
                  <a:pt x="8100" y="7481"/>
                  <a:pt x="8100" y="8836"/>
                </a:cubicBezTo>
                <a:cubicBezTo>
                  <a:pt x="8100" y="10192"/>
                  <a:pt x="9309" y="11291"/>
                  <a:pt x="10800" y="11291"/>
                </a:cubicBezTo>
                <a:moveTo>
                  <a:pt x="11994" y="20179"/>
                </a:moveTo>
                <a:cubicBezTo>
                  <a:pt x="11855" y="20433"/>
                  <a:pt x="11737" y="20560"/>
                  <a:pt x="11673" y="20618"/>
                </a:cubicBezTo>
                <a:lnTo>
                  <a:pt x="9927" y="20618"/>
                </a:lnTo>
                <a:cubicBezTo>
                  <a:pt x="9862" y="20560"/>
                  <a:pt x="9745" y="20433"/>
                  <a:pt x="9606" y="20179"/>
                </a:cubicBezTo>
                <a:cubicBezTo>
                  <a:pt x="9182" y="19408"/>
                  <a:pt x="8640" y="16626"/>
                  <a:pt x="8640" y="15218"/>
                </a:cubicBezTo>
                <a:cubicBezTo>
                  <a:pt x="8640" y="13768"/>
                  <a:pt x="9205" y="13255"/>
                  <a:pt x="10800" y="13255"/>
                </a:cubicBezTo>
                <a:cubicBezTo>
                  <a:pt x="12395" y="13255"/>
                  <a:pt x="12960" y="13768"/>
                  <a:pt x="12960" y="15218"/>
                </a:cubicBezTo>
                <a:cubicBezTo>
                  <a:pt x="12960" y="16626"/>
                  <a:pt x="12418" y="19408"/>
                  <a:pt x="11994" y="20179"/>
                </a:cubicBezTo>
                <a:moveTo>
                  <a:pt x="10800" y="12273"/>
                </a:moveTo>
                <a:cubicBezTo>
                  <a:pt x="8100" y="12273"/>
                  <a:pt x="7560" y="13745"/>
                  <a:pt x="7560" y="15218"/>
                </a:cubicBezTo>
                <a:cubicBezTo>
                  <a:pt x="7560" y="16691"/>
                  <a:pt x="8100" y="19636"/>
                  <a:pt x="8640" y="20618"/>
                </a:cubicBezTo>
                <a:cubicBezTo>
                  <a:pt x="9180" y="21600"/>
                  <a:pt x="9720" y="21600"/>
                  <a:pt x="9720" y="21600"/>
                </a:cubicBezTo>
                <a:lnTo>
                  <a:pt x="11880" y="21600"/>
                </a:lnTo>
                <a:cubicBezTo>
                  <a:pt x="11880" y="21600"/>
                  <a:pt x="12420" y="21600"/>
                  <a:pt x="12960" y="20618"/>
                </a:cubicBezTo>
                <a:cubicBezTo>
                  <a:pt x="13500" y="19636"/>
                  <a:pt x="14040" y="16691"/>
                  <a:pt x="14040" y="15218"/>
                </a:cubicBezTo>
                <a:cubicBezTo>
                  <a:pt x="14040" y="13745"/>
                  <a:pt x="13500" y="12273"/>
                  <a:pt x="108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853">
            <a:extLst>
              <a:ext uri="{FF2B5EF4-FFF2-40B4-BE49-F238E27FC236}">
                <a16:creationId xmlns:a16="http://schemas.microsoft.com/office/drawing/2014/main" id="{496A17EE-1381-48A4-9432-04F24237C6BD}"/>
              </a:ext>
            </a:extLst>
          </p:cNvPr>
          <p:cNvSpPr/>
          <p:nvPr/>
        </p:nvSpPr>
        <p:spPr bwMode="gray">
          <a:xfrm>
            <a:off x="175255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00" y="8836"/>
                </a:moveTo>
                <a:cubicBezTo>
                  <a:pt x="9600" y="8295"/>
                  <a:pt x="10138" y="7855"/>
                  <a:pt x="10800" y="7855"/>
                </a:cubicBezTo>
                <a:cubicBezTo>
                  <a:pt x="11462" y="7855"/>
                  <a:pt x="12000" y="8295"/>
                  <a:pt x="12000" y="8836"/>
                </a:cubicBezTo>
                <a:cubicBezTo>
                  <a:pt x="12000" y="9378"/>
                  <a:pt x="11462" y="9818"/>
                  <a:pt x="10800" y="9818"/>
                </a:cubicBezTo>
                <a:cubicBezTo>
                  <a:pt x="10138" y="9818"/>
                  <a:pt x="9600" y="9378"/>
                  <a:pt x="9600" y="8836"/>
                </a:cubicBezTo>
                <a:moveTo>
                  <a:pt x="13200" y="8836"/>
                </a:moveTo>
                <a:cubicBezTo>
                  <a:pt x="13200" y="7752"/>
                  <a:pt x="12125" y="6873"/>
                  <a:pt x="10800" y="6873"/>
                </a:cubicBezTo>
                <a:cubicBezTo>
                  <a:pt x="9475" y="6873"/>
                  <a:pt x="8400" y="7752"/>
                  <a:pt x="8400" y="8836"/>
                </a:cubicBezTo>
                <a:cubicBezTo>
                  <a:pt x="8400" y="9921"/>
                  <a:pt x="9475" y="10800"/>
                  <a:pt x="10800" y="10800"/>
                </a:cubicBezTo>
                <a:cubicBezTo>
                  <a:pt x="12125" y="10800"/>
                  <a:pt x="13200" y="9921"/>
                  <a:pt x="13200" y="8836"/>
                </a:cubicBezTo>
                <a:moveTo>
                  <a:pt x="17400" y="8836"/>
                </a:moveTo>
                <a:cubicBezTo>
                  <a:pt x="17400" y="5854"/>
                  <a:pt x="14445" y="3436"/>
                  <a:pt x="10800" y="3436"/>
                </a:cubicBezTo>
                <a:cubicBezTo>
                  <a:pt x="7155" y="3436"/>
                  <a:pt x="4200" y="5854"/>
                  <a:pt x="4200" y="8836"/>
                </a:cubicBezTo>
                <a:cubicBezTo>
                  <a:pt x="4200" y="10437"/>
                  <a:pt x="5056" y="11870"/>
                  <a:pt x="6408" y="12860"/>
                </a:cubicBezTo>
                <a:cubicBezTo>
                  <a:pt x="6570" y="12537"/>
                  <a:pt x="6778" y="12249"/>
                  <a:pt x="7035" y="12000"/>
                </a:cubicBezTo>
                <a:cubicBezTo>
                  <a:pt x="6028" y="11198"/>
                  <a:pt x="5400" y="10078"/>
                  <a:pt x="5400" y="8836"/>
                </a:cubicBezTo>
                <a:cubicBezTo>
                  <a:pt x="5400" y="6396"/>
                  <a:pt x="7818" y="4418"/>
                  <a:pt x="10800" y="4418"/>
                </a:cubicBezTo>
                <a:cubicBezTo>
                  <a:pt x="13783" y="4418"/>
                  <a:pt x="16200" y="6396"/>
                  <a:pt x="16200" y="8836"/>
                </a:cubicBezTo>
                <a:cubicBezTo>
                  <a:pt x="16200" y="10094"/>
                  <a:pt x="15555" y="11226"/>
                  <a:pt x="14524" y="12030"/>
                </a:cubicBezTo>
                <a:cubicBezTo>
                  <a:pt x="14780" y="12280"/>
                  <a:pt x="14989" y="12568"/>
                  <a:pt x="15154" y="12887"/>
                </a:cubicBezTo>
                <a:cubicBezTo>
                  <a:pt x="16528" y="11898"/>
                  <a:pt x="17400" y="10452"/>
                  <a:pt x="17400" y="8836"/>
                </a:cubicBezTo>
                <a:moveTo>
                  <a:pt x="10800" y="0"/>
                </a:moveTo>
                <a:cubicBezTo>
                  <a:pt x="4835" y="0"/>
                  <a:pt x="0" y="3957"/>
                  <a:pt x="0" y="8836"/>
                </a:cubicBezTo>
                <a:cubicBezTo>
                  <a:pt x="0" y="12363"/>
                  <a:pt x="2531" y="15397"/>
                  <a:pt x="6181" y="16815"/>
                </a:cubicBezTo>
                <a:cubicBezTo>
                  <a:pt x="6125" y="16401"/>
                  <a:pt x="6080" y="16009"/>
                  <a:pt x="6049" y="15656"/>
                </a:cubicBezTo>
                <a:cubicBezTo>
                  <a:pt x="3155" y="14303"/>
                  <a:pt x="1200" y="11759"/>
                  <a:pt x="1200" y="8836"/>
                </a:cubicBezTo>
                <a:cubicBezTo>
                  <a:pt x="1200" y="4499"/>
                  <a:pt x="5498" y="982"/>
                  <a:pt x="10800" y="982"/>
                </a:cubicBezTo>
                <a:cubicBezTo>
                  <a:pt x="16102" y="982"/>
                  <a:pt x="20400" y="4499"/>
                  <a:pt x="20400" y="8836"/>
                </a:cubicBezTo>
                <a:cubicBezTo>
                  <a:pt x="20400" y="11756"/>
                  <a:pt x="18449" y="14298"/>
                  <a:pt x="15560" y="15652"/>
                </a:cubicBezTo>
                <a:cubicBezTo>
                  <a:pt x="15532" y="16000"/>
                  <a:pt x="15490" y="16392"/>
                  <a:pt x="15433" y="16809"/>
                </a:cubicBezTo>
                <a:cubicBezTo>
                  <a:pt x="19076" y="15390"/>
                  <a:pt x="21600" y="12358"/>
                  <a:pt x="21600" y="8836"/>
                </a:cubicBezTo>
                <a:cubicBezTo>
                  <a:pt x="21600" y="3957"/>
                  <a:pt x="16765" y="0"/>
                  <a:pt x="10800" y="0"/>
                </a:cubicBezTo>
                <a:moveTo>
                  <a:pt x="12127" y="20179"/>
                </a:moveTo>
                <a:cubicBezTo>
                  <a:pt x="11972" y="20432"/>
                  <a:pt x="11842" y="20560"/>
                  <a:pt x="11770" y="20618"/>
                </a:cubicBezTo>
                <a:lnTo>
                  <a:pt x="9830" y="20618"/>
                </a:lnTo>
                <a:cubicBezTo>
                  <a:pt x="9758" y="20560"/>
                  <a:pt x="9628" y="20432"/>
                  <a:pt x="9473" y="20179"/>
                </a:cubicBezTo>
                <a:cubicBezTo>
                  <a:pt x="9032" y="19457"/>
                  <a:pt x="8400" y="16247"/>
                  <a:pt x="8400" y="14727"/>
                </a:cubicBezTo>
                <a:cubicBezTo>
                  <a:pt x="8400" y="13278"/>
                  <a:pt x="9028" y="12764"/>
                  <a:pt x="10800" y="12764"/>
                </a:cubicBezTo>
                <a:cubicBezTo>
                  <a:pt x="12572" y="12764"/>
                  <a:pt x="13200" y="13278"/>
                  <a:pt x="13200" y="14727"/>
                </a:cubicBezTo>
                <a:cubicBezTo>
                  <a:pt x="13200" y="16247"/>
                  <a:pt x="12568" y="19457"/>
                  <a:pt x="12127" y="20179"/>
                </a:cubicBezTo>
                <a:moveTo>
                  <a:pt x="10800" y="11782"/>
                </a:moveTo>
                <a:cubicBezTo>
                  <a:pt x="7800" y="11782"/>
                  <a:pt x="7200" y="13255"/>
                  <a:pt x="7200" y="14727"/>
                </a:cubicBezTo>
                <a:cubicBezTo>
                  <a:pt x="7200" y="16200"/>
                  <a:pt x="7800" y="19636"/>
                  <a:pt x="8400" y="20618"/>
                </a:cubicBezTo>
                <a:cubicBezTo>
                  <a:pt x="9000" y="21600"/>
                  <a:pt x="9600" y="21600"/>
                  <a:pt x="9600" y="21600"/>
                </a:cubicBezTo>
                <a:lnTo>
                  <a:pt x="12000" y="21600"/>
                </a:lnTo>
                <a:cubicBezTo>
                  <a:pt x="12000" y="21600"/>
                  <a:pt x="12600" y="21600"/>
                  <a:pt x="13200" y="20618"/>
                </a:cubicBezTo>
                <a:cubicBezTo>
                  <a:pt x="13800" y="19636"/>
                  <a:pt x="14400" y="16200"/>
                  <a:pt x="14400" y="14727"/>
                </a:cubicBezTo>
                <a:cubicBezTo>
                  <a:pt x="14400" y="13255"/>
                  <a:pt x="13800" y="11782"/>
                  <a:pt x="10800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854">
            <a:extLst>
              <a:ext uri="{FF2B5EF4-FFF2-40B4-BE49-F238E27FC236}">
                <a16:creationId xmlns:a16="http://schemas.microsoft.com/office/drawing/2014/main" id="{97EFFD96-DCCF-4779-BC4C-B76D279A1817}"/>
              </a:ext>
            </a:extLst>
          </p:cNvPr>
          <p:cNvSpPr/>
          <p:nvPr/>
        </p:nvSpPr>
        <p:spPr bwMode="gray">
          <a:xfrm>
            <a:off x="2280475" y="3951988"/>
            <a:ext cx="290286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52" y="3921"/>
                </a:moveTo>
                <a:cubicBezTo>
                  <a:pt x="18338" y="3921"/>
                  <a:pt x="17679" y="3262"/>
                  <a:pt x="17679" y="2448"/>
                </a:cubicBezTo>
                <a:cubicBezTo>
                  <a:pt x="17679" y="1634"/>
                  <a:pt x="18338" y="975"/>
                  <a:pt x="19152" y="975"/>
                </a:cubicBezTo>
                <a:cubicBezTo>
                  <a:pt x="19966" y="975"/>
                  <a:pt x="20625" y="1634"/>
                  <a:pt x="20625" y="2448"/>
                </a:cubicBezTo>
                <a:cubicBezTo>
                  <a:pt x="20625" y="3262"/>
                  <a:pt x="19966" y="3921"/>
                  <a:pt x="19152" y="3921"/>
                </a:cubicBezTo>
                <a:moveTo>
                  <a:pt x="10804" y="12269"/>
                </a:moveTo>
                <a:cubicBezTo>
                  <a:pt x="9991" y="12269"/>
                  <a:pt x="9331" y="11609"/>
                  <a:pt x="9331" y="10795"/>
                </a:cubicBezTo>
                <a:cubicBezTo>
                  <a:pt x="9331" y="9981"/>
                  <a:pt x="9991" y="9322"/>
                  <a:pt x="10804" y="9322"/>
                </a:cubicBezTo>
                <a:cubicBezTo>
                  <a:pt x="11618" y="9322"/>
                  <a:pt x="12278" y="9981"/>
                  <a:pt x="12278" y="10795"/>
                </a:cubicBezTo>
                <a:cubicBezTo>
                  <a:pt x="12278" y="11609"/>
                  <a:pt x="11618" y="12269"/>
                  <a:pt x="10804" y="12269"/>
                </a:cubicBezTo>
                <a:moveTo>
                  <a:pt x="3930" y="19143"/>
                </a:moveTo>
                <a:cubicBezTo>
                  <a:pt x="3930" y="19956"/>
                  <a:pt x="3271" y="20616"/>
                  <a:pt x="2457" y="20616"/>
                </a:cubicBezTo>
                <a:cubicBezTo>
                  <a:pt x="1643" y="20616"/>
                  <a:pt x="984" y="19956"/>
                  <a:pt x="984" y="19143"/>
                </a:cubicBezTo>
                <a:cubicBezTo>
                  <a:pt x="984" y="18329"/>
                  <a:pt x="1643" y="17669"/>
                  <a:pt x="2457" y="17669"/>
                </a:cubicBezTo>
                <a:cubicBezTo>
                  <a:pt x="3271" y="17669"/>
                  <a:pt x="3930" y="18329"/>
                  <a:pt x="3930" y="19143"/>
                </a:cubicBezTo>
                <a:moveTo>
                  <a:pt x="19148" y="0"/>
                </a:moveTo>
                <a:cubicBezTo>
                  <a:pt x="17793" y="0"/>
                  <a:pt x="16695" y="1098"/>
                  <a:pt x="16695" y="2452"/>
                </a:cubicBezTo>
                <a:cubicBezTo>
                  <a:pt x="16695" y="3640"/>
                  <a:pt x="17539" y="4630"/>
                  <a:pt x="18660" y="4856"/>
                </a:cubicBezTo>
                <a:lnTo>
                  <a:pt x="18660" y="10306"/>
                </a:lnTo>
                <a:lnTo>
                  <a:pt x="13203" y="10306"/>
                </a:lnTo>
                <a:cubicBezTo>
                  <a:pt x="12974" y="9187"/>
                  <a:pt x="11985" y="8347"/>
                  <a:pt x="10800" y="8347"/>
                </a:cubicBezTo>
                <a:cubicBezTo>
                  <a:pt x="9615" y="8347"/>
                  <a:pt x="8626" y="9187"/>
                  <a:pt x="8398" y="10306"/>
                </a:cubicBezTo>
                <a:lnTo>
                  <a:pt x="2456" y="10306"/>
                </a:lnTo>
                <a:cubicBezTo>
                  <a:pt x="2184" y="10306"/>
                  <a:pt x="1965" y="10525"/>
                  <a:pt x="1965" y="10796"/>
                </a:cubicBezTo>
                <a:lnTo>
                  <a:pt x="1965" y="16744"/>
                </a:lnTo>
                <a:cubicBezTo>
                  <a:pt x="844" y="16970"/>
                  <a:pt x="0" y="17960"/>
                  <a:pt x="0" y="19147"/>
                </a:cubicBezTo>
                <a:cubicBezTo>
                  <a:pt x="0" y="20502"/>
                  <a:pt x="1098" y="21600"/>
                  <a:pt x="2453" y="21600"/>
                </a:cubicBezTo>
                <a:cubicBezTo>
                  <a:pt x="3807" y="21600"/>
                  <a:pt x="4905" y="20502"/>
                  <a:pt x="4905" y="19147"/>
                </a:cubicBezTo>
                <a:cubicBezTo>
                  <a:pt x="4905" y="17961"/>
                  <a:pt x="4065" y="16973"/>
                  <a:pt x="2947" y="16744"/>
                </a:cubicBezTo>
                <a:lnTo>
                  <a:pt x="2947" y="11287"/>
                </a:lnTo>
                <a:lnTo>
                  <a:pt x="8397" y="11287"/>
                </a:lnTo>
                <a:cubicBezTo>
                  <a:pt x="8623" y="12408"/>
                  <a:pt x="9613" y="13253"/>
                  <a:pt x="10800" y="13253"/>
                </a:cubicBezTo>
                <a:cubicBezTo>
                  <a:pt x="11988" y="13253"/>
                  <a:pt x="12978" y="12408"/>
                  <a:pt x="13203" y="11287"/>
                </a:cubicBezTo>
                <a:lnTo>
                  <a:pt x="19151" y="11287"/>
                </a:lnTo>
                <a:cubicBezTo>
                  <a:pt x="19422" y="11287"/>
                  <a:pt x="19642" y="11068"/>
                  <a:pt x="19642" y="10796"/>
                </a:cubicBezTo>
                <a:lnTo>
                  <a:pt x="19642" y="4855"/>
                </a:lnTo>
                <a:cubicBezTo>
                  <a:pt x="20759" y="4626"/>
                  <a:pt x="21600" y="3638"/>
                  <a:pt x="21600" y="2452"/>
                </a:cubicBezTo>
                <a:cubicBezTo>
                  <a:pt x="21600" y="1098"/>
                  <a:pt x="20502" y="0"/>
                  <a:pt x="1914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855">
            <a:extLst>
              <a:ext uri="{FF2B5EF4-FFF2-40B4-BE49-F238E27FC236}">
                <a16:creationId xmlns:a16="http://schemas.microsoft.com/office/drawing/2014/main" id="{7EA69C19-E11B-4E39-8B32-AA9278B40764}"/>
              </a:ext>
            </a:extLst>
          </p:cNvPr>
          <p:cNvSpPr/>
          <p:nvPr/>
        </p:nvSpPr>
        <p:spPr bwMode="gray">
          <a:xfrm>
            <a:off x="2847984" y="3951988"/>
            <a:ext cx="263890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7" y="20616"/>
                </a:moveTo>
                <a:cubicBezTo>
                  <a:pt x="18012" y="20616"/>
                  <a:pt x="17287" y="19956"/>
                  <a:pt x="17287" y="19143"/>
                </a:cubicBezTo>
                <a:cubicBezTo>
                  <a:pt x="17287" y="18329"/>
                  <a:pt x="18012" y="17669"/>
                  <a:pt x="18907" y="17669"/>
                </a:cubicBezTo>
                <a:cubicBezTo>
                  <a:pt x="19802" y="17669"/>
                  <a:pt x="20527" y="18329"/>
                  <a:pt x="20527" y="19143"/>
                </a:cubicBezTo>
                <a:cubicBezTo>
                  <a:pt x="20527" y="19956"/>
                  <a:pt x="19802" y="20616"/>
                  <a:pt x="18907" y="20616"/>
                </a:cubicBezTo>
                <a:moveTo>
                  <a:pt x="2703" y="12269"/>
                </a:moveTo>
                <a:cubicBezTo>
                  <a:pt x="1808" y="12269"/>
                  <a:pt x="1082" y="11609"/>
                  <a:pt x="1082" y="10795"/>
                </a:cubicBezTo>
                <a:cubicBezTo>
                  <a:pt x="1082" y="9981"/>
                  <a:pt x="1808" y="9322"/>
                  <a:pt x="2703" y="9322"/>
                </a:cubicBezTo>
                <a:cubicBezTo>
                  <a:pt x="3598" y="9322"/>
                  <a:pt x="4323" y="9981"/>
                  <a:pt x="4323" y="10795"/>
                </a:cubicBezTo>
                <a:cubicBezTo>
                  <a:pt x="4323" y="11609"/>
                  <a:pt x="3598" y="12269"/>
                  <a:pt x="2703" y="12269"/>
                </a:cubicBezTo>
                <a:moveTo>
                  <a:pt x="18907" y="975"/>
                </a:moveTo>
                <a:cubicBezTo>
                  <a:pt x="19802" y="975"/>
                  <a:pt x="20527" y="1634"/>
                  <a:pt x="20527" y="2448"/>
                </a:cubicBezTo>
                <a:cubicBezTo>
                  <a:pt x="20527" y="3262"/>
                  <a:pt x="19802" y="3921"/>
                  <a:pt x="18907" y="3921"/>
                </a:cubicBezTo>
                <a:cubicBezTo>
                  <a:pt x="18012" y="3921"/>
                  <a:pt x="17287" y="3262"/>
                  <a:pt x="17287" y="2448"/>
                </a:cubicBezTo>
                <a:cubicBezTo>
                  <a:pt x="17287" y="1634"/>
                  <a:pt x="18012" y="975"/>
                  <a:pt x="18907" y="975"/>
                </a:cubicBezTo>
                <a:moveTo>
                  <a:pt x="18902" y="16695"/>
                </a:moveTo>
                <a:cubicBezTo>
                  <a:pt x="18092" y="16695"/>
                  <a:pt x="17374" y="17026"/>
                  <a:pt x="16879" y="17540"/>
                </a:cubicBezTo>
                <a:lnTo>
                  <a:pt x="5253" y="11551"/>
                </a:lnTo>
                <a:cubicBezTo>
                  <a:pt x="5338" y="11314"/>
                  <a:pt x="5396" y="11064"/>
                  <a:pt x="5396" y="10800"/>
                </a:cubicBezTo>
                <a:cubicBezTo>
                  <a:pt x="5396" y="10536"/>
                  <a:pt x="5338" y="10286"/>
                  <a:pt x="5253" y="10048"/>
                </a:cubicBezTo>
                <a:lnTo>
                  <a:pt x="16879" y="4059"/>
                </a:lnTo>
                <a:cubicBezTo>
                  <a:pt x="17373" y="4574"/>
                  <a:pt x="18092" y="4905"/>
                  <a:pt x="18902" y="4905"/>
                </a:cubicBezTo>
                <a:cubicBezTo>
                  <a:pt x="20392" y="4905"/>
                  <a:pt x="21600" y="3807"/>
                  <a:pt x="21600" y="2452"/>
                </a:cubicBezTo>
                <a:cubicBezTo>
                  <a:pt x="21600" y="1098"/>
                  <a:pt x="20392" y="0"/>
                  <a:pt x="18902" y="0"/>
                </a:cubicBezTo>
                <a:cubicBezTo>
                  <a:pt x="17412" y="0"/>
                  <a:pt x="16204" y="1098"/>
                  <a:pt x="16204" y="2452"/>
                </a:cubicBezTo>
                <a:cubicBezTo>
                  <a:pt x="16204" y="2716"/>
                  <a:pt x="16262" y="2966"/>
                  <a:pt x="16347" y="3204"/>
                </a:cubicBezTo>
                <a:lnTo>
                  <a:pt x="4722" y="9193"/>
                </a:lnTo>
                <a:cubicBezTo>
                  <a:pt x="4227" y="8679"/>
                  <a:pt x="3509" y="8347"/>
                  <a:pt x="2698" y="8347"/>
                </a:cubicBezTo>
                <a:cubicBezTo>
                  <a:pt x="1208" y="8347"/>
                  <a:pt x="0" y="9445"/>
                  <a:pt x="0" y="10800"/>
                </a:cubicBezTo>
                <a:cubicBezTo>
                  <a:pt x="0" y="12155"/>
                  <a:pt x="1208" y="13253"/>
                  <a:pt x="2698" y="13253"/>
                </a:cubicBezTo>
                <a:cubicBezTo>
                  <a:pt x="3509" y="13253"/>
                  <a:pt x="4227" y="12921"/>
                  <a:pt x="4722" y="12406"/>
                </a:cubicBezTo>
                <a:lnTo>
                  <a:pt x="16347" y="18395"/>
                </a:lnTo>
                <a:cubicBezTo>
                  <a:pt x="16262" y="18633"/>
                  <a:pt x="16204" y="18883"/>
                  <a:pt x="16204" y="19147"/>
                </a:cubicBezTo>
                <a:cubicBezTo>
                  <a:pt x="16204" y="20502"/>
                  <a:pt x="17412" y="21600"/>
                  <a:pt x="18902" y="21600"/>
                </a:cubicBezTo>
                <a:cubicBezTo>
                  <a:pt x="20392" y="21600"/>
                  <a:pt x="21600" y="20502"/>
                  <a:pt x="21600" y="19147"/>
                </a:cubicBezTo>
                <a:cubicBezTo>
                  <a:pt x="21600" y="17792"/>
                  <a:pt x="20392" y="16695"/>
                  <a:pt x="18902" y="1669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856">
            <a:extLst>
              <a:ext uri="{FF2B5EF4-FFF2-40B4-BE49-F238E27FC236}">
                <a16:creationId xmlns:a16="http://schemas.microsoft.com/office/drawing/2014/main" id="{E1510A8E-5207-4C89-AE66-029D2FBE9162}"/>
              </a:ext>
            </a:extLst>
          </p:cNvPr>
          <p:cNvSpPr/>
          <p:nvPr/>
        </p:nvSpPr>
        <p:spPr bwMode="gray">
          <a:xfrm>
            <a:off x="3389098" y="3951988"/>
            <a:ext cx="290496" cy="2903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75" y="14735"/>
                </a:moveTo>
                <a:cubicBezTo>
                  <a:pt x="12008" y="15178"/>
                  <a:pt x="11621" y="15531"/>
                  <a:pt x="11226" y="15783"/>
                </a:cubicBezTo>
                <a:cubicBezTo>
                  <a:pt x="10834" y="16035"/>
                  <a:pt x="10421" y="16209"/>
                  <a:pt x="10002" y="16302"/>
                </a:cubicBezTo>
                <a:cubicBezTo>
                  <a:pt x="9027" y="16517"/>
                  <a:pt x="8105" y="16493"/>
                  <a:pt x="7342" y="16179"/>
                </a:cubicBezTo>
                <a:cubicBezTo>
                  <a:pt x="6912" y="16003"/>
                  <a:pt x="6537" y="15755"/>
                  <a:pt x="6227" y="15442"/>
                </a:cubicBezTo>
                <a:cubicBezTo>
                  <a:pt x="5915" y="15129"/>
                  <a:pt x="5669" y="14758"/>
                  <a:pt x="5493" y="14340"/>
                </a:cubicBezTo>
                <a:cubicBezTo>
                  <a:pt x="5317" y="13924"/>
                  <a:pt x="5228" y="13459"/>
                  <a:pt x="5228" y="12958"/>
                </a:cubicBezTo>
                <a:cubicBezTo>
                  <a:pt x="5228" y="12161"/>
                  <a:pt x="5386" y="11302"/>
                  <a:pt x="5698" y="10406"/>
                </a:cubicBezTo>
                <a:cubicBezTo>
                  <a:pt x="6010" y="9509"/>
                  <a:pt x="6454" y="8665"/>
                  <a:pt x="7018" y="7900"/>
                </a:cubicBezTo>
                <a:cubicBezTo>
                  <a:pt x="7579" y="7140"/>
                  <a:pt x="8265" y="6498"/>
                  <a:pt x="9058" y="5993"/>
                </a:cubicBezTo>
                <a:cubicBezTo>
                  <a:pt x="9839" y="5496"/>
                  <a:pt x="10706" y="5245"/>
                  <a:pt x="11636" y="5245"/>
                </a:cubicBezTo>
                <a:cubicBezTo>
                  <a:pt x="12014" y="5245"/>
                  <a:pt x="12413" y="5288"/>
                  <a:pt x="12821" y="5373"/>
                </a:cubicBezTo>
                <a:cubicBezTo>
                  <a:pt x="13224" y="5457"/>
                  <a:pt x="13613" y="5599"/>
                  <a:pt x="13978" y="5795"/>
                </a:cubicBezTo>
                <a:cubicBezTo>
                  <a:pt x="14337" y="5989"/>
                  <a:pt x="14658" y="6246"/>
                  <a:pt x="14931" y="6561"/>
                </a:cubicBezTo>
                <a:cubicBezTo>
                  <a:pt x="15189" y="6858"/>
                  <a:pt x="15389" y="7238"/>
                  <a:pt x="15526" y="7692"/>
                </a:cubicBezTo>
                <a:lnTo>
                  <a:pt x="13353" y="13035"/>
                </a:lnTo>
                <a:cubicBezTo>
                  <a:pt x="13072" y="13720"/>
                  <a:pt x="12743" y="14292"/>
                  <a:pt x="12375" y="14735"/>
                </a:cubicBezTo>
                <a:moveTo>
                  <a:pt x="20215" y="16108"/>
                </a:moveTo>
                <a:cubicBezTo>
                  <a:pt x="19749" y="16741"/>
                  <a:pt x="19196" y="17344"/>
                  <a:pt x="18569" y="17900"/>
                </a:cubicBezTo>
                <a:cubicBezTo>
                  <a:pt x="17943" y="18456"/>
                  <a:pt x="17242" y="18946"/>
                  <a:pt x="16484" y="19359"/>
                </a:cubicBezTo>
                <a:cubicBezTo>
                  <a:pt x="15729" y="19770"/>
                  <a:pt x="14914" y="20096"/>
                  <a:pt x="14064" y="20327"/>
                </a:cubicBezTo>
                <a:cubicBezTo>
                  <a:pt x="13217" y="20556"/>
                  <a:pt x="12316" y="20673"/>
                  <a:pt x="11388" y="20673"/>
                </a:cubicBezTo>
                <a:cubicBezTo>
                  <a:pt x="9991" y="20673"/>
                  <a:pt x="8647" y="20458"/>
                  <a:pt x="7393" y="20036"/>
                </a:cubicBezTo>
                <a:cubicBezTo>
                  <a:pt x="6143" y="19615"/>
                  <a:pt x="5029" y="18981"/>
                  <a:pt x="4083" y="18149"/>
                </a:cubicBezTo>
                <a:cubicBezTo>
                  <a:pt x="3138" y="17320"/>
                  <a:pt x="2378" y="16274"/>
                  <a:pt x="1823" y="15041"/>
                </a:cubicBezTo>
                <a:cubicBezTo>
                  <a:pt x="1269" y="13809"/>
                  <a:pt x="989" y="12357"/>
                  <a:pt x="989" y="10727"/>
                </a:cubicBezTo>
                <a:cubicBezTo>
                  <a:pt x="989" y="9370"/>
                  <a:pt x="1254" y="8086"/>
                  <a:pt x="1777" y="6911"/>
                </a:cubicBezTo>
                <a:cubicBezTo>
                  <a:pt x="2301" y="5736"/>
                  <a:pt x="3037" y="4693"/>
                  <a:pt x="3964" y="3814"/>
                </a:cubicBezTo>
                <a:cubicBezTo>
                  <a:pt x="4892" y="2933"/>
                  <a:pt x="6002" y="2230"/>
                  <a:pt x="7264" y="1722"/>
                </a:cubicBezTo>
                <a:cubicBezTo>
                  <a:pt x="8526" y="1215"/>
                  <a:pt x="9914" y="958"/>
                  <a:pt x="11388" y="958"/>
                </a:cubicBezTo>
                <a:cubicBezTo>
                  <a:pt x="12700" y="958"/>
                  <a:pt x="13940" y="1156"/>
                  <a:pt x="15072" y="1549"/>
                </a:cubicBezTo>
                <a:cubicBezTo>
                  <a:pt x="16200" y="1942"/>
                  <a:pt x="17185" y="2497"/>
                  <a:pt x="17998" y="3203"/>
                </a:cubicBezTo>
                <a:cubicBezTo>
                  <a:pt x="18809" y="3906"/>
                  <a:pt x="19455" y="4765"/>
                  <a:pt x="19917" y="5754"/>
                </a:cubicBezTo>
                <a:cubicBezTo>
                  <a:pt x="20377" y="6743"/>
                  <a:pt x="20611" y="7843"/>
                  <a:pt x="20611" y="9023"/>
                </a:cubicBezTo>
                <a:cubicBezTo>
                  <a:pt x="20611" y="10070"/>
                  <a:pt x="20418" y="11059"/>
                  <a:pt x="20038" y="11962"/>
                </a:cubicBezTo>
                <a:cubicBezTo>
                  <a:pt x="19656" y="12869"/>
                  <a:pt x="19171" y="13663"/>
                  <a:pt x="18598" y="14320"/>
                </a:cubicBezTo>
                <a:cubicBezTo>
                  <a:pt x="18028" y="14976"/>
                  <a:pt x="17393" y="15502"/>
                  <a:pt x="16714" y="15880"/>
                </a:cubicBezTo>
                <a:cubicBezTo>
                  <a:pt x="16044" y="16255"/>
                  <a:pt x="15398" y="16444"/>
                  <a:pt x="14792" y="16444"/>
                </a:cubicBezTo>
                <a:cubicBezTo>
                  <a:pt x="14424" y="16444"/>
                  <a:pt x="14151" y="16374"/>
                  <a:pt x="13980" y="16235"/>
                </a:cubicBezTo>
                <a:cubicBezTo>
                  <a:pt x="13810" y="16098"/>
                  <a:pt x="13710" y="15916"/>
                  <a:pt x="13675" y="15677"/>
                </a:cubicBezTo>
                <a:cubicBezTo>
                  <a:pt x="13638" y="15420"/>
                  <a:pt x="13667" y="15109"/>
                  <a:pt x="13764" y="14754"/>
                </a:cubicBezTo>
                <a:cubicBezTo>
                  <a:pt x="13864" y="14385"/>
                  <a:pt x="14007" y="13983"/>
                  <a:pt x="14190" y="13556"/>
                </a:cubicBezTo>
                <a:lnTo>
                  <a:pt x="17729" y="4845"/>
                </a:lnTo>
                <a:lnTo>
                  <a:pt x="16677" y="4845"/>
                </a:lnTo>
                <a:lnTo>
                  <a:pt x="16026" y="6544"/>
                </a:lnTo>
                <a:cubicBezTo>
                  <a:pt x="15715" y="5890"/>
                  <a:pt x="15207" y="5363"/>
                  <a:pt x="14512" y="4972"/>
                </a:cubicBezTo>
                <a:cubicBezTo>
                  <a:pt x="13703" y="4517"/>
                  <a:pt x="12777" y="4287"/>
                  <a:pt x="11759" y="4287"/>
                </a:cubicBezTo>
                <a:cubicBezTo>
                  <a:pt x="10637" y="4287"/>
                  <a:pt x="9596" y="4568"/>
                  <a:pt x="8663" y="5121"/>
                </a:cubicBezTo>
                <a:cubicBezTo>
                  <a:pt x="7739" y="5669"/>
                  <a:pt x="6940" y="6381"/>
                  <a:pt x="6289" y="7238"/>
                </a:cubicBezTo>
                <a:cubicBezTo>
                  <a:pt x="5641" y="8091"/>
                  <a:pt x="5132" y="9032"/>
                  <a:pt x="4777" y="10034"/>
                </a:cubicBezTo>
                <a:cubicBezTo>
                  <a:pt x="4420" y="11037"/>
                  <a:pt x="4240" y="12021"/>
                  <a:pt x="4240" y="12958"/>
                </a:cubicBezTo>
                <a:cubicBezTo>
                  <a:pt x="4240" y="13568"/>
                  <a:pt x="4354" y="14151"/>
                  <a:pt x="4579" y="14689"/>
                </a:cubicBezTo>
                <a:cubicBezTo>
                  <a:pt x="4804" y="15227"/>
                  <a:pt x="5113" y="15701"/>
                  <a:pt x="5499" y="16097"/>
                </a:cubicBezTo>
                <a:cubicBezTo>
                  <a:pt x="5887" y="16495"/>
                  <a:pt x="6354" y="16815"/>
                  <a:pt x="6889" y="17048"/>
                </a:cubicBezTo>
                <a:cubicBezTo>
                  <a:pt x="8063" y="17561"/>
                  <a:pt x="9489" y="17484"/>
                  <a:pt x="10904" y="17025"/>
                </a:cubicBezTo>
                <a:cubicBezTo>
                  <a:pt x="11562" y="16811"/>
                  <a:pt x="12160" y="16412"/>
                  <a:pt x="12689" y="15835"/>
                </a:cubicBezTo>
                <a:cubicBezTo>
                  <a:pt x="12715" y="16226"/>
                  <a:pt x="12874" y="16561"/>
                  <a:pt x="13164" y="16837"/>
                </a:cubicBezTo>
                <a:cubicBezTo>
                  <a:pt x="13559" y="17211"/>
                  <a:pt x="14086" y="17402"/>
                  <a:pt x="14731" y="17402"/>
                </a:cubicBezTo>
                <a:cubicBezTo>
                  <a:pt x="15501" y="17402"/>
                  <a:pt x="16307" y="17176"/>
                  <a:pt x="17124" y="16733"/>
                </a:cubicBezTo>
                <a:cubicBezTo>
                  <a:pt x="17934" y="16294"/>
                  <a:pt x="18680" y="15687"/>
                  <a:pt x="19342" y="14930"/>
                </a:cubicBezTo>
                <a:cubicBezTo>
                  <a:pt x="20001" y="14176"/>
                  <a:pt x="20548" y="13284"/>
                  <a:pt x="20967" y="12281"/>
                </a:cubicBezTo>
                <a:cubicBezTo>
                  <a:pt x="21387" y="11274"/>
                  <a:pt x="21600" y="10178"/>
                  <a:pt x="21600" y="9023"/>
                </a:cubicBezTo>
                <a:cubicBezTo>
                  <a:pt x="21600" y="7651"/>
                  <a:pt x="21328" y="6389"/>
                  <a:pt x="20793" y="5274"/>
                </a:cubicBezTo>
                <a:cubicBezTo>
                  <a:pt x="20258" y="4158"/>
                  <a:pt x="19518" y="3199"/>
                  <a:pt x="18594" y="2422"/>
                </a:cubicBezTo>
                <a:cubicBezTo>
                  <a:pt x="17672" y="1647"/>
                  <a:pt x="16579" y="1043"/>
                  <a:pt x="15346" y="627"/>
                </a:cubicBezTo>
                <a:cubicBezTo>
                  <a:pt x="14116" y="211"/>
                  <a:pt x="12784" y="0"/>
                  <a:pt x="11388" y="0"/>
                </a:cubicBezTo>
                <a:cubicBezTo>
                  <a:pt x="9845" y="0"/>
                  <a:pt x="8365" y="271"/>
                  <a:pt x="6989" y="805"/>
                </a:cubicBezTo>
                <a:cubicBezTo>
                  <a:pt x="5612" y="1340"/>
                  <a:pt x="4389" y="2093"/>
                  <a:pt x="3356" y="3045"/>
                </a:cubicBezTo>
                <a:cubicBezTo>
                  <a:pt x="2321" y="3996"/>
                  <a:pt x="1495" y="5137"/>
                  <a:pt x="899" y="6436"/>
                </a:cubicBezTo>
                <a:cubicBezTo>
                  <a:pt x="302" y="7737"/>
                  <a:pt x="0" y="9181"/>
                  <a:pt x="0" y="10727"/>
                </a:cubicBezTo>
                <a:cubicBezTo>
                  <a:pt x="0" y="12605"/>
                  <a:pt x="334" y="14252"/>
                  <a:pt x="993" y="15622"/>
                </a:cubicBezTo>
                <a:cubicBezTo>
                  <a:pt x="1652" y="16992"/>
                  <a:pt x="2528" y="18134"/>
                  <a:pt x="3595" y="19018"/>
                </a:cubicBezTo>
                <a:cubicBezTo>
                  <a:pt x="4661" y="19900"/>
                  <a:pt x="5890" y="20559"/>
                  <a:pt x="7249" y="20975"/>
                </a:cubicBezTo>
                <a:cubicBezTo>
                  <a:pt x="8601" y="21390"/>
                  <a:pt x="9994" y="21600"/>
                  <a:pt x="11388" y="21600"/>
                </a:cubicBezTo>
                <a:cubicBezTo>
                  <a:pt x="12348" y="21600"/>
                  <a:pt x="13317" y="21474"/>
                  <a:pt x="14267" y="21228"/>
                </a:cubicBezTo>
                <a:cubicBezTo>
                  <a:pt x="15214" y="20981"/>
                  <a:pt x="16128" y="20624"/>
                  <a:pt x="16983" y="20169"/>
                </a:cubicBezTo>
                <a:cubicBezTo>
                  <a:pt x="17839" y="19713"/>
                  <a:pt x="18642" y="19152"/>
                  <a:pt x="19372" y="18499"/>
                </a:cubicBezTo>
                <a:cubicBezTo>
                  <a:pt x="20104" y="17845"/>
                  <a:pt x="20729" y="17110"/>
                  <a:pt x="21232" y="16316"/>
                </a:cubicBezTo>
                <a:lnTo>
                  <a:pt x="21411" y="16033"/>
                </a:lnTo>
                <a:lnTo>
                  <a:pt x="20270" y="16033"/>
                </a:lnTo>
                <a:cubicBezTo>
                  <a:pt x="20270" y="16033"/>
                  <a:pt x="20215" y="16108"/>
                  <a:pt x="20215" y="1610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857">
            <a:extLst>
              <a:ext uri="{FF2B5EF4-FFF2-40B4-BE49-F238E27FC236}">
                <a16:creationId xmlns:a16="http://schemas.microsoft.com/office/drawing/2014/main" id="{225D1254-6642-41BB-90A2-BC9C66F8B07A}"/>
              </a:ext>
            </a:extLst>
          </p:cNvPr>
          <p:cNvSpPr/>
          <p:nvPr/>
        </p:nvSpPr>
        <p:spPr bwMode="gray">
          <a:xfrm>
            <a:off x="3943410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7"/>
                  <a:pt x="17673" y="7364"/>
                </a:cubicBezTo>
                <a:cubicBezTo>
                  <a:pt x="17673" y="6787"/>
                  <a:pt x="17339" y="6294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89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5"/>
                  <a:pt x="10556" y="16200"/>
                  <a:pt x="10800" y="16200"/>
                </a:cubicBezTo>
                <a:cubicBezTo>
                  <a:pt x="11273" y="16200"/>
                  <a:pt x="11689" y="15973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2"/>
                </a:moveTo>
                <a:cubicBezTo>
                  <a:pt x="3476" y="16840"/>
                  <a:pt x="3436" y="16279"/>
                  <a:pt x="3436" y="15709"/>
                </a:cubicBezTo>
                <a:cubicBezTo>
                  <a:pt x="3436" y="14763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6"/>
                </a:cubicBezTo>
                <a:cubicBezTo>
                  <a:pt x="9431" y="15253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6"/>
                </a:cubicBezTo>
                <a:cubicBezTo>
                  <a:pt x="3608" y="17469"/>
                  <a:pt x="3573" y="17430"/>
                  <a:pt x="3539" y="17392"/>
                </a:cubicBezTo>
                <a:moveTo>
                  <a:pt x="3075" y="11369"/>
                </a:moveTo>
                <a:cubicBezTo>
                  <a:pt x="2361" y="10869"/>
                  <a:pt x="1683" y="10321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6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3"/>
                  <a:pt x="3936" y="11937"/>
                </a:cubicBezTo>
                <a:cubicBezTo>
                  <a:pt x="4379" y="10266"/>
                  <a:pt x="5100" y="8708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4"/>
                  <a:pt x="7855" y="5891"/>
                </a:cubicBezTo>
                <a:cubicBezTo>
                  <a:pt x="7855" y="5688"/>
                  <a:pt x="7813" y="5493"/>
                  <a:pt x="7739" y="5317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0"/>
                  <a:pt x="11005" y="1707"/>
                  <a:pt x="10354" y="2081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5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7"/>
                  <a:pt x="15149" y="8393"/>
                </a:cubicBezTo>
                <a:cubicBezTo>
                  <a:pt x="14827" y="9199"/>
                  <a:pt x="14443" y="9973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3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858">
            <a:extLst>
              <a:ext uri="{FF2B5EF4-FFF2-40B4-BE49-F238E27FC236}">
                <a16:creationId xmlns:a16="http://schemas.microsoft.com/office/drawing/2014/main" id="{F54CC534-0529-4516-B008-E0B193438685}"/>
              </a:ext>
            </a:extLst>
          </p:cNvPr>
          <p:cNvSpPr/>
          <p:nvPr/>
        </p:nvSpPr>
        <p:spPr bwMode="gray">
          <a:xfrm>
            <a:off x="4524118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98" y="4909"/>
                  <a:pt x="1200" y="4030"/>
                  <a:pt x="1200" y="2945"/>
                </a:cubicBezTo>
                <a:cubicBezTo>
                  <a:pt x="1200" y="1861"/>
                  <a:pt x="5498" y="982"/>
                  <a:pt x="10800" y="982"/>
                </a:cubicBezTo>
                <a:cubicBezTo>
                  <a:pt x="16102" y="982"/>
                  <a:pt x="20400" y="1861"/>
                  <a:pt x="20400" y="2945"/>
                </a:cubicBezTo>
                <a:cubicBezTo>
                  <a:pt x="20400" y="4030"/>
                  <a:pt x="16102" y="4909"/>
                  <a:pt x="10800" y="4909"/>
                </a:cubicBezTo>
                <a:moveTo>
                  <a:pt x="20400" y="6873"/>
                </a:moveTo>
                <a:cubicBezTo>
                  <a:pt x="20400" y="7957"/>
                  <a:pt x="16102" y="8836"/>
                  <a:pt x="10800" y="8836"/>
                </a:cubicBezTo>
                <a:cubicBezTo>
                  <a:pt x="5498" y="8836"/>
                  <a:pt x="1200" y="7957"/>
                  <a:pt x="1200" y="6873"/>
                </a:cubicBezTo>
                <a:lnTo>
                  <a:pt x="1200" y="4291"/>
                </a:lnTo>
                <a:cubicBezTo>
                  <a:pt x="2993" y="5240"/>
                  <a:pt x="6615" y="5891"/>
                  <a:pt x="10800" y="5891"/>
                </a:cubicBezTo>
                <a:cubicBezTo>
                  <a:pt x="14986" y="5891"/>
                  <a:pt x="18607" y="5240"/>
                  <a:pt x="20400" y="4291"/>
                </a:cubicBezTo>
                <a:cubicBezTo>
                  <a:pt x="20400" y="4291"/>
                  <a:pt x="20400" y="6873"/>
                  <a:pt x="20400" y="6873"/>
                </a:cubicBezTo>
                <a:close/>
                <a:moveTo>
                  <a:pt x="10800" y="10800"/>
                </a:moveTo>
                <a:cubicBezTo>
                  <a:pt x="5498" y="10800"/>
                  <a:pt x="1200" y="9921"/>
                  <a:pt x="1200" y="8836"/>
                </a:cubicBezTo>
                <a:cubicBezTo>
                  <a:pt x="1200" y="8672"/>
                  <a:pt x="1309" y="8514"/>
                  <a:pt x="1494" y="8362"/>
                </a:cubicBezTo>
                <a:cubicBezTo>
                  <a:pt x="3370" y="9232"/>
                  <a:pt x="6830" y="9818"/>
                  <a:pt x="10800" y="9818"/>
                </a:cubicBezTo>
                <a:cubicBezTo>
                  <a:pt x="14770" y="9818"/>
                  <a:pt x="18230" y="9232"/>
                  <a:pt x="20106" y="8362"/>
                </a:cubicBezTo>
                <a:cubicBezTo>
                  <a:pt x="20291" y="8514"/>
                  <a:pt x="20400" y="8672"/>
                  <a:pt x="20400" y="8836"/>
                </a:cubicBezTo>
                <a:cubicBezTo>
                  <a:pt x="20400" y="9921"/>
                  <a:pt x="16102" y="10800"/>
                  <a:pt x="10800" y="10800"/>
                </a:cubicBezTo>
                <a:moveTo>
                  <a:pt x="20400" y="12764"/>
                </a:moveTo>
                <a:cubicBezTo>
                  <a:pt x="20400" y="13848"/>
                  <a:pt x="16102" y="14727"/>
                  <a:pt x="10800" y="14727"/>
                </a:cubicBezTo>
                <a:cubicBezTo>
                  <a:pt x="5498" y="14727"/>
                  <a:pt x="1200" y="13848"/>
                  <a:pt x="1200" y="12764"/>
                </a:cubicBezTo>
                <a:lnTo>
                  <a:pt x="1200" y="10182"/>
                </a:lnTo>
                <a:cubicBezTo>
                  <a:pt x="2993" y="11131"/>
                  <a:pt x="6615" y="11782"/>
                  <a:pt x="10800" y="11782"/>
                </a:cubicBezTo>
                <a:cubicBezTo>
                  <a:pt x="14986" y="11782"/>
                  <a:pt x="18607" y="11131"/>
                  <a:pt x="20400" y="10182"/>
                </a:cubicBezTo>
                <a:cubicBezTo>
                  <a:pt x="20400" y="10182"/>
                  <a:pt x="20400" y="12764"/>
                  <a:pt x="20400" y="12764"/>
                </a:cubicBezTo>
                <a:close/>
                <a:moveTo>
                  <a:pt x="10800" y="16691"/>
                </a:moveTo>
                <a:cubicBezTo>
                  <a:pt x="5498" y="16691"/>
                  <a:pt x="1200" y="15812"/>
                  <a:pt x="1200" y="14727"/>
                </a:cubicBezTo>
                <a:cubicBezTo>
                  <a:pt x="1200" y="14563"/>
                  <a:pt x="1309" y="14405"/>
                  <a:pt x="1494" y="14253"/>
                </a:cubicBezTo>
                <a:cubicBezTo>
                  <a:pt x="3370" y="15123"/>
                  <a:pt x="6830" y="15709"/>
                  <a:pt x="10800" y="15709"/>
                </a:cubicBezTo>
                <a:cubicBezTo>
                  <a:pt x="14770" y="15709"/>
                  <a:pt x="18230" y="15123"/>
                  <a:pt x="20106" y="14253"/>
                </a:cubicBezTo>
                <a:cubicBezTo>
                  <a:pt x="20291" y="14405"/>
                  <a:pt x="20400" y="14563"/>
                  <a:pt x="20400" y="14727"/>
                </a:cubicBezTo>
                <a:cubicBezTo>
                  <a:pt x="20400" y="15812"/>
                  <a:pt x="16102" y="16691"/>
                  <a:pt x="10800" y="16691"/>
                </a:cubicBezTo>
                <a:moveTo>
                  <a:pt x="20400" y="18655"/>
                </a:moveTo>
                <a:cubicBezTo>
                  <a:pt x="20400" y="19739"/>
                  <a:pt x="16102" y="20618"/>
                  <a:pt x="10800" y="20618"/>
                </a:cubicBezTo>
                <a:cubicBezTo>
                  <a:pt x="5498" y="20618"/>
                  <a:pt x="1200" y="19739"/>
                  <a:pt x="1200" y="18655"/>
                </a:cubicBezTo>
                <a:lnTo>
                  <a:pt x="1200" y="16073"/>
                </a:lnTo>
                <a:cubicBezTo>
                  <a:pt x="2993" y="17022"/>
                  <a:pt x="6615" y="17673"/>
                  <a:pt x="10800" y="17673"/>
                </a:cubicBezTo>
                <a:cubicBezTo>
                  <a:pt x="14986" y="17673"/>
                  <a:pt x="18607" y="17022"/>
                  <a:pt x="20400" y="16073"/>
                </a:cubicBezTo>
                <a:cubicBezTo>
                  <a:pt x="20400" y="16073"/>
                  <a:pt x="20400" y="18655"/>
                  <a:pt x="20400" y="18655"/>
                </a:cubicBezTo>
                <a:close/>
                <a:moveTo>
                  <a:pt x="21600" y="2945"/>
                </a:moveTo>
                <a:cubicBezTo>
                  <a:pt x="21600" y="1319"/>
                  <a:pt x="16765" y="0"/>
                  <a:pt x="10800" y="0"/>
                </a:cubicBezTo>
                <a:cubicBezTo>
                  <a:pt x="4835" y="0"/>
                  <a:pt x="0" y="1319"/>
                  <a:pt x="0" y="2945"/>
                </a:cubicBezTo>
                <a:lnTo>
                  <a:pt x="0" y="6873"/>
                </a:lnTo>
                <a:cubicBezTo>
                  <a:pt x="0" y="7218"/>
                  <a:pt x="229" y="7547"/>
                  <a:pt x="628" y="7855"/>
                </a:cubicBezTo>
                <a:cubicBezTo>
                  <a:pt x="229" y="8162"/>
                  <a:pt x="0" y="8492"/>
                  <a:pt x="0" y="8836"/>
                </a:cubicBezTo>
                <a:lnTo>
                  <a:pt x="0" y="12764"/>
                </a:lnTo>
                <a:cubicBezTo>
                  <a:pt x="0" y="13109"/>
                  <a:pt x="229" y="13438"/>
                  <a:pt x="628" y="13745"/>
                </a:cubicBezTo>
                <a:cubicBezTo>
                  <a:pt x="229" y="14053"/>
                  <a:pt x="0" y="14383"/>
                  <a:pt x="0" y="14727"/>
                </a:cubicBezTo>
                <a:lnTo>
                  <a:pt x="0" y="18655"/>
                </a:lnTo>
                <a:cubicBezTo>
                  <a:pt x="0" y="20281"/>
                  <a:pt x="4835" y="21600"/>
                  <a:pt x="10800" y="21600"/>
                </a:cubicBezTo>
                <a:cubicBezTo>
                  <a:pt x="16765" y="21600"/>
                  <a:pt x="21600" y="20281"/>
                  <a:pt x="21600" y="18655"/>
                </a:cubicBezTo>
                <a:lnTo>
                  <a:pt x="21600" y="14727"/>
                </a:lnTo>
                <a:cubicBezTo>
                  <a:pt x="21600" y="14383"/>
                  <a:pt x="21371" y="14053"/>
                  <a:pt x="20972" y="13745"/>
                </a:cubicBezTo>
                <a:cubicBezTo>
                  <a:pt x="21371" y="13438"/>
                  <a:pt x="21600" y="13109"/>
                  <a:pt x="21600" y="12764"/>
                </a:cubicBezTo>
                <a:lnTo>
                  <a:pt x="21600" y="8836"/>
                </a:lnTo>
                <a:cubicBezTo>
                  <a:pt x="21600" y="8492"/>
                  <a:pt x="21371" y="8162"/>
                  <a:pt x="20972" y="7855"/>
                </a:cubicBezTo>
                <a:cubicBezTo>
                  <a:pt x="21371" y="7547"/>
                  <a:pt x="21600" y="7218"/>
                  <a:pt x="21600" y="6873"/>
                </a:cubicBezTo>
                <a:cubicBezTo>
                  <a:pt x="21600" y="6873"/>
                  <a:pt x="21600" y="2945"/>
                  <a:pt x="21600" y="294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859">
            <a:extLst>
              <a:ext uri="{FF2B5EF4-FFF2-40B4-BE49-F238E27FC236}">
                <a16:creationId xmlns:a16="http://schemas.microsoft.com/office/drawing/2014/main" id="{784F16DE-A8E6-40BF-A47F-3D69B7CFCE82}"/>
              </a:ext>
            </a:extLst>
          </p:cNvPr>
          <p:cNvSpPr/>
          <p:nvPr/>
        </p:nvSpPr>
        <p:spPr bwMode="gray">
          <a:xfrm>
            <a:off x="505203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79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5" y="7236"/>
                </a:cubicBezTo>
                <a:cubicBezTo>
                  <a:pt x="6892" y="7530"/>
                  <a:pt x="6793" y="7869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6" y="9635"/>
                </a:cubicBezTo>
                <a:cubicBezTo>
                  <a:pt x="6776" y="9644"/>
                  <a:pt x="6776" y="9651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5" y="11661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40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5" y="14727"/>
                  <a:pt x="15201" y="11706"/>
                  <a:pt x="15201" y="9086"/>
                </a:cubicBezTo>
                <a:cubicBezTo>
                  <a:pt x="15201" y="9000"/>
                  <a:pt x="15199" y="8915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860">
            <a:extLst>
              <a:ext uri="{FF2B5EF4-FFF2-40B4-BE49-F238E27FC236}">
                <a16:creationId xmlns:a16="http://schemas.microsoft.com/office/drawing/2014/main" id="{D8833C33-CBB3-454E-BF8C-F89F6EF792EA}"/>
              </a:ext>
            </a:extLst>
          </p:cNvPr>
          <p:cNvSpPr/>
          <p:nvPr/>
        </p:nvSpPr>
        <p:spPr bwMode="gray">
          <a:xfrm>
            <a:off x="5606346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4" y="7858"/>
                </a:lnTo>
                <a:lnTo>
                  <a:pt x="13244" y="6381"/>
                </a:lnTo>
                <a:lnTo>
                  <a:pt x="11938" y="6381"/>
                </a:lnTo>
                <a:cubicBezTo>
                  <a:pt x="10369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861">
            <a:extLst>
              <a:ext uri="{FF2B5EF4-FFF2-40B4-BE49-F238E27FC236}">
                <a16:creationId xmlns:a16="http://schemas.microsoft.com/office/drawing/2014/main" id="{AB0B8507-BD68-4A10-B36D-0E123F88F18E}"/>
              </a:ext>
            </a:extLst>
          </p:cNvPr>
          <p:cNvSpPr/>
          <p:nvPr/>
        </p:nvSpPr>
        <p:spPr bwMode="gray">
          <a:xfrm>
            <a:off x="6200252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19" y="12090"/>
                  <a:pt x="14019" y="12428"/>
                  <a:pt x="14019" y="12428"/>
                </a:cubicBezTo>
                <a:lnTo>
                  <a:pt x="14019" y="12863"/>
                </a:lnTo>
                <a:lnTo>
                  <a:pt x="14628" y="12863"/>
                </a:lnTo>
                <a:lnTo>
                  <a:pt x="14628" y="12428"/>
                </a:lnTo>
                <a:cubicBezTo>
                  <a:pt x="14628" y="12428"/>
                  <a:pt x="14628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19" y="13348"/>
                </a:lnTo>
                <a:lnTo>
                  <a:pt x="14019" y="14072"/>
                </a:lnTo>
                <a:cubicBezTo>
                  <a:pt x="14019" y="14072"/>
                  <a:pt x="14019" y="14411"/>
                  <a:pt x="14324" y="14411"/>
                </a:cubicBezTo>
                <a:cubicBezTo>
                  <a:pt x="14628" y="14411"/>
                  <a:pt x="14628" y="14072"/>
                  <a:pt x="14628" y="14072"/>
                </a:cubicBezTo>
                <a:lnTo>
                  <a:pt x="14628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1" y="14266"/>
                  <a:pt x="13411" y="14266"/>
                </a:cubicBezTo>
                <a:lnTo>
                  <a:pt x="13411" y="12380"/>
                </a:lnTo>
                <a:cubicBezTo>
                  <a:pt x="13411" y="12380"/>
                  <a:pt x="13411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4" y="14169"/>
                </a:moveTo>
                <a:cubicBezTo>
                  <a:pt x="12904" y="14169"/>
                  <a:pt x="12904" y="14943"/>
                  <a:pt x="12347" y="14943"/>
                </a:cubicBezTo>
                <a:cubicBezTo>
                  <a:pt x="12005" y="14943"/>
                  <a:pt x="11798" y="14762"/>
                  <a:pt x="11687" y="14621"/>
                </a:cubicBezTo>
                <a:lnTo>
                  <a:pt x="11687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7" y="10446"/>
                </a:lnTo>
                <a:lnTo>
                  <a:pt x="11687" y="11888"/>
                </a:lnTo>
                <a:cubicBezTo>
                  <a:pt x="11788" y="11782"/>
                  <a:pt x="12036" y="11558"/>
                  <a:pt x="12347" y="11558"/>
                </a:cubicBezTo>
                <a:cubicBezTo>
                  <a:pt x="12752" y="11558"/>
                  <a:pt x="12904" y="11896"/>
                  <a:pt x="12904" y="12332"/>
                </a:cubicBezTo>
                <a:cubicBezTo>
                  <a:pt x="12904" y="12332"/>
                  <a:pt x="12904" y="14169"/>
                  <a:pt x="12904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3" y="11074"/>
                </a:lnTo>
                <a:lnTo>
                  <a:pt x="6363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0" y="9334"/>
                  <a:pt x="7074" y="9430"/>
                  <a:pt x="7074" y="9430"/>
                </a:cubicBezTo>
                <a:cubicBezTo>
                  <a:pt x="6233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3" y="16103"/>
                  <a:pt x="7074" y="16103"/>
                </a:cubicBezTo>
                <a:cubicBezTo>
                  <a:pt x="7074" y="16103"/>
                  <a:pt x="8905" y="16200"/>
                  <a:pt x="10800" y="16200"/>
                </a:cubicBezTo>
                <a:cubicBezTo>
                  <a:pt x="12630" y="16200"/>
                  <a:pt x="14527" y="16103"/>
                  <a:pt x="14527" y="16103"/>
                </a:cubicBezTo>
                <a:cubicBezTo>
                  <a:pt x="15367" y="16103"/>
                  <a:pt x="16048" y="15454"/>
                  <a:pt x="16048" y="14652"/>
                </a:cubicBezTo>
                <a:cubicBezTo>
                  <a:pt x="16048" y="14652"/>
                  <a:pt x="16200" y="13700"/>
                  <a:pt x="16200" y="12767"/>
                </a:cubicBezTo>
                <a:cubicBezTo>
                  <a:pt x="16200" y="11814"/>
                  <a:pt x="16048" y="10881"/>
                  <a:pt x="16048" y="10881"/>
                </a:cubicBezTo>
                <a:cubicBezTo>
                  <a:pt x="16048" y="10080"/>
                  <a:pt x="15367" y="9430"/>
                  <a:pt x="14527" y="943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992" y="12090"/>
                </a:moveTo>
                <a:cubicBezTo>
                  <a:pt x="11860" y="12090"/>
                  <a:pt x="11757" y="12168"/>
                  <a:pt x="11687" y="12243"/>
                </a:cubicBezTo>
                <a:lnTo>
                  <a:pt x="11687" y="14276"/>
                </a:lnTo>
                <a:cubicBezTo>
                  <a:pt x="11751" y="14345"/>
                  <a:pt x="11847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8"/>
                </a:lnTo>
                <a:cubicBezTo>
                  <a:pt x="12296" y="12428"/>
                  <a:pt x="12245" y="12090"/>
                  <a:pt x="11992" y="1209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2397" y="8801"/>
                </a:moveTo>
                <a:cubicBezTo>
                  <a:pt x="12802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6" y="8751"/>
                </a:lnTo>
                <a:lnTo>
                  <a:pt x="13766" y="5878"/>
                </a:lnTo>
                <a:lnTo>
                  <a:pt x="13158" y="5878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49" y="8348"/>
                  <a:pt x="12549" y="8196"/>
                  <a:pt x="12549" y="8196"/>
                </a:cubicBezTo>
                <a:lnTo>
                  <a:pt x="12549" y="5878"/>
                </a:lnTo>
                <a:lnTo>
                  <a:pt x="11941" y="5878"/>
                </a:lnTo>
                <a:lnTo>
                  <a:pt x="11941" y="8398"/>
                </a:lnTo>
                <a:cubicBezTo>
                  <a:pt x="11941" y="8398"/>
                  <a:pt x="11992" y="8801"/>
                  <a:pt x="12397" y="8801"/>
                </a:cubicBezTo>
                <a:moveTo>
                  <a:pt x="10166" y="6634"/>
                </a:moveTo>
                <a:cubicBezTo>
                  <a:pt x="10166" y="6467"/>
                  <a:pt x="10302" y="6332"/>
                  <a:pt x="10470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0" y="8348"/>
                </a:cubicBezTo>
                <a:cubicBezTo>
                  <a:pt x="10302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8"/>
                  <a:pt x="10572" y="5878"/>
                </a:cubicBezTo>
                <a:lnTo>
                  <a:pt x="10369" y="5878"/>
                </a:lnTo>
                <a:cubicBezTo>
                  <a:pt x="9921" y="5878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862">
            <a:extLst>
              <a:ext uri="{FF2B5EF4-FFF2-40B4-BE49-F238E27FC236}">
                <a16:creationId xmlns:a16="http://schemas.microsoft.com/office/drawing/2014/main" id="{AE11B848-FAE9-4EC9-9FA9-A6D92425DFD5}"/>
              </a:ext>
            </a:extLst>
          </p:cNvPr>
          <p:cNvSpPr/>
          <p:nvPr/>
        </p:nvSpPr>
        <p:spPr bwMode="gray">
          <a:xfrm>
            <a:off x="6754564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672" y="6382"/>
                </a:moveTo>
                <a:cubicBezTo>
                  <a:pt x="10464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9" y="11643"/>
                </a:cubicBezTo>
                <a:cubicBezTo>
                  <a:pt x="8462" y="11568"/>
                  <a:pt x="8536" y="11425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7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7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7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2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7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1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863">
            <a:extLst>
              <a:ext uri="{FF2B5EF4-FFF2-40B4-BE49-F238E27FC236}">
                <a16:creationId xmlns:a16="http://schemas.microsoft.com/office/drawing/2014/main" id="{6CBE26E7-289C-4CC1-88FB-4E2AD6B1B58A}"/>
              </a:ext>
            </a:extLst>
          </p:cNvPr>
          <p:cNvSpPr/>
          <p:nvPr/>
        </p:nvSpPr>
        <p:spPr bwMode="gray">
          <a:xfrm>
            <a:off x="73088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5" y="8897"/>
                  <a:pt x="11997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4" y="9937"/>
                  <a:pt x="12643" y="10393"/>
                  <a:pt x="12232" y="10991"/>
                </a:cubicBezTo>
                <a:cubicBezTo>
                  <a:pt x="11821" y="11589"/>
                  <a:pt x="11513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5"/>
                  <a:pt x="8774" y="6973"/>
                </a:cubicBezTo>
                <a:cubicBezTo>
                  <a:pt x="8450" y="7000"/>
                  <a:pt x="7966" y="7272"/>
                  <a:pt x="7320" y="7789"/>
                </a:cubicBezTo>
                <a:cubicBezTo>
                  <a:pt x="6849" y="8183"/>
                  <a:pt x="6372" y="8577"/>
                  <a:pt x="5888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2"/>
                </a:cubicBezTo>
                <a:cubicBezTo>
                  <a:pt x="8333" y="11460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2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8"/>
                  <a:pt x="14281" y="68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864">
            <a:extLst>
              <a:ext uri="{FF2B5EF4-FFF2-40B4-BE49-F238E27FC236}">
                <a16:creationId xmlns:a16="http://schemas.microsoft.com/office/drawing/2014/main" id="{25DBD1F3-EEDD-4E39-90EE-940CB333D318}"/>
              </a:ext>
            </a:extLst>
          </p:cNvPr>
          <p:cNvSpPr/>
          <p:nvPr/>
        </p:nvSpPr>
        <p:spPr bwMode="gray">
          <a:xfrm>
            <a:off x="78631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5" y="7359"/>
                </a:moveTo>
                <a:lnTo>
                  <a:pt x="13743" y="7359"/>
                </a:lnTo>
                <a:lnTo>
                  <a:pt x="13743" y="8833"/>
                </a:lnTo>
                <a:lnTo>
                  <a:pt x="12265" y="8833"/>
                </a:lnTo>
                <a:lnTo>
                  <a:pt x="12265" y="9816"/>
                </a:lnTo>
                <a:lnTo>
                  <a:pt x="13743" y="9816"/>
                </a:lnTo>
                <a:lnTo>
                  <a:pt x="13743" y="11283"/>
                </a:lnTo>
                <a:lnTo>
                  <a:pt x="14725" y="11283"/>
                </a:lnTo>
                <a:lnTo>
                  <a:pt x="14725" y="9816"/>
                </a:lnTo>
                <a:lnTo>
                  <a:pt x="16205" y="9816"/>
                </a:lnTo>
                <a:lnTo>
                  <a:pt x="16205" y="8833"/>
                </a:lnTo>
                <a:lnTo>
                  <a:pt x="14725" y="8833"/>
                </a:lnTo>
                <a:cubicBezTo>
                  <a:pt x="14725" y="8833"/>
                  <a:pt x="14725" y="7359"/>
                  <a:pt x="14725" y="7359"/>
                </a:cubicBezTo>
                <a:close/>
                <a:moveTo>
                  <a:pt x="9321" y="13946"/>
                </a:moveTo>
                <a:cubicBezTo>
                  <a:pt x="8620" y="13946"/>
                  <a:pt x="8071" y="13495"/>
                  <a:pt x="8071" y="12919"/>
                </a:cubicBezTo>
                <a:cubicBezTo>
                  <a:pt x="8071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47" y="11723"/>
                </a:lnTo>
                <a:lnTo>
                  <a:pt x="9465" y="11929"/>
                </a:lnTo>
                <a:cubicBezTo>
                  <a:pt x="9624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40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5" y="8362"/>
                  <a:pt x="8574" y="8014"/>
                  <a:pt x="8754" y="7806"/>
                </a:cubicBezTo>
                <a:cubicBezTo>
                  <a:pt x="8864" y="7680"/>
                  <a:pt x="9006" y="7613"/>
                  <a:pt x="9164" y="7613"/>
                </a:cubicBez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5" y="9596"/>
                  <a:pt x="9970" y="9809"/>
                </a:cubicBezTo>
                <a:cubicBezTo>
                  <a:pt x="9860" y="9935"/>
                  <a:pt x="9722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6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6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5"/>
                  <a:pt x="11386" y="8784"/>
                </a:cubicBezTo>
                <a:cubicBezTo>
                  <a:pt x="11386" y="8342"/>
                  <a:pt x="11262" y="7947"/>
                  <a:pt x="11050" y="7659"/>
                </a:cubicBezTo>
                <a:lnTo>
                  <a:pt x="11238" y="7659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5" y="6873"/>
                  <a:pt x="7345" y="7759"/>
                  <a:pt x="7345" y="8769"/>
                </a:cubicBezTo>
                <a:cubicBezTo>
                  <a:pt x="7345" y="9812"/>
                  <a:pt x="8109" y="10605"/>
                  <a:pt x="9137" y="10648"/>
                </a:cubicBezTo>
                <a:cubicBezTo>
                  <a:pt x="9121" y="10722"/>
                  <a:pt x="9113" y="10795"/>
                  <a:pt x="9113" y="10868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3" y="11309"/>
                  <a:pt x="6870" y="12161"/>
                  <a:pt x="6870" y="13167"/>
                </a:cubicBezTo>
                <a:cubicBezTo>
                  <a:pt x="6870" y="14071"/>
                  <a:pt x="7903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865">
            <a:extLst>
              <a:ext uri="{FF2B5EF4-FFF2-40B4-BE49-F238E27FC236}">
                <a16:creationId xmlns:a16="http://schemas.microsoft.com/office/drawing/2014/main" id="{F6EF9B0C-2375-4DF4-9729-C1300F3AE6ED}"/>
              </a:ext>
            </a:extLst>
          </p:cNvPr>
          <p:cNvSpPr/>
          <p:nvPr/>
        </p:nvSpPr>
        <p:spPr bwMode="gray">
          <a:xfrm>
            <a:off x="841749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3430" y="9320"/>
                </a:moveTo>
                <a:cubicBezTo>
                  <a:pt x="11975" y="9320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0"/>
                  <a:pt x="13430" y="9320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0"/>
                </a:lnTo>
                <a:lnTo>
                  <a:pt x="6873" y="9320"/>
                </a:lnTo>
                <a:cubicBezTo>
                  <a:pt x="6873" y="9320"/>
                  <a:pt x="6873" y="14727"/>
                  <a:pt x="6873" y="14727"/>
                </a:cubicBezTo>
                <a:close/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866">
            <a:extLst>
              <a:ext uri="{FF2B5EF4-FFF2-40B4-BE49-F238E27FC236}">
                <a16:creationId xmlns:a16="http://schemas.microsoft.com/office/drawing/2014/main" id="{102EEDCD-3CE5-4EE7-905F-4B7B9AB81992}"/>
              </a:ext>
            </a:extLst>
          </p:cNvPr>
          <p:cNvSpPr/>
          <p:nvPr/>
        </p:nvSpPr>
        <p:spPr bwMode="gray">
          <a:xfrm>
            <a:off x="8971811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591" y="13291"/>
                </a:moveTo>
                <a:cubicBezTo>
                  <a:pt x="11452" y="13214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9" y="13478"/>
                  <a:pt x="9448" y="13667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20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6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1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867">
            <a:extLst>
              <a:ext uri="{FF2B5EF4-FFF2-40B4-BE49-F238E27FC236}">
                <a16:creationId xmlns:a16="http://schemas.microsoft.com/office/drawing/2014/main" id="{DA89FE3F-3D5B-4A2A-B6FD-49C8F438774F}"/>
              </a:ext>
            </a:extLst>
          </p:cNvPr>
          <p:cNvSpPr/>
          <p:nvPr/>
        </p:nvSpPr>
        <p:spPr bwMode="gray">
          <a:xfrm>
            <a:off x="952612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2"/>
                </a:lnTo>
                <a:cubicBezTo>
                  <a:pt x="13281" y="13032"/>
                  <a:pt x="13386" y="13050"/>
                  <a:pt x="13473" y="13085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7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8" y="14187"/>
                  <a:pt x="12550" y="14335"/>
                  <a:pt x="12631" y="14459"/>
                </a:cubicBezTo>
                <a:cubicBezTo>
                  <a:pt x="12706" y="14574"/>
                  <a:pt x="12831" y="14661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6"/>
                  <a:pt x="13722" y="13990"/>
                  <a:pt x="13643" y="13857"/>
                </a:cubicBezTo>
                <a:cubicBezTo>
                  <a:pt x="13567" y="13732"/>
                  <a:pt x="13439" y="13644"/>
                  <a:pt x="13280" y="13606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98" y="6884"/>
                </a:moveTo>
                <a:lnTo>
                  <a:pt x="12930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2" y="6884"/>
                </a:lnTo>
                <a:lnTo>
                  <a:pt x="9988" y="10156"/>
                </a:lnTo>
                <a:lnTo>
                  <a:pt x="8067" y="6873"/>
                </a:lnTo>
                <a:lnTo>
                  <a:pt x="8000" y="6891"/>
                </a:lnTo>
                <a:cubicBezTo>
                  <a:pt x="7739" y="6962"/>
                  <a:pt x="7347" y="6960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6"/>
                  <a:pt x="10190" y="14646"/>
                  <a:pt x="10449" y="14719"/>
                </a:cubicBezTo>
                <a:lnTo>
                  <a:pt x="10573" y="14722"/>
                </a:lnTo>
                <a:lnTo>
                  <a:pt x="10512" y="11391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5" y="7029"/>
                </a:cubicBezTo>
                <a:cubicBezTo>
                  <a:pt x="13015" y="7029"/>
                  <a:pt x="13098" y="6884"/>
                  <a:pt x="13098" y="688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868">
            <a:extLst>
              <a:ext uri="{FF2B5EF4-FFF2-40B4-BE49-F238E27FC236}">
                <a16:creationId xmlns:a16="http://schemas.microsoft.com/office/drawing/2014/main" id="{5543EA64-6C27-4977-AA87-65A767687985}"/>
              </a:ext>
            </a:extLst>
          </p:cNvPr>
          <p:cNvSpPr/>
          <p:nvPr/>
        </p:nvSpPr>
        <p:spPr bwMode="gray">
          <a:xfrm>
            <a:off x="1008043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2965" y="14699"/>
                </a:moveTo>
                <a:lnTo>
                  <a:pt x="12958" y="14707"/>
                </a:lnTo>
                <a:lnTo>
                  <a:pt x="10801" y="13100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0" y="14627"/>
                </a:lnTo>
                <a:lnTo>
                  <a:pt x="14000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2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75" y="13002"/>
                </a:lnTo>
                <a:lnTo>
                  <a:pt x="8631" y="13516"/>
                </a:lnTo>
                <a:lnTo>
                  <a:pt x="10063" y="12429"/>
                </a:lnTo>
                <a:lnTo>
                  <a:pt x="10780" y="11880"/>
                </a:lnTo>
                <a:lnTo>
                  <a:pt x="10782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5" y="11880"/>
                </a:lnTo>
                <a:lnTo>
                  <a:pt x="12509" y="13148"/>
                </a:lnTo>
                <a:lnTo>
                  <a:pt x="13007" y="13515"/>
                </a:lnTo>
                <a:lnTo>
                  <a:pt x="16198" y="11575"/>
                </a:lnTo>
                <a:lnTo>
                  <a:pt x="13925" y="9727"/>
                </a:lnTo>
                <a:lnTo>
                  <a:pt x="10788" y="11715"/>
                </a:lnTo>
                <a:cubicBezTo>
                  <a:pt x="10788" y="11715"/>
                  <a:pt x="7642" y="9766"/>
                  <a:pt x="7642" y="9766"/>
                </a:cubicBezTo>
                <a:close/>
                <a:moveTo>
                  <a:pt x="13925" y="9727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7"/>
                  <a:pt x="13925" y="972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869">
            <a:extLst>
              <a:ext uri="{FF2B5EF4-FFF2-40B4-BE49-F238E27FC236}">
                <a16:creationId xmlns:a16="http://schemas.microsoft.com/office/drawing/2014/main" id="{248116CD-56F7-4968-86FA-D941B08026D7}"/>
              </a:ext>
            </a:extLst>
          </p:cNvPr>
          <p:cNvSpPr/>
          <p:nvPr/>
        </p:nvSpPr>
        <p:spPr bwMode="gray">
          <a:xfrm>
            <a:off x="1063474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7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7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6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870">
            <a:extLst>
              <a:ext uri="{FF2B5EF4-FFF2-40B4-BE49-F238E27FC236}">
                <a16:creationId xmlns:a16="http://schemas.microsoft.com/office/drawing/2014/main" id="{D06A749B-E293-405C-A7B7-1D29CFB7B133}"/>
              </a:ext>
            </a:extLst>
          </p:cNvPr>
          <p:cNvSpPr/>
          <p:nvPr/>
        </p:nvSpPr>
        <p:spPr bwMode="gray">
          <a:xfrm>
            <a:off x="1118905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7"/>
                </a:lnTo>
                <a:cubicBezTo>
                  <a:pt x="15118" y="9995"/>
                  <a:pt x="15213" y="9425"/>
                  <a:pt x="15213" y="8919"/>
                </a:cubicBezTo>
                <a:cubicBezTo>
                  <a:pt x="15213" y="8812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7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1" y="8413"/>
                </a:cubicBezTo>
                <a:cubicBezTo>
                  <a:pt x="9351" y="8413"/>
                  <a:pt x="9605" y="8444"/>
                  <a:pt x="9874" y="8460"/>
                </a:cubicBezTo>
                <a:lnTo>
                  <a:pt x="10651" y="10590"/>
                </a:lnTo>
                <a:lnTo>
                  <a:pt x="9559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1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5" y="8063"/>
                  <a:pt x="6726" y="8060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90" y="12162"/>
                </a:cubicBezTo>
                <a:lnTo>
                  <a:pt x="13291" y="13825"/>
                </a:lnTo>
                <a:cubicBezTo>
                  <a:pt x="13291" y="13825"/>
                  <a:pt x="11487" y="8460"/>
                  <a:pt x="11487" y="8460"/>
                </a:cubicBezTo>
                <a:close/>
                <a:moveTo>
                  <a:pt x="10800" y="15709"/>
                </a:moveTo>
                <a:cubicBezTo>
                  <a:pt x="10320" y="15709"/>
                  <a:pt x="9857" y="15637"/>
                  <a:pt x="9417" y="15508"/>
                </a:cubicBezTo>
                <a:lnTo>
                  <a:pt x="10887" y="11237"/>
                </a:lnTo>
                <a:cubicBezTo>
                  <a:pt x="10887" y="11237"/>
                  <a:pt x="12211" y="14864"/>
                  <a:pt x="12426" y="15428"/>
                </a:cubicBezTo>
                <a:cubicBezTo>
                  <a:pt x="11916" y="15607"/>
                  <a:pt x="11370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8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4" y="16691"/>
                  <a:pt x="16691" y="14054"/>
                  <a:pt x="16691" y="10800"/>
                </a:cubicBezTo>
                <a:cubicBezTo>
                  <a:pt x="16691" y="7547"/>
                  <a:pt x="14054" y="4909"/>
                  <a:pt x="10800" y="49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871">
            <a:extLst>
              <a:ext uri="{FF2B5EF4-FFF2-40B4-BE49-F238E27FC236}">
                <a16:creationId xmlns:a16="http://schemas.microsoft.com/office/drawing/2014/main" id="{2194801B-C3F5-4EA2-8DA2-A5E3593F7349}"/>
              </a:ext>
            </a:extLst>
          </p:cNvPr>
          <p:cNvSpPr/>
          <p:nvPr/>
        </p:nvSpPr>
        <p:spPr bwMode="gray">
          <a:xfrm>
            <a:off x="6200252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36" y="10309"/>
                </a:moveTo>
                <a:cubicBezTo>
                  <a:pt x="13552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9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9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1" y="10800"/>
                  <a:pt x="9313" y="10470"/>
                  <a:pt x="10852" y="9873"/>
                </a:cubicBezTo>
                <a:cubicBezTo>
                  <a:pt x="11016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9"/>
                  <a:pt x="10353" y="9000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3"/>
                  <a:pt x="7547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872">
            <a:extLst>
              <a:ext uri="{FF2B5EF4-FFF2-40B4-BE49-F238E27FC236}">
                <a16:creationId xmlns:a16="http://schemas.microsoft.com/office/drawing/2014/main" id="{FCFAD9D4-E110-4823-84F3-B9128D93DDEA}"/>
              </a:ext>
            </a:extLst>
          </p:cNvPr>
          <p:cNvSpPr/>
          <p:nvPr/>
        </p:nvSpPr>
        <p:spPr bwMode="gray">
          <a:xfrm>
            <a:off x="6754564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40" y="7246"/>
                  <a:pt x="15108" y="7411"/>
                  <a:pt x="14650" y="7499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6" y="7236"/>
                </a:cubicBezTo>
                <a:cubicBezTo>
                  <a:pt x="6892" y="7529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1"/>
                  <a:pt x="7483" y="11638"/>
                </a:cubicBezTo>
                <a:cubicBezTo>
                  <a:pt x="7739" y="12426"/>
                  <a:pt x="8482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3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29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0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873">
            <a:extLst>
              <a:ext uri="{FF2B5EF4-FFF2-40B4-BE49-F238E27FC236}">
                <a16:creationId xmlns:a16="http://schemas.microsoft.com/office/drawing/2014/main" id="{41815914-3C74-47B3-8701-765C71EA5A49}"/>
              </a:ext>
            </a:extLst>
          </p:cNvPr>
          <p:cNvSpPr/>
          <p:nvPr/>
        </p:nvSpPr>
        <p:spPr bwMode="gray">
          <a:xfrm>
            <a:off x="73088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8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874">
            <a:extLst>
              <a:ext uri="{FF2B5EF4-FFF2-40B4-BE49-F238E27FC236}">
                <a16:creationId xmlns:a16="http://schemas.microsoft.com/office/drawing/2014/main" id="{35F095D7-3AF9-4705-9EDD-E2813BAE6A21}"/>
              </a:ext>
            </a:extLst>
          </p:cNvPr>
          <p:cNvSpPr/>
          <p:nvPr/>
        </p:nvSpPr>
        <p:spPr bwMode="gray">
          <a:xfrm>
            <a:off x="786318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20" y="12090"/>
                  <a:pt x="14020" y="12429"/>
                  <a:pt x="14020" y="12429"/>
                </a:cubicBezTo>
                <a:lnTo>
                  <a:pt x="14020" y="12863"/>
                </a:lnTo>
                <a:lnTo>
                  <a:pt x="14629" y="12863"/>
                </a:lnTo>
                <a:lnTo>
                  <a:pt x="14629" y="12429"/>
                </a:lnTo>
                <a:cubicBezTo>
                  <a:pt x="14629" y="12429"/>
                  <a:pt x="14629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20" y="13348"/>
                </a:lnTo>
                <a:lnTo>
                  <a:pt x="14020" y="14072"/>
                </a:lnTo>
                <a:cubicBezTo>
                  <a:pt x="14020" y="14072"/>
                  <a:pt x="14020" y="14411"/>
                  <a:pt x="14324" y="14411"/>
                </a:cubicBezTo>
                <a:cubicBezTo>
                  <a:pt x="14629" y="14411"/>
                  <a:pt x="14629" y="14072"/>
                  <a:pt x="14629" y="14072"/>
                </a:cubicBezTo>
                <a:lnTo>
                  <a:pt x="14629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2" y="14266"/>
                  <a:pt x="13412" y="14266"/>
                </a:cubicBezTo>
                <a:lnTo>
                  <a:pt x="13412" y="12380"/>
                </a:lnTo>
                <a:cubicBezTo>
                  <a:pt x="13412" y="12380"/>
                  <a:pt x="13412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5" y="14169"/>
                </a:moveTo>
                <a:cubicBezTo>
                  <a:pt x="12905" y="14169"/>
                  <a:pt x="12905" y="14943"/>
                  <a:pt x="12347" y="14943"/>
                </a:cubicBezTo>
                <a:cubicBezTo>
                  <a:pt x="12005" y="14943"/>
                  <a:pt x="11798" y="14762"/>
                  <a:pt x="11688" y="14621"/>
                </a:cubicBezTo>
                <a:lnTo>
                  <a:pt x="11688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8" y="10446"/>
                </a:lnTo>
                <a:lnTo>
                  <a:pt x="11688" y="11888"/>
                </a:lnTo>
                <a:cubicBezTo>
                  <a:pt x="11788" y="11782"/>
                  <a:pt x="12037" y="11558"/>
                  <a:pt x="12347" y="11558"/>
                </a:cubicBezTo>
                <a:cubicBezTo>
                  <a:pt x="12752" y="11558"/>
                  <a:pt x="12905" y="11896"/>
                  <a:pt x="12905" y="12332"/>
                </a:cubicBezTo>
                <a:cubicBezTo>
                  <a:pt x="12905" y="12332"/>
                  <a:pt x="12905" y="14169"/>
                  <a:pt x="12905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4" y="11074"/>
                </a:lnTo>
                <a:lnTo>
                  <a:pt x="6364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1" y="9334"/>
                  <a:pt x="7074" y="9430"/>
                  <a:pt x="7074" y="9430"/>
                </a:cubicBezTo>
                <a:cubicBezTo>
                  <a:pt x="6234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4" y="16104"/>
                  <a:pt x="7074" y="16104"/>
                </a:cubicBezTo>
                <a:cubicBezTo>
                  <a:pt x="7074" y="16104"/>
                  <a:pt x="8905" y="16200"/>
                  <a:pt x="10800" y="16200"/>
                </a:cubicBezTo>
                <a:cubicBezTo>
                  <a:pt x="12631" y="16200"/>
                  <a:pt x="14527" y="16104"/>
                  <a:pt x="14527" y="16104"/>
                </a:cubicBezTo>
                <a:cubicBezTo>
                  <a:pt x="15367" y="16104"/>
                  <a:pt x="16049" y="15454"/>
                  <a:pt x="16049" y="14652"/>
                </a:cubicBezTo>
                <a:cubicBezTo>
                  <a:pt x="16049" y="14652"/>
                  <a:pt x="16200" y="13700"/>
                  <a:pt x="16200" y="12767"/>
                </a:cubicBezTo>
                <a:cubicBezTo>
                  <a:pt x="16200" y="11814"/>
                  <a:pt x="16049" y="10881"/>
                  <a:pt x="16049" y="10881"/>
                </a:cubicBezTo>
                <a:cubicBezTo>
                  <a:pt x="16049" y="10080"/>
                  <a:pt x="15367" y="9430"/>
                  <a:pt x="14527" y="9430"/>
                </a:cubicBezTo>
                <a:moveTo>
                  <a:pt x="11992" y="12090"/>
                </a:moveTo>
                <a:cubicBezTo>
                  <a:pt x="11860" y="12090"/>
                  <a:pt x="11757" y="12167"/>
                  <a:pt x="11688" y="12243"/>
                </a:cubicBezTo>
                <a:lnTo>
                  <a:pt x="11688" y="14276"/>
                </a:lnTo>
                <a:cubicBezTo>
                  <a:pt x="11751" y="14345"/>
                  <a:pt x="11848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9"/>
                </a:lnTo>
                <a:cubicBezTo>
                  <a:pt x="12296" y="12429"/>
                  <a:pt x="12245" y="12090"/>
                  <a:pt x="11992" y="12090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0166" y="6634"/>
                </a:moveTo>
                <a:cubicBezTo>
                  <a:pt x="10166" y="6467"/>
                  <a:pt x="10303" y="6332"/>
                  <a:pt x="10471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1" y="8348"/>
                </a:cubicBezTo>
                <a:cubicBezTo>
                  <a:pt x="10303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7"/>
                  <a:pt x="10572" y="5877"/>
                </a:cubicBezTo>
                <a:lnTo>
                  <a:pt x="10369" y="5877"/>
                </a:lnTo>
                <a:cubicBezTo>
                  <a:pt x="9921" y="5877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  <a:moveTo>
                  <a:pt x="12398" y="8801"/>
                </a:moveTo>
                <a:cubicBezTo>
                  <a:pt x="12803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7" y="8751"/>
                </a:lnTo>
                <a:lnTo>
                  <a:pt x="13767" y="5877"/>
                </a:lnTo>
                <a:lnTo>
                  <a:pt x="13158" y="5877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50" y="8348"/>
                  <a:pt x="12550" y="8197"/>
                  <a:pt x="12550" y="8197"/>
                </a:cubicBezTo>
                <a:lnTo>
                  <a:pt x="12550" y="5877"/>
                </a:lnTo>
                <a:lnTo>
                  <a:pt x="11941" y="5877"/>
                </a:lnTo>
                <a:lnTo>
                  <a:pt x="11941" y="8398"/>
                </a:lnTo>
                <a:cubicBezTo>
                  <a:pt x="11941" y="8398"/>
                  <a:pt x="11992" y="8801"/>
                  <a:pt x="12398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875">
            <a:extLst>
              <a:ext uri="{FF2B5EF4-FFF2-40B4-BE49-F238E27FC236}">
                <a16:creationId xmlns:a16="http://schemas.microsoft.com/office/drawing/2014/main" id="{DC311952-5754-485C-9BDE-029C0769ABD3}"/>
              </a:ext>
            </a:extLst>
          </p:cNvPr>
          <p:cNvSpPr/>
          <p:nvPr/>
        </p:nvSpPr>
        <p:spPr bwMode="gray">
          <a:xfrm>
            <a:off x="841749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672" y="6382"/>
                </a:moveTo>
                <a:cubicBezTo>
                  <a:pt x="10463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8" y="11643"/>
                </a:cubicBezTo>
                <a:cubicBezTo>
                  <a:pt x="8462" y="11568"/>
                  <a:pt x="8536" y="11424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6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6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8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1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8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2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876">
            <a:extLst>
              <a:ext uri="{FF2B5EF4-FFF2-40B4-BE49-F238E27FC236}">
                <a16:creationId xmlns:a16="http://schemas.microsoft.com/office/drawing/2014/main" id="{D97345E5-5482-410D-AB96-2EFC0709E7C3}"/>
              </a:ext>
            </a:extLst>
          </p:cNvPr>
          <p:cNvSpPr/>
          <p:nvPr/>
        </p:nvSpPr>
        <p:spPr bwMode="gray">
          <a:xfrm>
            <a:off x="897181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4" y="8897"/>
                  <a:pt x="11998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3" y="9937"/>
                  <a:pt x="12643" y="10393"/>
                  <a:pt x="12232" y="10991"/>
                </a:cubicBezTo>
                <a:cubicBezTo>
                  <a:pt x="11821" y="11589"/>
                  <a:pt x="11512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4"/>
                  <a:pt x="8773" y="6972"/>
                </a:cubicBezTo>
                <a:cubicBezTo>
                  <a:pt x="8450" y="7000"/>
                  <a:pt x="7966" y="7272"/>
                  <a:pt x="7320" y="7788"/>
                </a:cubicBezTo>
                <a:cubicBezTo>
                  <a:pt x="6849" y="8183"/>
                  <a:pt x="6372" y="8577"/>
                  <a:pt x="5887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3"/>
                </a:cubicBezTo>
                <a:cubicBezTo>
                  <a:pt x="8333" y="11461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1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9"/>
                  <a:pt x="14281" y="6871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877">
            <a:extLst>
              <a:ext uri="{FF2B5EF4-FFF2-40B4-BE49-F238E27FC236}">
                <a16:creationId xmlns:a16="http://schemas.microsoft.com/office/drawing/2014/main" id="{B043CF21-0695-4D8B-A3FB-A7153C24D5E7}"/>
              </a:ext>
            </a:extLst>
          </p:cNvPr>
          <p:cNvSpPr/>
          <p:nvPr/>
        </p:nvSpPr>
        <p:spPr bwMode="gray">
          <a:xfrm>
            <a:off x="952612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4" y="7360"/>
                </a:moveTo>
                <a:lnTo>
                  <a:pt x="13742" y="7360"/>
                </a:lnTo>
                <a:lnTo>
                  <a:pt x="13742" y="8833"/>
                </a:lnTo>
                <a:lnTo>
                  <a:pt x="12265" y="8833"/>
                </a:lnTo>
                <a:lnTo>
                  <a:pt x="12265" y="9815"/>
                </a:lnTo>
                <a:lnTo>
                  <a:pt x="13742" y="9815"/>
                </a:lnTo>
                <a:lnTo>
                  <a:pt x="13742" y="11283"/>
                </a:lnTo>
                <a:lnTo>
                  <a:pt x="14724" y="11283"/>
                </a:lnTo>
                <a:lnTo>
                  <a:pt x="14724" y="9815"/>
                </a:lnTo>
                <a:lnTo>
                  <a:pt x="16204" y="9815"/>
                </a:lnTo>
                <a:lnTo>
                  <a:pt x="16204" y="8833"/>
                </a:lnTo>
                <a:lnTo>
                  <a:pt x="14724" y="8833"/>
                </a:lnTo>
                <a:cubicBezTo>
                  <a:pt x="14724" y="8833"/>
                  <a:pt x="14724" y="7360"/>
                  <a:pt x="14724" y="7360"/>
                </a:cubicBezTo>
                <a:close/>
                <a:moveTo>
                  <a:pt x="9321" y="13946"/>
                </a:moveTo>
                <a:cubicBezTo>
                  <a:pt x="8620" y="13946"/>
                  <a:pt x="8070" y="13495"/>
                  <a:pt x="8070" y="12919"/>
                </a:cubicBezTo>
                <a:cubicBezTo>
                  <a:pt x="8070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65" y="11929"/>
                </a:lnTo>
                <a:cubicBezTo>
                  <a:pt x="9623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39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4" y="8362"/>
                  <a:pt x="8574" y="8014"/>
                  <a:pt x="8754" y="7806"/>
                </a:cubicBezTo>
                <a:cubicBezTo>
                  <a:pt x="8864" y="7680"/>
                  <a:pt x="9006" y="7612"/>
                  <a:pt x="9163" y="7612"/>
                </a:cubicBezTo>
                <a:lnTo>
                  <a:pt x="9163" y="7409"/>
                </a:ln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4" y="9595"/>
                  <a:pt x="9969" y="9809"/>
                </a:cubicBezTo>
                <a:cubicBezTo>
                  <a:pt x="9860" y="9935"/>
                  <a:pt x="9721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5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7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6"/>
                  <a:pt x="11386" y="8784"/>
                </a:cubicBezTo>
                <a:cubicBezTo>
                  <a:pt x="11386" y="8342"/>
                  <a:pt x="11262" y="7947"/>
                  <a:pt x="11049" y="7660"/>
                </a:cubicBezTo>
                <a:lnTo>
                  <a:pt x="11238" y="7660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4" y="6873"/>
                  <a:pt x="7345" y="7760"/>
                  <a:pt x="7345" y="8769"/>
                </a:cubicBezTo>
                <a:cubicBezTo>
                  <a:pt x="7345" y="9812"/>
                  <a:pt x="8109" y="10605"/>
                  <a:pt x="9136" y="10648"/>
                </a:cubicBezTo>
                <a:cubicBezTo>
                  <a:pt x="9121" y="10722"/>
                  <a:pt x="9113" y="10795"/>
                  <a:pt x="9113" y="10867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2" y="11309"/>
                  <a:pt x="6869" y="12161"/>
                  <a:pt x="6869" y="13167"/>
                </a:cubicBezTo>
                <a:cubicBezTo>
                  <a:pt x="6869" y="14071"/>
                  <a:pt x="7902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878">
            <a:extLst>
              <a:ext uri="{FF2B5EF4-FFF2-40B4-BE49-F238E27FC236}">
                <a16:creationId xmlns:a16="http://schemas.microsoft.com/office/drawing/2014/main" id="{6746D0FC-8A7E-44D8-8F87-12043D3B652E}"/>
              </a:ext>
            </a:extLst>
          </p:cNvPr>
          <p:cNvSpPr/>
          <p:nvPr/>
        </p:nvSpPr>
        <p:spPr bwMode="gray">
          <a:xfrm>
            <a:off x="1008043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430" y="9321"/>
                </a:moveTo>
                <a:cubicBezTo>
                  <a:pt x="11975" y="9321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1"/>
                  <a:pt x="13430" y="9321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1"/>
                </a:lnTo>
                <a:lnTo>
                  <a:pt x="6873" y="9321"/>
                </a:lnTo>
                <a:cubicBezTo>
                  <a:pt x="6873" y="9321"/>
                  <a:pt x="6873" y="14727"/>
                  <a:pt x="6873" y="14727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879">
            <a:extLst>
              <a:ext uri="{FF2B5EF4-FFF2-40B4-BE49-F238E27FC236}">
                <a16:creationId xmlns:a16="http://schemas.microsoft.com/office/drawing/2014/main" id="{88154A0B-42FF-4625-8D26-49387A6D4966}"/>
              </a:ext>
            </a:extLst>
          </p:cNvPr>
          <p:cNvSpPr/>
          <p:nvPr/>
        </p:nvSpPr>
        <p:spPr bwMode="gray">
          <a:xfrm>
            <a:off x="1063474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1592" y="13291"/>
                </a:moveTo>
                <a:cubicBezTo>
                  <a:pt x="11452" y="13213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8" y="13478"/>
                  <a:pt x="9448" y="13666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19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5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2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880">
            <a:extLst>
              <a:ext uri="{FF2B5EF4-FFF2-40B4-BE49-F238E27FC236}">
                <a16:creationId xmlns:a16="http://schemas.microsoft.com/office/drawing/2014/main" id="{9588ED28-3E81-490A-9699-01449144632D}"/>
              </a:ext>
            </a:extLst>
          </p:cNvPr>
          <p:cNvSpPr/>
          <p:nvPr/>
        </p:nvSpPr>
        <p:spPr bwMode="gray">
          <a:xfrm>
            <a:off x="1118905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1"/>
                </a:lnTo>
                <a:cubicBezTo>
                  <a:pt x="13281" y="13031"/>
                  <a:pt x="13386" y="13050"/>
                  <a:pt x="13473" y="13084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6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9" y="14187"/>
                  <a:pt x="12549" y="14335"/>
                  <a:pt x="12630" y="14459"/>
                </a:cubicBezTo>
                <a:cubicBezTo>
                  <a:pt x="12706" y="14574"/>
                  <a:pt x="12831" y="14660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5"/>
                  <a:pt x="13722" y="13989"/>
                  <a:pt x="13642" y="13858"/>
                </a:cubicBezTo>
                <a:cubicBezTo>
                  <a:pt x="13567" y="13733"/>
                  <a:pt x="13439" y="13643"/>
                  <a:pt x="13280" y="13606"/>
                </a:cubicBezTo>
                <a:moveTo>
                  <a:pt x="13014" y="7028"/>
                </a:moveTo>
                <a:lnTo>
                  <a:pt x="13098" y="6884"/>
                </a:lnTo>
                <a:lnTo>
                  <a:pt x="12931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1" y="6884"/>
                </a:lnTo>
                <a:lnTo>
                  <a:pt x="9988" y="10156"/>
                </a:lnTo>
                <a:lnTo>
                  <a:pt x="8067" y="6872"/>
                </a:lnTo>
                <a:lnTo>
                  <a:pt x="8000" y="6890"/>
                </a:lnTo>
                <a:cubicBezTo>
                  <a:pt x="7739" y="6962"/>
                  <a:pt x="7347" y="6961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5"/>
                  <a:pt x="10190" y="14645"/>
                  <a:pt x="10449" y="14719"/>
                </a:cubicBezTo>
                <a:lnTo>
                  <a:pt x="10573" y="14722"/>
                </a:lnTo>
                <a:lnTo>
                  <a:pt x="10512" y="11390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4" y="70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881">
            <a:extLst>
              <a:ext uri="{FF2B5EF4-FFF2-40B4-BE49-F238E27FC236}">
                <a16:creationId xmlns:a16="http://schemas.microsoft.com/office/drawing/2014/main" id="{4B1BE5B0-14BA-40DF-B784-0F5174DCF392}"/>
              </a:ext>
            </a:extLst>
          </p:cNvPr>
          <p:cNvSpPr/>
          <p:nvPr/>
        </p:nvSpPr>
        <p:spPr bwMode="gray">
          <a:xfrm>
            <a:off x="6200252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3925" y="9726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6"/>
                  <a:pt x="13925" y="9726"/>
                </a:cubicBezTo>
                <a:close/>
                <a:moveTo>
                  <a:pt x="12965" y="14699"/>
                </a:moveTo>
                <a:lnTo>
                  <a:pt x="12959" y="14707"/>
                </a:lnTo>
                <a:lnTo>
                  <a:pt x="10801" y="13101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1" y="14627"/>
                </a:lnTo>
                <a:lnTo>
                  <a:pt x="14001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1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42" y="12982"/>
                </a:lnTo>
                <a:lnTo>
                  <a:pt x="8631" y="13516"/>
                </a:lnTo>
                <a:lnTo>
                  <a:pt x="10060" y="12431"/>
                </a:lnTo>
                <a:lnTo>
                  <a:pt x="10780" y="11879"/>
                </a:lnTo>
                <a:lnTo>
                  <a:pt x="10783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4" y="11879"/>
                </a:lnTo>
                <a:lnTo>
                  <a:pt x="12515" y="13153"/>
                </a:lnTo>
                <a:lnTo>
                  <a:pt x="13007" y="13515"/>
                </a:lnTo>
                <a:lnTo>
                  <a:pt x="16199" y="11575"/>
                </a:lnTo>
                <a:lnTo>
                  <a:pt x="13925" y="9726"/>
                </a:lnTo>
                <a:lnTo>
                  <a:pt x="10787" y="11715"/>
                </a:lnTo>
                <a:cubicBezTo>
                  <a:pt x="10787" y="11715"/>
                  <a:pt x="7641" y="9766"/>
                  <a:pt x="7641" y="976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882">
            <a:extLst>
              <a:ext uri="{FF2B5EF4-FFF2-40B4-BE49-F238E27FC236}">
                <a16:creationId xmlns:a16="http://schemas.microsoft.com/office/drawing/2014/main" id="{A68F9B08-D44A-4288-BC4D-191419B82C37}"/>
              </a:ext>
            </a:extLst>
          </p:cNvPr>
          <p:cNvSpPr/>
          <p:nvPr/>
        </p:nvSpPr>
        <p:spPr bwMode="gray">
          <a:xfrm>
            <a:off x="675456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883">
            <a:extLst>
              <a:ext uri="{FF2B5EF4-FFF2-40B4-BE49-F238E27FC236}">
                <a16:creationId xmlns:a16="http://schemas.microsoft.com/office/drawing/2014/main" id="{4D1EEAD1-1E98-4B06-BF0F-4006E2E810D7}"/>
              </a:ext>
            </a:extLst>
          </p:cNvPr>
          <p:cNvSpPr/>
          <p:nvPr/>
        </p:nvSpPr>
        <p:spPr bwMode="gray">
          <a:xfrm>
            <a:off x="7308875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6"/>
                </a:lnTo>
                <a:cubicBezTo>
                  <a:pt x="15118" y="9994"/>
                  <a:pt x="15213" y="9425"/>
                  <a:pt x="15213" y="8918"/>
                </a:cubicBezTo>
                <a:cubicBezTo>
                  <a:pt x="15213" y="8811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8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0" y="8413"/>
                </a:cubicBezTo>
                <a:cubicBezTo>
                  <a:pt x="9350" y="8413"/>
                  <a:pt x="9605" y="8444"/>
                  <a:pt x="9874" y="8460"/>
                </a:cubicBezTo>
                <a:lnTo>
                  <a:pt x="10652" y="10591"/>
                </a:lnTo>
                <a:lnTo>
                  <a:pt x="9560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2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4" y="8063"/>
                  <a:pt x="6727" y="8061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89" y="12162"/>
                </a:cubicBezTo>
                <a:lnTo>
                  <a:pt x="13291" y="13825"/>
                </a:lnTo>
                <a:cubicBezTo>
                  <a:pt x="13291" y="13825"/>
                  <a:pt x="11488" y="8460"/>
                  <a:pt x="11488" y="8460"/>
                </a:cubicBezTo>
                <a:close/>
                <a:moveTo>
                  <a:pt x="10800" y="15709"/>
                </a:moveTo>
                <a:cubicBezTo>
                  <a:pt x="10319" y="15709"/>
                  <a:pt x="9857" y="15637"/>
                  <a:pt x="9418" y="15508"/>
                </a:cubicBezTo>
                <a:lnTo>
                  <a:pt x="10887" y="11236"/>
                </a:lnTo>
                <a:cubicBezTo>
                  <a:pt x="10887" y="11236"/>
                  <a:pt x="12211" y="14865"/>
                  <a:pt x="12425" y="15428"/>
                </a:cubicBezTo>
                <a:cubicBezTo>
                  <a:pt x="11916" y="15607"/>
                  <a:pt x="11371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9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884">
            <a:extLst>
              <a:ext uri="{FF2B5EF4-FFF2-40B4-BE49-F238E27FC236}">
                <a16:creationId xmlns:a16="http://schemas.microsoft.com/office/drawing/2014/main" id="{1F1AAD99-3D88-4B1D-84F3-6BA19096D25A}"/>
              </a:ext>
            </a:extLst>
          </p:cNvPr>
          <p:cNvSpPr/>
          <p:nvPr/>
        </p:nvSpPr>
        <p:spPr bwMode="gray">
          <a:xfrm>
            <a:off x="7863187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36" y="10309"/>
                </a:moveTo>
                <a:cubicBezTo>
                  <a:pt x="13551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8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8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0" y="10800"/>
                  <a:pt x="9312" y="10469"/>
                  <a:pt x="10852" y="9873"/>
                </a:cubicBezTo>
                <a:cubicBezTo>
                  <a:pt x="11015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8"/>
                  <a:pt x="10353" y="9001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885">
            <a:extLst>
              <a:ext uri="{FF2B5EF4-FFF2-40B4-BE49-F238E27FC236}">
                <a16:creationId xmlns:a16="http://schemas.microsoft.com/office/drawing/2014/main" id="{DFBE0354-85F7-485A-B62A-2B90C1FEE7CA}"/>
              </a:ext>
            </a:extLst>
          </p:cNvPr>
          <p:cNvSpPr/>
          <p:nvPr/>
        </p:nvSpPr>
        <p:spPr bwMode="gray">
          <a:xfrm>
            <a:off x="8443895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00" y="13698"/>
                </a:moveTo>
                <a:cubicBezTo>
                  <a:pt x="15500" y="14629"/>
                  <a:pt x="14906" y="15067"/>
                  <a:pt x="13996" y="15061"/>
                </a:cubicBezTo>
                <a:cubicBezTo>
                  <a:pt x="13870" y="15061"/>
                  <a:pt x="13731" y="15061"/>
                  <a:pt x="13646" y="15044"/>
                </a:cubicBezTo>
                <a:lnTo>
                  <a:pt x="13646" y="12497"/>
                </a:lnTo>
                <a:cubicBezTo>
                  <a:pt x="13731" y="12480"/>
                  <a:pt x="13877" y="12463"/>
                  <a:pt x="14101" y="12463"/>
                </a:cubicBezTo>
                <a:cubicBezTo>
                  <a:pt x="14966" y="12463"/>
                  <a:pt x="15507" y="12890"/>
                  <a:pt x="15500" y="13698"/>
                </a:cubicBezTo>
                <a:moveTo>
                  <a:pt x="12636" y="11868"/>
                </a:moveTo>
                <a:lnTo>
                  <a:pt x="12636" y="15691"/>
                </a:lnTo>
                <a:cubicBezTo>
                  <a:pt x="12886" y="15720"/>
                  <a:pt x="13256" y="15748"/>
                  <a:pt x="13778" y="15748"/>
                </a:cubicBezTo>
                <a:cubicBezTo>
                  <a:pt x="14649" y="15748"/>
                  <a:pt x="15362" y="15587"/>
                  <a:pt x="15830" y="15246"/>
                </a:cubicBezTo>
                <a:cubicBezTo>
                  <a:pt x="16260" y="14929"/>
                  <a:pt x="16570" y="14415"/>
                  <a:pt x="16570" y="13670"/>
                </a:cubicBezTo>
                <a:cubicBezTo>
                  <a:pt x="16570" y="12982"/>
                  <a:pt x="16279" y="12503"/>
                  <a:pt x="15817" y="12203"/>
                </a:cubicBezTo>
                <a:cubicBezTo>
                  <a:pt x="15388" y="11919"/>
                  <a:pt x="14840" y="11787"/>
                  <a:pt x="13996" y="11787"/>
                </a:cubicBezTo>
                <a:cubicBezTo>
                  <a:pt x="13487" y="11787"/>
                  <a:pt x="13005" y="11815"/>
                  <a:pt x="12636" y="11868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5"/>
                </a:moveTo>
                <a:cubicBezTo>
                  <a:pt x="20400" y="20178"/>
                  <a:pt x="19863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5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5"/>
                  <a:pt x="20400" y="19635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8"/>
                  <a:pt x="0" y="1964"/>
                </a:cubicBezTo>
                <a:lnTo>
                  <a:pt x="0" y="19635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5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769" y="13658"/>
                </a:moveTo>
                <a:cubicBezTo>
                  <a:pt x="6624" y="13658"/>
                  <a:pt x="6519" y="13652"/>
                  <a:pt x="6433" y="13635"/>
                </a:cubicBezTo>
                <a:lnTo>
                  <a:pt x="6433" y="12486"/>
                </a:lnTo>
                <a:cubicBezTo>
                  <a:pt x="6505" y="12468"/>
                  <a:pt x="6644" y="12451"/>
                  <a:pt x="6848" y="12451"/>
                </a:cubicBezTo>
                <a:cubicBezTo>
                  <a:pt x="7350" y="12451"/>
                  <a:pt x="7634" y="12665"/>
                  <a:pt x="7634" y="13023"/>
                </a:cubicBezTo>
                <a:cubicBezTo>
                  <a:pt x="7634" y="13421"/>
                  <a:pt x="7304" y="13658"/>
                  <a:pt x="6769" y="13658"/>
                </a:cubicBezTo>
                <a:moveTo>
                  <a:pt x="6796" y="11787"/>
                </a:moveTo>
                <a:cubicBezTo>
                  <a:pt x="6182" y="11787"/>
                  <a:pt x="5746" y="11821"/>
                  <a:pt x="5436" y="11868"/>
                </a:cubicBezTo>
                <a:lnTo>
                  <a:pt x="5436" y="15708"/>
                </a:lnTo>
                <a:lnTo>
                  <a:pt x="6433" y="15708"/>
                </a:lnTo>
                <a:lnTo>
                  <a:pt x="6433" y="14316"/>
                </a:lnTo>
                <a:cubicBezTo>
                  <a:pt x="6524" y="14328"/>
                  <a:pt x="6644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5" y="13704"/>
                  <a:pt x="8630" y="13381"/>
                  <a:pt x="8630" y="13000"/>
                </a:cubicBezTo>
                <a:cubicBezTo>
                  <a:pt x="8630" y="12618"/>
                  <a:pt x="8439" y="12296"/>
                  <a:pt x="8155" y="12099"/>
                </a:cubicBezTo>
                <a:cubicBezTo>
                  <a:pt x="7858" y="11891"/>
                  <a:pt x="7416" y="11787"/>
                  <a:pt x="6796" y="11787"/>
                </a:cubicBezTo>
                <a:moveTo>
                  <a:pt x="10765" y="13398"/>
                </a:moveTo>
                <a:cubicBezTo>
                  <a:pt x="10191" y="13208"/>
                  <a:pt x="9940" y="13098"/>
                  <a:pt x="9940" y="12850"/>
                </a:cubicBezTo>
                <a:cubicBezTo>
                  <a:pt x="9940" y="12648"/>
                  <a:pt x="10151" y="12474"/>
                  <a:pt x="10587" y="12474"/>
                </a:cubicBezTo>
                <a:cubicBezTo>
                  <a:pt x="11023" y="12474"/>
                  <a:pt x="11339" y="12583"/>
                  <a:pt x="11517" y="12659"/>
                </a:cubicBezTo>
                <a:lnTo>
                  <a:pt x="11742" y="11949"/>
                </a:lnTo>
                <a:cubicBezTo>
                  <a:pt x="11478" y="11845"/>
                  <a:pt x="11108" y="11752"/>
                  <a:pt x="10607" y="11752"/>
                </a:cubicBezTo>
                <a:cubicBezTo>
                  <a:pt x="9558" y="11752"/>
                  <a:pt x="8924" y="12260"/>
                  <a:pt x="8924" y="12924"/>
                </a:cubicBezTo>
                <a:cubicBezTo>
                  <a:pt x="8924" y="13490"/>
                  <a:pt x="9405" y="13849"/>
                  <a:pt x="10145" y="14074"/>
                </a:cubicBezTo>
                <a:cubicBezTo>
                  <a:pt x="10679" y="14241"/>
                  <a:pt x="10891" y="14380"/>
                  <a:pt x="10891" y="14623"/>
                </a:cubicBezTo>
                <a:cubicBezTo>
                  <a:pt x="10891" y="14877"/>
                  <a:pt x="10646" y="15044"/>
                  <a:pt x="10184" y="15044"/>
                </a:cubicBezTo>
                <a:cubicBezTo>
                  <a:pt x="9755" y="15044"/>
                  <a:pt x="9339" y="14923"/>
                  <a:pt x="9069" y="14802"/>
                </a:cubicBezTo>
                <a:lnTo>
                  <a:pt x="8864" y="15529"/>
                </a:lnTo>
                <a:cubicBezTo>
                  <a:pt x="9115" y="15651"/>
                  <a:pt x="9616" y="15766"/>
                  <a:pt x="10124" y="15766"/>
                </a:cubicBezTo>
                <a:cubicBezTo>
                  <a:pt x="11346" y="15766"/>
                  <a:pt x="11920" y="15211"/>
                  <a:pt x="11920" y="14559"/>
                </a:cubicBezTo>
                <a:cubicBezTo>
                  <a:pt x="11920" y="14010"/>
                  <a:pt x="11551" y="13652"/>
                  <a:pt x="10765" y="1339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886">
            <a:extLst>
              <a:ext uri="{FF2B5EF4-FFF2-40B4-BE49-F238E27FC236}">
                <a16:creationId xmlns:a16="http://schemas.microsoft.com/office/drawing/2014/main" id="{FCBAF83E-8599-46C7-A25B-B6D0366FC0BE}"/>
              </a:ext>
            </a:extLst>
          </p:cNvPr>
          <p:cNvSpPr/>
          <p:nvPr/>
        </p:nvSpPr>
        <p:spPr bwMode="gray">
          <a:xfrm>
            <a:off x="8998207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36" y="15709"/>
                </a:moveTo>
                <a:lnTo>
                  <a:pt x="13646" y="15709"/>
                </a:lnTo>
                <a:lnTo>
                  <a:pt x="13646" y="11816"/>
                </a:lnTo>
                <a:lnTo>
                  <a:pt x="12636" y="11816"/>
                </a:lnTo>
                <a:cubicBezTo>
                  <a:pt x="12636" y="11816"/>
                  <a:pt x="12636" y="15709"/>
                  <a:pt x="126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9618" y="14051"/>
                </a:moveTo>
                <a:lnTo>
                  <a:pt x="9881" y="13225"/>
                </a:lnTo>
                <a:cubicBezTo>
                  <a:pt x="9954" y="13000"/>
                  <a:pt x="10020" y="12706"/>
                  <a:pt x="10086" y="12475"/>
                </a:cubicBezTo>
                <a:lnTo>
                  <a:pt x="10099" y="12475"/>
                </a:lnTo>
                <a:cubicBezTo>
                  <a:pt x="10165" y="12706"/>
                  <a:pt x="10245" y="12994"/>
                  <a:pt x="10324" y="13225"/>
                </a:cubicBezTo>
                <a:lnTo>
                  <a:pt x="10601" y="14051"/>
                </a:lnTo>
                <a:cubicBezTo>
                  <a:pt x="10601" y="14051"/>
                  <a:pt x="9618" y="14051"/>
                  <a:pt x="9618" y="14051"/>
                </a:cubicBezTo>
                <a:close/>
                <a:moveTo>
                  <a:pt x="9472" y="11816"/>
                </a:moveTo>
                <a:lnTo>
                  <a:pt x="8113" y="15709"/>
                </a:lnTo>
                <a:lnTo>
                  <a:pt x="9155" y="15709"/>
                </a:lnTo>
                <a:lnTo>
                  <a:pt x="9472" y="14710"/>
                </a:lnTo>
                <a:lnTo>
                  <a:pt x="10746" y="14710"/>
                </a:lnTo>
                <a:lnTo>
                  <a:pt x="11089" y="15709"/>
                </a:lnTo>
                <a:lnTo>
                  <a:pt x="12172" y="15709"/>
                </a:lnTo>
                <a:lnTo>
                  <a:pt x="10792" y="11816"/>
                </a:lnTo>
                <a:cubicBezTo>
                  <a:pt x="10792" y="11816"/>
                  <a:pt x="9472" y="11816"/>
                  <a:pt x="9472" y="1181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887">
            <a:extLst>
              <a:ext uri="{FF2B5EF4-FFF2-40B4-BE49-F238E27FC236}">
                <a16:creationId xmlns:a16="http://schemas.microsoft.com/office/drawing/2014/main" id="{00B52F3B-BE8F-4228-AF9F-8EF0CDA51172}"/>
              </a:ext>
            </a:extLst>
          </p:cNvPr>
          <p:cNvSpPr/>
          <p:nvPr/>
        </p:nvSpPr>
        <p:spPr bwMode="gray">
          <a:xfrm>
            <a:off x="955251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836" y="15709"/>
                </a:moveTo>
                <a:lnTo>
                  <a:pt x="14845" y="15709"/>
                </a:lnTo>
                <a:lnTo>
                  <a:pt x="14845" y="14144"/>
                </a:lnTo>
                <a:lnTo>
                  <a:pt x="16443" y="14144"/>
                </a:lnTo>
                <a:lnTo>
                  <a:pt x="16443" y="13428"/>
                </a:lnTo>
                <a:lnTo>
                  <a:pt x="14845" y="13428"/>
                </a:lnTo>
                <a:lnTo>
                  <a:pt x="14845" y="12538"/>
                </a:lnTo>
                <a:lnTo>
                  <a:pt x="16555" y="12538"/>
                </a:lnTo>
                <a:lnTo>
                  <a:pt x="16555" y="11816"/>
                </a:lnTo>
                <a:lnTo>
                  <a:pt x="13836" y="11816"/>
                </a:lnTo>
                <a:cubicBezTo>
                  <a:pt x="13836" y="11816"/>
                  <a:pt x="13836" y="15709"/>
                  <a:pt x="138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0396" y="15062"/>
                </a:moveTo>
                <a:cubicBezTo>
                  <a:pt x="10270" y="15062"/>
                  <a:pt x="10131" y="15062"/>
                  <a:pt x="10045" y="15045"/>
                </a:cubicBezTo>
                <a:lnTo>
                  <a:pt x="10045" y="12498"/>
                </a:lnTo>
                <a:cubicBezTo>
                  <a:pt x="10131" y="12480"/>
                  <a:pt x="10277" y="12463"/>
                  <a:pt x="10501" y="12463"/>
                </a:cubicBezTo>
                <a:cubicBezTo>
                  <a:pt x="11366" y="12463"/>
                  <a:pt x="11907" y="12891"/>
                  <a:pt x="11900" y="13699"/>
                </a:cubicBezTo>
                <a:cubicBezTo>
                  <a:pt x="11900" y="14629"/>
                  <a:pt x="11306" y="15068"/>
                  <a:pt x="10396" y="15062"/>
                </a:cubicBezTo>
                <a:moveTo>
                  <a:pt x="10396" y="11787"/>
                </a:moveTo>
                <a:cubicBezTo>
                  <a:pt x="9887" y="11787"/>
                  <a:pt x="9405" y="11816"/>
                  <a:pt x="9036" y="11868"/>
                </a:cubicBezTo>
                <a:lnTo>
                  <a:pt x="9036" y="15691"/>
                </a:lnTo>
                <a:cubicBezTo>
                  <a:pt x="9287" y="15720"/>
                  <a:pt x="9656" y="15749"/>
                  <a:pt x="10178" y="15749"/>
                </a:cubicBezTo>
                <a:cubicBezTo>
                  <a:pt x="11048" y="15749"/>
                  <a:pt x="11762" y="15587"/>
                  <a:pt x="12231" y="15246"/>
                </a:cubicBezTo>
                <a:cubicBezTo>
                  <a:pt x="12660" y="14929"/>
                  <a:pt x="12970" y="14415"/>
                  <a:pt x="12970" y="13670"/>
                </a:cubicBezTo>
                <a:cubicBezTo>
                  <a:pt x="12970" y="12983"/>
                  <a:pt x="12680" y="12503"/>
                  <a:pt x="12217" y="12203"/>
                </a:cubicBezTo>
                <a:cubicBezTo>
                  <a:pt x="11788" y="11920"/>
                  <a:pt x="11241" y="11787"/>
                  <a:pt x="10396" y="11787"/>
                </a:cubicBezTo>
                <a:moveTo>
                  <a:pt x="6769" y="13659"/>
                </a:moveTo>
                <a:cubicBezTo>
                  <a:pt x="6623" y="13659"/>
                  <a:pt x="6518" y="13653"/>
                  <a:pt x="6432" y="13636"/>
                </a:cubicBezTo>
                <a:lnTo>
                  <a:pt x="6432" y="12486"/>
                </a:lnTo>
                <a:cubicBezTo>
                  <a:pt x="6505" y="12469"/>
                  <a:pt x="6643" y="12452"/>
                  <a:pt x="6848" y="12452"/>
                </a:cubicBezTo>
                <a:cubicBezTo>
                  <a:pt x="7350" y="12452"/>
                  <a:pt x="7634" y="12665"/>
                  <a:pt x="7634" y="13023"/>
                </a:cubicBezTo>
                <a:cubicBezTo>
                  <a:pt x="7634" y="13422"/>
                  <a:pt x="7304" y="13659"/>
                  <a:pt x="6769" y="13659"/>
                </a:cubicBezTo>
                <a:moveTo>
                  <a:pt x="6796" y="11787"/>
                </a:moveTo>
                <a:cubicBezTo>
                  <a:pt x="6182" y="11787"/>
                  <a:pt x="5746" y="11822"/>
                  <a:pt x="5436" y="11868"/>
                </a:cubicBezTo>
                <a:lnTo>
                  <a:pt x="5436" y="15709"/>
                </a:lnTo>
                <a:lnTo>
                  <a:pt x="6432" y="15709"/>
                </a:lnTo>
                <a:lnTo>
                  <a:pt x="6432" y="14317"/>
                </a:lnTo>
                <a:cubicBezTo>
                  <a:pt x="6525" y="14328"/>
                  <a:pt x="6643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6" y="13705"/>
                  <a:pt x="8631" y="13381"/>
                  <a:pt x="8631" y="13000"/>
                </a:cubicBezTo>
                <a:cubicBezTo>
                  <a:pt x="8631" y="12619"/>
                  <a:pt x="8439" y="12296"/>
                  <a:pt x="8155" y="12099"/>
                </a:cubicBezTo>
                <a:cubicBezTo>
                  <a:pt x="7859" y="11892"/>
                  <a:pt x="7416" y="11787"/>
                  <a:pt x="6796" y="1178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888">
            <a:extLst>
              <a:ext uri="{FF2B5EF4-FFF2-40B4-BE49-F238E27FC236}">
                <a16:creationId xmlns:a16="http://schemas.microsoft.com/office/drawing/2014/main" id="{DFC5B479-09DB-4843-AB96-F4DEEDEB0990}"/>
              </a:ext>
            </a:extLst>
          </p:cNvPr>
          <p:cNvSpPr/>
          <p:nvPr/>
        </p:nvSpPr>
        <p:spPr bwMode="gray">
          <a:xfrm>
            <a:off x="10106831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36" y="15709"/>
                </a:moveTo>
                <a:lnTo>
                  <a:pt x="13945" y="15709"/>
                </a:lnTo>
                <a:lnTo>
                  <a:pt x="13945" y="14144"/>
                </a:lnTo>
                <a:lnTo>
                  <a:pt x="15543" y="14144"/>
                </a:lnTo>
                <a:lnTo>
                  <a:pt x="15543" y="13428"/>
                </a:lnTo>
                <a:lnTo>
                  <a:pt x="13945" y="13428"/>
                </a:lnTo>
                <a:lnTo>
                  <a:pt x="13945" y="12538"/>
                </a:lnTo>
                <a:lnTo>
                  <a:pt x="15655" y="12538"/>
                </a:lnTo>
                <a:lnTo>
                  <a:pt x="15655" y="11816"/>
                </a:lnTo>
                <a:lnTo>
                  <a:pt x="12936" y="11816"/>
                </a:lnTo>
                <a:cubicBezTo>
                  <a:pt x="12936" y="11816"/>
                  <a:pt x="12936" y="15709"/>
                  <a:pt x="129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1136" y="15709"/>
                </a:moveTo>
                <a:lnTo>
                  <a:pt x="12145" y="15709"/>
                </a:lnTo>
                <a:lnTo>
                  <a:pt x="12145" y="11816"/>
                </a:lnTo>
                <a:lnTo>
                  <a:pt x="11136" y="11816"/>
                </a:lnTo>
                <a:cubicBezTo>
                  <a:pt x="11136" y="11816"/>
                  <a:pt x="11136" y="15709"/>
                  <a:pt x="11136" y="15709"/>
                </a:cubicBezTo>
                <a:close/>
                <a:moveTo>
                  <a:pt x="8395" y="14167"/>
                </a:moveTo>
                <a:lnTo>
                  <a:pt x="9082" y="14167"/>
                </a:lnTo>
                <a:lnTo>
                  <a:pt x="9082" y="14981"/>
                </a:lnTo>
                <a:cubicBezTo>
                  <a:pt x="9002" y="15015"/>
                  <a:pt x="8818" y="15039"/>
                  <a:pt x="8586" y="15039"/>
                </a:cubicBezTo>
                <a:cubicBezTo>
                  <a:pt x="7761" y="15039"/>
                  <a:pt x="7187" y="14565"/>
                  <a:pt x="7187" y="13762"/>
                </a:cubicBezTo>
                <a:cubicBezTo>
                  <a:pt x="7187" y="12919"/>
                  <a:pt x="7821" y="12503"/>
                  <a:pt x="8659" y="12503"/>
                </a:cubicBezTo>
                <a:cubicBezTo>
                  <a:pt x="9148" y="12503"/>
                  <a:pt x="9451" y="12579"/>
                  <a:pt x="9696" y="12672"/>
                </a:cubicBezTo>
                <a:lnTo>
                  <a:pt x="9907" y="11966"/>
                </a:lnTo>
                <a:cubicBezTo>
                  <a:pt x="9689" y="11874"/>
                  <a:pt x="9247" y="11776"/>
                  <a:pt x="8672" y="11776"/>
                </a:cubicBezTo>
                <a:cubicBezTo>
                  <a:pt x="7213" y="11776"/>
                  <a:pt x="6138" y="12515"/>
                  <a:pt x="6131" y="13809"/>
                </a:cubicBezTo>
                <a:cubicBezTo>
                  <a:pt x="6124" y="14381"/>
                  <a:pt x="6349" y="14888"/>
                  <a:pt x="6758" y="15223"/>
                </a:cubicBezTo>
                <a:cubicBezTo>
                  <a:pt x="7167" y="15570"/>
                  <a:pt x="7755" y="15749"/>
                  <a:pt x="8566" y="15749"/>
                </a:cubicBezTo>
                <a:cubicBezTo>
                  <a:pt x="9155" y="15749"/>
                  <a:pt x="9742" y="15622"/>
                  <a:pt x="10052" y="15530"/>
                </a:cubicBezTo>
                <a:lnTo>
                  <a:pt x="10052" y="13479"/>
                </a:lnTo>
                <a:lnTo>
                  <a:pt x="8395" y="13479"/>
                </a:lnTo>
                <a:cubicBezTo>
                  <a:pt x="8395" y="13479"/>
                  <a:pt x="8395" y="14167"/>
                  <a:pt x="8395" y="1416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889">
            <a:extLst>
              <a:ext uri="{FF2B5EF4-FFF2-40B4-BE49-F238E27FC236}">
                <a16:creationId xmlns:a16="http://schemas.microsoft.com/office/drawing/2014/main" id="{91A14080-C401-46ED-9686-CAD4A5A5020E}"/>
              </a:ext>
            </a:extLst>
          </p:cNvPr>
          <p:cNvSpPr/>
          <p:nvPr/>
        </p:nvSpPr>
        <p:spPr bwMode="gray">
          <a:xfrm>
            <a:off x="10661143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69" y="13659"/>
                </a:moveTo>
                <a:cubicBezTo>
                  <a:pt x="9923" y="13659"/>
                  <a:pt x="9818" y="13653"/>
                  <a:pt x="9732" y="13636"/>
                </a:cubicBezTo>
                <a:lnTo>
                  <a:pt x="9732" y="12486"/>
                </a:lnTo>
                <a:cubicBezTo>
                  <a:pt x="9805" y="12469"/>
                  <a:pt x="9943" y="12452"/>
                  <a:pt x="10148" y="12452"/>
                </a:cubicBezTo>
                <a:cubicBezTo>
                  <a:pt x="10650" y="12452"/>
                  <a:pt x="10934" y="12665"/>
                  <a:pt x="10934" y="13023"/>
                </a:cubicBezTo>
                <a:cubicBezTo>
                  <a:pt x="10934" y="13422"/>
                  <a:pt x="10604" y="13659"/>
                  <a:pt x="10069" y="13659"/>
                </a:cubicBezTo>
                <a:moveTo>
                  <a:pt x="10096" y="11787"/>
                </a:moveTo>
                <a:cubicBezTo>
                  <a:pt x="9481" y="11787"/>
                  <a:pt x="9046" y="11822"/>
                  <a:pt x="8736" y="11869"/>
                </a:cubicBezTo>
                <a:lnTo>
                  <a:pt x="8736" y="15709"/>
                </a:lnTo>
                <a:lnTo>
                  <a:pt x="9732" y="15709"/>
                </a:lnTo>
                <a:lnTo>
                  <a:pt x="9732" y="14317"/>
                </a:lnTo>
                <a:cubicBezTo>
                  <a:pt x="9825" y="14328"/>
                  <a:pt x="9943" y="14334"/>
                  <a:pt x="10076" y="14334"/>
                </a:cubicBezTo>
                <a:cubicBezTo>
                  <a:pt x="10670" y="14334"/>
                  <a:pt x="11178" y="14207"/>
                  <a:pt x="11521" y="13924"/>
                </a:cubicBezTo>
                <a:cubicBezTo>
                  <a:pt x="11786" y="13705"/>
                  <a:pt x="11931" y="13382"/>
                  <a:pt x="11931" y="13000"/>
                </a:cubicBezTo>
                <a:cubicBezTo>
                  <a:pt x="11931" y="12619"/>
                  <a:pt x="11739" y="12296"/>
                  <a:pt x="11455" y="12099"/>
                </a:cubicBezTo>
                <a:cubicBezTo>
                  <a:pt x="11159" y="11891"/>
                  <a:pt x="10716" y="11787"/>
                  <a:pt x="10096" y="11787"/>
                </a:cubicBezTo>
                <a:moveTo>
                  <a:pt x="12131" y="13809"/>
                </a:moveTo>
                <a:cubicBezTo>
                  <a:pt x="12124" y="14381"/>
                  <a:pt x="12349" y="14888"/>
                  <a:pt x="12758" y="15224"/>
                </a:cubicBezTo>
                <a:cubicBezTo>
                  <a:pt x="13167" y="15571"/>
                  <a:pt x="13755" y="15749"/>
                  <a:pt x="14566" y="15749"/>
                </a:cubicBezTo>
                <a:cubicBezTo>
                  <a:pt x="15155" y="15749"/>
                  <a:pt x="15742" y="15622"/>
                  <a:pt x="16052" y="15530"/>
                </a:cubicBezTo>
                <a:lnTo>
                  <a:pt x="16052" y="13479"/>
                </a:lnTo>
                <a:lnTo>
                  <a:pt x="14395" y="13479"/>
                </a:lnTo>
                <a:lnTo>
                  <a:pt x="14395" y="14167"/>
                </a:lnTo>
                <a:lnTo>
                  <a:pt x="15081" y="14167"/>
                </a:lnTo>
                <a:lnTo>
                  <a:pt x="15081" y="14981"/>
                </a:lnTo>
                <a:cubicBezTo>
                  <a:pt x="15002" y="15015"/>
                  <a:pt x="14818" y="15039"/>
                  <a:pt x="14586" y="15039"/>
                </a:cubicBezTo>
                <a:cubicBezTo>
                  <a:pt x="13761" y="15039"/>
                  <a:pt x="13187" y="14566"/>
                  <a:pt x="13187" y="13762"/>
                </a:cubicBezTo>
                <a:cubicBezTo>
                  <a:pt x="13187" y="12919"/>
                  <a:pt x="13821" y="12503"/>
                  <a:pt x="14659" y="12503"/>
                </a:cubicBezTo>
                <a:cubicBezTo>
                  <a:pt x="15148" y="12503"/>
                  <a:pt x="15451" y="12579"/>
                  <a:pt x="15696" y="12671"/>
                </a:cubicBezTo>
                <a:lnTo>
                  <a:pt x="15906" y="11966"/>
                </a:lnTo>
                <a:cubicBezTo>
                  <a:pt x="15689" y="11874"/>
                  <a:pt x="15247" y="11776"/>
                  <a:pt x="14672" y="11776"/>
                </a:cubicBezTo>
                <a:cubicBezTo>
                  <a:pt x="13213" y="11776"/>
                  <a:pt x="12138" y="12515"/>
                  <a:pt x="12131" y="13809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606" y="14265"/>
                </a:moveTo>
                <a:cubicBezTo>
                  <a:pt x="6606" y="14872"/>
                  <a:pt x="6343" y="15039"/>
                  <a:pt x="5920" y="15039"/>
                </a:cubicBezTo>
                <a:cubicBezTo>
                  <a:pt x="5722" y="15039"/>
                  <a:pt x="5544" y="15010"/>
                  <a:pt x="5406" y="14969"/>
                </a:cubicBezTo>
                <a:lnTo>
                  <a:pt x="5293" y="15680"/>
                </a:lnTo>
                <a:cubicBezTo>
                  <a:pt x="5491" y="15738"/>
                  <a:pt x="5795" y="15773"/>
                  <a:pt x="6026" y="15773"/>
                </a:cubicBezTo>
                <a:cubicBezTo>
                  <a:pt x="7003" y="15773"/>
                  <a:pt x="7610" y="15385"/>
                  <a:pt x="7610" y="14276"/>
                </a:cubicBezTo>
                <a:lnTo>
                  <a:pt x="7610" y="11816"/>
                </a:lnTo>
                <a:lnTo>
                  <a:pt x="6606" y="11816"/>
                </a:lnTo>
                <a:cubicBezTo>
                  <a:pt x="6606" y="11816"/>
                  <a:pt x="6606" y="14265"/>
                  <a:pt x="6606" y="1426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890">
            <a:extLst>
              <a:ext uri="{FF2B5EF4-FFF2-40B4-BE49-F238E27FC236}">
                <a16:creationId xmlns:a16="http://schemas.microsoft.com/office/drawing/2014/main" id="{25F44926-03EC-42F4-9C88-F915A0CC46C8}"/>
              </a:ext>
            </a:extLst>
          </p:cNvPr>
          <p:cNvSpPr/>
          <p:nvPr/>
        </p:nvSpPr>
        <p:spPr bwMode="gray">
          <a:xfrm>
            <a:off x="11215454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3031" y="13809"/>
                </a:moveTo>
                <a:cubicBezTo>
                  <a:pt x="13024" y="14381"/>
                  <a:pt x="13249" y="14888"/>
                  <a:pt x="13658" y="15223"/>
                </a:cubicBezTo>
                <a:cubicBezTo>
                  <a:pt x="14067" y="15570"/>
                  <a:pt x="14655" y="15749"/>
                  <a:pt x="15467" y="15749"/>
                </a:cubicBezTo>
                <a:cubicBezTo>
                  <a:pt x="16054" y="15749"/>
                  <a:pt x="16642" y="15622"/>
                  <a:pt x="16952" y="15530"/>
                </a:cubicBezTo>
                <a:lnTo>
                  <a:pt x="16952" y="13479"/>
                </a:lnTo>
                <a:lnTo>
                  <a:pt x="15295" y="13479"/>
                </a:lnTo>
                <a:lnTo>
                  <a:pt x="15295" y="14167"/>
                </a:lnTo>
                <a:lnTo>
                  <a:pt x="15981" y="14167"/>
                </a:lnTo>
                <a:lnTo>
                  <a:pt x="15981" y="14981"/>
                </a:lnTo>
                <a:cubicBezTo>
                  <a:pt x="15902" y="15015"/>
                  <a:pt x="15718" y="15039"/>
                  <a:pt x="15486" y="15039"/>
                </a:cubicBezTo>
                <a:cubicBezTo>
                  <a:pt x="14661" y="15039"/>
                  <a:pt x="14087" y="14565"/>
                  <a:pt x="14087" y="13762"/>
                </a:cubicBezTo>
                <a:cubicBezTo>
                  <a:pt x="14087" y="12919"/>
                  <a:pt x="14721" y="12503"/>
                  <a:pt x="15559" y="12503"/>
                </a:cubicBezTo>
                <a:cubicBezTo>
                  <a:pt x="16048" y="12503"/>
                  <a:pt x="16351" y="12579"/>
                  <a:pt x="16596" y="12671"/>
                </a:cubicBezTo>
                <a:lnTo>
                  <a:pt x="16807" y="11966"/>
                </a:lnTo>
                <a:cubicBezTo>
                  <a:pt x="16589" y="11874"/>
                  <a:pt x="16147" y="11776"/>
                  <a:pt x="15572" y="11776"/>
                </a:cubicBezTo>
                <a:cubicBezTo>
                  <a:pt x="14113" y="11776"/>
                  <a:pt x="13037" y="12515"/>
                  <a:pt x="13031" y="13809"/>
                </a:cubicBezTo>
                <a:moveTo>
                  <a:pt x="6169" y="13659"/>
                </a:moveTo>
                <a:cubicBezTo>
                  <a:pt x="6023" y="13659"/>
                  <a:pt x="5918" y="13653"/>
                  <a:pt x="5832" y="13636"/>
                </a:cubicBezTo>
                <a:lnTo>
                  <a:pt x="5832" y="12486"/>
                </a:lnTo>
                <a:cubicBezTo>
                  <a:pt x="5905" y="12469"/>
                  <a:pt x="6043" y="12452"/>
                  <a:pt x="6248" y="12452"/>
                </a:cubicBezTo>
                <a:cubicBezTo>
                  <a:pt x="6750" y="12452"/>
                  <a:pt x="7034" y="12665"/>
                  <a:pt x="7034" y="13023"/>
                </a:cubicBezTo>
                <a:cubicBezTo>
                  <a:pt x="7034" y="13422"/>
                  <a:pt x="6704" y="13659"/>
                  <a:pt x="6169" y="13659"/>
                </a:cubicBezTo>
                <a:moveTo>
                  <a:pt x="6196" y="11787"/>
                </a:moveTo>
                <a:cubicBezTo>
                  <a:pt x="5582" y="11787"/>
                  <a:pt x="5146" y="11822"/>
                  <a:pt x="4836" y="11868"/>
                </a:cubicBezTo>
                <a:lnTo>
                  <a:pt x="4836" y="15709"/>
                </a:lnTo>
                <a:lnTo>
                  <a:pt x="5832" y="15709"/>
                </a:lnTo>
                <a:lnTo>
                  <a:pt x="5832" y="14317"/>
                </a:lnTo>
                <a:cubicBezTo>
                  <a:pt x="5925" y="14328"/>
                  <a:pt x="6043" y="14334"/>
                  <a:pt x="6176" y="14334"/>
                </a:cubicBezTo>
                <a:cubicBezTo>
                  <a:pt x="6770" y="14334"/>
                  <a:pt x="7278" y="14207"/>
                  <a:pt x="7621" y="13924"/>
                </a:cubicBezTo>
                <a:cubicBezTo>
                  <a:pt x="7886" y="13705"/>
                  <a:pt x="8031" y="13381"/>
                  <a:pt x="8031" y="13000"/>
                </a:cubicBezTo>
                <a:cubicBezTo>
                  <a:pt x="8031" y="12619"/>
                  <a:pt x="7839" y="12296"/>
                  <a:pt x="7555" y="12099"/>
                </a:cubicBezTo>
                <a:cubicBezTo>
                  <a:pt x="7259" y="11892"/>
                  <a:pt x="6816" y="11787"/>
                  <a:pt x="6196" y="11787"/>
                </a:cubicBezTo>
                <a:moveTo>
                  <a:pt x="11195" y="12954"/>
                </a:moveTo>
                <a:cubicBezTo>
                  <a:pt x="11195" y="13537"/>
                  <a:pt x="11215" y="14063"/>
                  <a:pt x="11280" y="14577"/>
                </a:cubicBezTo>
                <a:lnTo>
                  <a:pt x="11261" y="14577"/>
                </a:lnTo>
                <a:cubicBezTo>
                  <a:pt x="11062" y="14138"/>
                  <a:pt x="10799" y="13653"/>
                  <a:pt x="10535" y="13243"/>
                </a:cubicBezTo>
                <a:lnTo>
                  <a:pt x="9611" y="11816"/>
                </a:lnTo>
                <a:lnTo>
                  <a:pt x="8436" y="11816"/>
                </a:lnTo>
                <a:lnTo>
                  <a:pt x="8436" y="15709"/>
                </a:lnTo>
                <a:lnTo>
                  <a:pt x="9360" y="15709"/>
                </a:lnTo>
                <a:lnTo>
                  <a:pt x="9360" y="14536"/>
                </a:lnTo>
                <a:cubicBezTo>
                  <a:pt x="9360" y="13901"/>
                  <a:pt x="9347" y="13352"/>
                  <a:pt x="9320" y="12838"/>
                </a:cubicBezTo>
                <a:lnTo>
                  <a:pt x="9340" y="12833"/>
                </a:lnTo>
                <a:cubicBezTo>
                  <a:pt x="9558" y="13289"/>
                  <a:pt x="9848" y="13791"/>
                  <a:pt x="10112" y="14207"/>
                </a:cubicBezTo>
                <a:lnTo>
                  <a:pt x="11062" y="15709"/>
                </a:lnTo>
                <a:lnTo>
                  <a:pt x="12119" y="15709"/>
                </a:lnTo>
                <a:lnTo>
                  <a:pt x="12119" y="11816"/>
                </a:lnTo>
                <a:lnTo>
                  <a:pt x="11195" y="11816"/>
                </a:lnTo>
                <a:cubicBezTo>
                  <a:pt x="11195" y="11816"/>
                  <a:pt x="11195" y="12954"/>
                  <a:pt x="11195" y="1295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A55BB41-2AEC-4A4E-88D2-1D8E4D4B9BB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0327814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648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0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4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rrows, Location &amp; Weather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0ED2BE2-F629-4888-8C6E-18CC987623AC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2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D3CC9DCC-FCC7-4E76-B25E-38D231D9EAEA}"/>
              </a:ext>
            </a:extLst>
          </p:cNvPr>
          <p:cNvGrpSpPr/>
          <p:nvPr/>
        </p:nvGrpSpPr>
        <p:grpSpPr bwMode="gray">
          <a:xfrm>
            <a:off x="607895" y="1759045"/>
            <a:ext cx="10807436" cy="2052075"/>
            <a:chOff x="607895" y="1759045"/>
            <a:chExt cx="10807436" cy="2052075"/>
          </a:xfrm>
        </p:grpSpPr>
        <p:sp>
          <p:nvSpPr>
            <p:cNvPr id="107" name="Shape 2893">
              <a:extLst>
                <a:ext uri="{FF2B5EF4-FFF2-40B4-BE49-F238E27FC236}">
                  <a16:creationId xmlns:a16="http://schemas.microsoft.com/office/drawing/2014/main" id="{8436A88F-45F1-47D2-9BC5-2850E9B25139}"/>
                </a:ext>
              </a:extLst>
            </p:cNvPr>
            <p:cNvSpPr/>
            <p:nvPr/>
          </p:nvSpPr>
          <p:spPr bwMode="gray">
            <a:xfrm>
              <a:off x="60789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07" y="14380"/>
                  </a:moveTo>
                  <a:cubicBezTo>
                    <a:pt x="12819" y="14469"/>
                    <a:pt x="12764" y="14592"/>
                    <a:pt x="12764" y="14727"/>
                  </a:cubicBezTo>
                  <a:cubicBezTo>
                    <a:pt x="12764" y="14999"/>
                    <a:pt x="12984" y="15218"/>
                    <a:pt x="13255" y="15218"/>
                  </a:cubicBezTo>
                  <a:cubicBezTo>
                    <a:pt x="13390" y="15218"/>
                    <a:pt x="13513" y="15164"/>
                    <a:pt x="13602" y="15074"/>
                  </a:cubicBezTo>
                  <a:lnTo>
                    <a:pt x="17529" y="11147"/>
                  </a:lnTo>
                  <a:cubicBezTo>
                    <a:pt x="17618" y="11058"/>
                    <a:pt x="17673" y="10936"/>
                    <a:pt x="17673" y="10800"/>
                  </a:cubicBezTo>
                  <a:cubicBezTo>
                    <a:pt x="17673" y="10665"/>
                    <a:pt x="17618" y="10542"/>
                    <a:pt x="17529" y="10453"/>
                  </a:cubicBezTo>
                  <a:lnTo>
                    <a:pt x="13602" y="6526"/>
                  </a:lnTo>
                  <a:cubicBezTo>
                    <a:pt x="13513" y="6437"/>
                    <a:pt x="13390" y="6382"/>
                    <a:pt x="13255" y="6382"/>
                  </a:cubicBezTo>
                  <a:cubicBezTo>
                    <a:pt x="12984" y="6382"/>
                    <a:pt x="12764" y="6601"/>
                    <a:pt x="12764" y="6873"/>
                  </a:cubicBezTo>
                  <a:cubicBezTo>
                    <a:pt x="12764" y="7008"/>
                    <a:pt x="12819" y="7131"/>
                    <a:pt x="12907" y="7220"/>
                  </a:cubicBezTo>
                  <a:lnTo>
                    <a:pt x="15997" y="10309"/>
                  </a:ln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15997" y="11291"/>
                  </a:lnTo>
                  <a:cubicBezTo>
                    <a:pt x="15997" y="11291"/>
                    <a:pt x="12907" y="14380"/>
                    <a:pt x="12907" y="14380"/>
                  </a:cubicBezTo>
                  <a:close/>
                  <a:moveTo>
                    <a:pt x="21109" y="0"/>
                  </a:moveTo>
                  <a:lnTo>
                    <a:pt x="3436" y="0"/>
                  </a:lnTo>
                  <a:cubicBezTo>
                    <a:pt x="3166" y="0"/>
                    <a:pt x="2945" y="220"/>
                    <a:pt x="2945" y="491"/>
                  </a:cubicBezTo>
                  <a:lnTo>
                    <a:pt x="2945" y="7855"/>
                  </a:lnTo>
                  <a:cubicBezTo>
                    <a:pt x="2945" y="8126"/>
                    <a:pt x="3166" y="8345"/>
                    <a:pt x="3436" y="8345"/>
                  </a:cubicBezTo>
                  <a:cubicBezTo>
                    <a:pt x="3707" y="8345"/>
                    <a:pt x="3927" y="8126"/>
                    <a:pt x="3927" y="7855"/>
                  </a:cubicBezTo>
                  <a:lnTo>
                    <a:pt x="3927" y="982"/>
                  </a:lnTo>
                  <a:lnTo>
                    <a:pt x="20618" y="982"/>
                  </a:lnTo>
                  <a:lnTo>
                    <a:pt x="20618" y="20618"/>
                  </a:lnTo>
                  <a:lnTo>
                    <a:pt x="3927" y="20618"/>
                  </a:lnTo>
                  <a:lnTo>
                    <a:pt x="3927" y="13745"/>
                  </a:lnTo>
                  <a:cubicBezTo>
                    <a:pt x="3927" y="13475"/>
                    <a:pt x="3707" y="13255"/>
                    <a:pt x="3436" y="13255"/>
                  </a:cubicBezTo>
                  <a:cubicBezTo>
                    <a:pt x="3166" y="13255"/>
                    <a:pt x="2945" y="13475"/>
                    <a:pt x="2945" y="13745"/>
                  </a:cubicBez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894">
              <a:extLst>
                <a:ext uri="{FF2B5EF4-FFF2-40B4-BE49-F238E27FC236}">
                  <a16:creationId xmlns:a16="http://schemas.microsoft.com/office/drawing/2014/main" id="{C9ED21BB-FAEC-4BA6-AC94-0AF9346A6BFD}"/>
                </a:ext>
              </a:extLst>
            </p:cNvPr>
            <p:cNvSpPr/>
            <p:nvPr/>
          </p:nvSpPr>
          <p:spPr bwMode="gray">
            <a:xfrm>
              <a:off x="1161447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10309"/>
                  </a:moveTo>
                  <a:lnTo>
                    <a:pt x="5604" y="10309"/>
                  </a:lnTo>
                  <a:lnTo>
                    <a:pt x="8693" y="7220"/>
                  </a:lnTo>
                  <a:cubicBezTo>
                    <a:pt x="8781" y="7131"/>
                    <a:pt x="8836" y="7008"/>
                    <a:pt x="8836" y="6873"/>
                  </a:cubicBezTo>
                  <a:cubicBezTo>
                    <a:pt x="8836" y="6601"/>
                    <a:pt x="8616" y="6382"/>
                    <a:pt x="8345" y="6382"/>
                  </a:cubicBezTo>
                  <a:cubicBezTo>
                    <a:pt x="8210" y="6382"/>
                    <a:pt x="8087" y="6437"/>
                    <a:pt x="7998" y="6526"/>
                  </a:cubicBezTo>
                  <a:lnTo>
                    <a:pt x="4071" y="10453"/>
                  </a:lnTo>
                  <a:cubicBezTo>
                    <a:pt x="3982" y="10542"/>
                    <a:pt x="3927" y="10665"/>
                    <a:pt x="3927" y="10800"/>
                  </a:cubicBezTo>
                  <a:cubicBezTo>
                    <a:pt x="3927" y="10936"/>
                    <a:pt x="3982" y="11058"/>
                    <a:pt x="4071" y="11147"/>
                  </a:cubicBezTo>
                  <a:lnTo>
                    <a:pt x="7998" y="15074"/>
                  </a:lnTo>
                  <a:cubicBezTo>
                    <a:pt x="8087" y="15164"/>
                    <a:pt x="8210" y="15218"/>
                    <a:pt x="8345" y="15218"/>
                  </a:cubicBezTo>
                  <a:cubicBezTo>
                    <a:pt x="8616" y="15218"/>
                    <a:pt x="8836" y="14999"/>
                    <a:pt x="8836" y="14727"/>
                  </a:cubicBezTo>
                  <a:cubicBezTo>
                    <a:pt x="8836" y="14592"/>
                    <a:pt x="8781" y="14469"/>
                    <a:pt x="8693" y="14380"/>
                  </a:cubicBezTo>
                  <a:lnTo>
                    <a:pt x="5604" y="11291"/>
                  </a:ln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18164" y="13255"/>
                  </a:moveTo>
                  <a:cubicBezTo>
                    <a:pt x="17893" y="13255"/>
                    <a:pt x="17673" y="13475"/>
                    <a:pt x="17673" y="13745"/>
                  </a:cubicBezTo>
                  <a:lnTo>
                    <a:pt x="17673" y="20618"/>
                  </a:lnTo>
                  <a:lnTo>
                    <a:pt x="982" y="20618"/>
                  </a:lnTo>
                  <a:lnTo>
                    <a:pt x="982" y="982"/>
                  </a:lnTo>
                  <a:lnTo>
                    <a:pt x="17673" y="982"/>
                  </a:lnTo>
                  <a:lnTo>
                    <a:pt x="17673" y="7855"/>
                  </a:lnTo>
                  <a:cubicBezTo>
                    <a:pt x="17673" y="8126"/>
                    <a:pt x="17893" y="8345"/>
                    <a:pt x="18164" y="8345"/>
                  </a:cubicBezTo>
                  <a:cubicBezTo>
                    <a:pt x="18434" y="8345"/>
                    <a:pt x="18655" y="8126"/>
                    <a:pt x="18655" y="7855"/>
                  </a:cubicBezTo>
                  <a:lnTo>
                    <a:pt x="18655" y="491"/>
                  </a:lnTo>
                  <a:cubicBezTo>
                    <a:pt x="18655" y="220"/>
                    <a:pt x="18434" y="0"/>
                    <a:pt x="18164" y="0"/>
                  </a:cubicBez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8164" y="21600"/>
                  </a:ln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cubicBezTo>
                    <a:pt x="18655" y="13475"/>
                    <a:pt x="18434" y="13255"/>
                    <a:pt x="18164" y="132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895">
              <a:extLst>
                <a:ext uri="{FF2B5EF4-FFF2-40B4-BE49-F238E27FC236}">
                  <a16:creationId xmlns:a16="http://schemas.microsoft.com/office/drawing/2014/main" id="{717C38E3-9668-4016-8CE5-9C16EFE72D96}"/>
                </a:ext>
              </a:extLst>
            </p:cNvPr>
            <p:cNvSpPr/>
            <p:nvPr/>
          </p:nvSpPr>
          <p:spPr bwMode="gray">
            <a:xfrm>
              <a:off x="1787487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5709"/>
                  </a:moveTo>
                  <a:cubicBezTo>
                    <a:pt x="20347" y="15709"/>
                    <a:pt x="20102" y="15764"/>
                    <a:pt x="19924" y="15853"/>
                  </a:cubicBezTo>
                  <a:lnTo>
                    <a:pt x="11782" y="19924"/>
                  </a:lnTo>
                  <a:lnTo>
                    <a:pt x="11782" y="491"/>
                  </a:lnTo>
                  <a:cubicBezTo>
                    <a:pt x="11782" y="220"/>
                    <a:pt x="11342" y="0"/>
                    <a:pt x="10800" y="0"/>
                  </a:cubicBezTo>
                  <a:cubicBezTo>
                    <a:pt x="10258" y="0"/>
                    <a:pt x="9818" y="220"/>
                    <a:pt x="9818" y="491"/>
                  </a:cubicBezTo>
                  <a:lnTo>
                    <a:pt x="9818" y="19924"/>
                  </a:lnTo>
                  <a:lnTo>
                    <a:pt x="1676" y="15853"/>
                  </a:lnTo>
                  <a:cubicBezTo>
                    <a:pt x="1498" y="15764"/>
                    <a:pt x="1253" y="15709"/>
                    <a:pt x="982" y="15709"/>
                  </a:cubicBezTo>
                  <a:cubicBezTo>
                    <a:pt x="440" y="15709"/>
                    <a:pt x="0" y="15929"/>
                    <a:pt x="0" y="16200"/>
                  </a:cubicBezTo>
                  <a:cubicBezTo>
                    <a:pt x="0" y="16336"/>
                    <a:pt x="110" y="16458"/>
                    <a:pt x="288" y="16547"/>
                  </a:cubicBezTo>
                  <a:lnTo>
                    <a:pt x="10106" y="21456"/>
                  </a:lnTo>
                  <a:cubicBezTo>
                    <a:pt x="10284" y="21545"/>
                    <a:pt x="10529" y="21600"/>
                    <a:pt x="10800" y="21600"/>
                  </a:cubicBezTo>
                  <a:cubicBezTo>
                    <a:pt x="11071" y="21600"/>
                    <a:pt x="11316" y="21545"/>
                    <a:pt x="11494" y="21456"/>
                  </a:cubicBezTo>
                  <a:lnTo>
                    <a:pt x="21312" y="16547"/>
                  </a:lnTo>
                  <a:cubicBezTo>
                    <a:pt x="21490" y="16458"/>
                    <a:pt x="21600" y="16336"/>
                    <a:pt x="21600" y="16200"/>
                  </a:cubicBezTo>
                  <a:cubicBezTo>
                    <a:pt x="21600" y="15929"/>
                    <a:pt x="21160" y="15709"/>
                    <a:pt x="20618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896">
              <a:extLst>
                <a:ext uri="{FF2B5EF4-FFF2-40B4-BE49-F238E27FC236}">
                  <a16:creationId xmlns:a16="http://schemas.microsoft.com/office/drawing/2014/main" id="{8B7446CB-E15F-4E1F-AFF9-00EFB2394185}"/>
                </a:ext>
              </a:extLst>
            </p:cNvPr>
            <p:cNvSpPr/>
            <p:nvPr/>
          </p:nvSpPr>
          <p:spPr bwMode="gray">
            <a:xfrm>
              <a:off x="2341039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312" y="5053"/>
                  </a:moveTo>
                  <a:lnTo>
                    <a:pt x="11494" y="144"/>
                  </a:lnTo>
                  <a:cubicBezTo>
                    <a:pt x="11316" y="55"/>
                    <a:pt x="11071" y="0"/>
                    <a:pt x="10800" y="0"/>
                  </a:cubicBezTo>
                  <a:cubicBezTo>
                    <a:pt x="10529" y="0"/>
                    <a:pt x="10284" y="55"/>
                    <a:pt x="10106" y="144"/>
                  </a:cubicBezTo>
                  <a:lnTo>
                    <a:pt x="288" y="5053"/>
                  </a:lnTo>
                  <a:cubicBezTo>
                    <a:pt x="110" y="5142"/>
                    <a:pt x="0" y="5264"/>
                    <a:pt x="0" y="5400"/>
                  </a:cubicBezTo>
                  <a:cubicBezTo>
                    <a:pt x="0" y="5671"/>
                    <a:pt x="440" y="5891"/>
                    <a:pt x="982" y="5891"/>
                  </a:cubicBezTo>
                  <a:cubicBezTo>
                    <a:pt x="1253" y="5891"/>
                    <a:pt x="1498" y="5836"/>
                    <a:pt x="1676" y="5747"/>
                  </a:cubicBezTo>
                  <a:lnTo>
                    <a:pt x="9818" y="1676"/>
                  </a:lnTo>
                  <a:lnTo>
                    <a:pt x="9818" y="21109"/>
                  </a:lnTo>
                  <a:cubicBezTo>
                    <a:pt x="9818" y="21380"/>
                    <a:pt x="10258" y="21600"/>
                    <a:pt x="10800" y="21600"/>
                  </a:cubicBezTo>
                  <a:cubicBezTo>
                    <a:pt x="11342" y="21600"/>
                    <a:pt x="11782" y="21380"/>
                    <a:pt x="11782" y="21109"/>
                  </a:cubicBezTo>
                  <a:lnTo>
                    <a:pt x="11782" y="1676"/>
                  </a:lnTo>
                  <a:lnTo>
                    <a:pt x="19924" y="5747"/>
                  </a:lnTo>
                  <a:cubicBezTo>
                    <a:pt x="20102" y="5836"/>
                    <a:pt x="20347" y="5891"/>
                    <a:pt x="20618" y="5891"/>
                  </a:cubicBezTo>
                  <a:cubicBezTo>
                    <a:pt x="21160" y="5891"/>
                    <a:pt x="21600" y="5671"/>
                    <a:pt x="21600" y="5400"/>
                  </a:cubicBezTo>
                  <a:cubicBezTo>
                    <a:pt x="21600" y="5264"/>
                    <a:pt x="21490" y="5142"/>
                    <a:pt x="21312" y="50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897">
              <a:extLst>
                <a:ext uri="{FF2B5EF4-FFF2-40B4-BE49-F238E27FC236}">
                  <a16:creationId xmlns:a16="http://schemas.microsoft.com/office/drawing/2014/main" id="{72A65987-808D-4724-A286-97F8BD8B8C76}"/>
                </a:ext>
              </a:extLst>
            </p:cNvPr>
            <p:cNvSpPr/>
            <p:nvPr/>
          </p:nvSpPr>
          <p:spPr bwMode="gray">
            <a:xfrm>
              <a:off x="2822101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9818"/>
                  </a:moveTo>
                  <a:lnTo>
                    <a:pt x="1676" y="9818"/>
                  </a:lnTo>
                  <a:lnTo>
                    <a:pt x="5747" y="1676"/>
                  </a:lnTo>
                  <a:cubicBezTo>
                    <a:pt x="5836" y="1499"/>
                    <a:pt x="5891" y="1253"/>
                    <a:pt x="5891" y="982"/>
                  </a:cubicBezTo>
                  <a:cubicBezTo>
                    <a:pt x="5891" y="439"/>
                    <a:pt x="5671" y="0"/>
                    <a:pt x="5400" y="0"/>
                  </a:cubicBezTo>
                  <a:cubicBezTo>
                    <a:pt x="5265" y="0"/>
                    <a:pt x="5142" y="110"/>
                    <a:pt x="5053" y="288"/>
                  </a:cubicBezTo>
                  <a:lnTo>
                    <a:pt x="144" y="10106"/>
                  </a:lnTo>
                  <a:cubicBezTo>
                    <a:pt x="55" y="10284"/>
                    <a:pt x="0" y="10530"/>
                    <a:pt x="0" y="10800"/>
                  </a:cubicBezTo>
                  <a:cubicBezTo>
                    <a:pt x="0" y="11071"/>
                    <a:pt x="55" y="11317"/>
                    <a:pt x="144" y="11494"/>
                  </a:cubicBezTo>
                  <a:lnTo>
                    <a:pt x="5053" y="21312"/>
                  </a:lnTo>
                  <a:cubicBezTo>
                    <a:pt x="5142" y="21491"/>
                    <a:pt x="5265" y="21600"/>
                    <a:pt x="5400" y="21600"/>
                  </a:cubicBezTo>
                  <a:cubicBezTo>
                    <a:pt x="5671" y="21600"/>
                    <a:pt x="5891" y="21161"/>
                    <a:pt x="5891" y="20618"/>
                  </a:cubicBezTo>
                  <a:cubicBezTo>
                    <a:pt x="5891" y="20348"/>
                    <a:pt x="5836" y="20102"/>
                    <a:pt x="5747" y="19924"/>
                  </a:cubicBezTo>
                  <a:lnTo>
                    <a:pt x="1676" y="11782"/>
                  </a:lnTo>
                  <a:lnTo>
                    <a:pt x="21109" y="11782"/>
                  </a:lnTo>
                  <a:cubicBezTo>
                    <a:pt x="21380" y="11782"/>
                    <a:pt x="21600" y="11343"/>
                    <a:pt x="21600" y="10800"/>
                  </a:cubicBezTo>
                  <a:cubicBezTo>
                    <a:pt x="21600" y="10257"/>
                    <a:pt x="21380" y="9818"/>
                    <a:pt x="21109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898">
              <a:extLst>
                <a:ext uri="{FF2B5EF4-FFF2-40B4-BE49-F238E27FC236}">
                  <a16:creationId xmlns:a16="http://schemas.microsoft.com/office/drawing/2014/main" id="{09F09A87-D343-4421-B3C1-ED19CEBB1368}"/>
                </a:ext>
              </a:extLst>
            </p:cNvPr>
            <p:cNvSpPr/>
            <p:nvPr/>
          </p:nvSpPr>
          <p:spPr bwMode="gray">
            <a:xfrm>
              <a:off x="3375653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106"/>
                  </a:moveTo>
                  <a:lnTo>
                    <a:pt x="16547" y="288"/>
                  </a:lnTo>
                  <a:cubicBezTo>
                    <a:pt x="16458" y="110"/>
                    <a:pt x="16336" y="0"/>
                    <a:pt x="16200" y="0"/>
                  </a:cubicBezTo>
                  <a:cubicBezTo>
                    <a:pt x="15929" y="0"/>
                    <a:pt x="15709" y="439"/>
                    <a:pt x="15709" y="982"/>
                  </a:cubicBezTo>
                  <a:cubicBezTo>
                    <a:pt x="15709" y="1253"/>
                    <a:pt x="15764" y="1499"/>
                    <a:pt x="15853" y="1676"/>
                  </a:cubicBezTo>
                  <a:lnTo>
                    <a:pt x="19924" y="9818"/>
                  </a:lnTo>
                  <a:lnTo>
                    <a:pt x="491" y="9818"/>
                  </a:lnTo>
                  <a:cubicBezTo>
                    <a:pt x="220" y="9818"/>
                    <a:pt x="0" y="10257"/>
                    <a:pt x="0" y="10800"/>
                  </a:cubicBezTo>
                  <a:cubicBezTo>
                    <a:pt x="0" y="11343"/>
                    <a:pt x="220" y="11782"/>
                    <a:pt x="491" y="11782"/>
                  </a:cubicBezTo>
                  <a:lnTo>
                    <a:pt x="19924" y="11782"/>
                  </a:lnTo>
                  <a:lnTo>
                    <a:pt x="15853" y="19924"/>
                  </a:lnTo>
                  <a:cubicBezTo>
                    <a:pt x="15764" y="20102"/>
                    <a:pt x="15709" y="20347"/>
                    <a:pt x="15709" y="20618"/>
                  </a:cubicBezTo>
                  <a:cubicBezTo>
                    <a:pt x="15709" y="21161"/>
                    <a:pt x="15929" y="21600"/>
                    <a:pt x="16200" y="21600"/>
                  </a:cubicBezTo>
                  <a:cubicBezTo>
                    <a:pt x="16336" y="21600"/>
                    <a:pt x="16458" y="21491"/>
                    <a:pt x="16547" y="21312"/>
                  </a:cubicBezTo>
                  <a:lnTo>
                    <a:pt x="21456" y="11494"/>
                  </a:lnTo>
                  <a:cubicBezTo>
                    <a:pt x="21545" y="11317"/>
                    <a:pt x="21600" y="11071"/>
                    <a:pt x="21600" y="10800"/>
                  </a:cubicBezTo>
                  <a:cubicBezTo>
                    <a:pt x="21600" y="10529"/>
                    <a:pt x="21545" y="10284"/>
                    <a:pt x="21456" y="1010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899">
              <a:extLst>
                <a:ext uri="{FF2B5EF4-FFF2-40B4-BE49-F238E27FC236}">
                  <a16:creationId xmlns:a16="http://schemas.microsoft.com/office/drawing/2014/main" id="{0556C063-180A-420F-BBF2-719B94BBEB17}"/>
                </a:ext>
              </a:extLst>
            </p:cNvPr>
            <p:cNvSpPr/>
            <p:nvPr/>
          </p:nvSpPr>
          <p:spPr bwMode="gray">
            <a:xfrm>
              <a:off x="3942384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60" y="0"/>
                  </a:moveTo>
                  <a:cubicBezTo>
                    <a:pt x="20911" y="0"/>
                    <a:pt x="20776" y="121"/>
                    <a:pt x="20678" y="316"/>
                  </a:cubicBezTo>
                  <a:lnTo>
                    <a:pt x="10800" y="19033"/>
                  </a:lnTo>
                  <a:lnTo>
                    <a:pt x="922" y="316"/>
                  </a:lnTo>
                  <a:cubicBezTo>
                    <a:pt x="824" y="121"/>
                    <a:pt x="689" y="0"/>
                    <a:pt x="540" y="0"/>
                  </a:cubicBezTo>
                  <a:cubicBezTo>
                    <a:pt x="242" y="0"/>
                    <a:pt x="0" y="483"/>
                    <a:pt x="0" y="1080"/>
                  </a:cubicBezTo>
                  <a:cubicBezTo>
                    <a:pt x="0" y="1378"/>
                    <a:pt x="60" y="1648"/>
                    <a:pt x="158" y="1844"/>
                  </a:cubicBezTo>
                  <a:lnTo>
                    <a:pt x="10418" y="21284"/>
                  </a:lnTo>
                  <a:cubicBezTo>
                    <a:pt x="10516" y="21480"/>
                    <a:pt x="10651" y="21600"/>
                    <a:pt x="10800" y="21600"/>
                  </a:cubicBezTo>
                  <a:cubicBezTo>
                    <a:pt x="10949" y="21600"/>
                    <a:pt x="11084" y="21480"/>
                    <a:pt x="11182" y="21284"/>
                  </a:cubicBezTo>
                  <a:lnTo>
                    <a:pt x="21442" y="1844"/>
                  </a:lnTo>
                  <a:cubicBezTo>
                    <a:pt x="21540" y="1648"/>
                    <a:pt x="21600" y="1378"/>
                    <a:pt x="21600" y="1080"/>
                  </a:cubicBezTo>
                  <a:cubicBezTo>
                    <a:pt x="21600" y="483"/>
                    <a:pt x="21358" y="0"/>
                    <a:pt x="2106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00">
              <a:extLst>
                <a:ext uri="{FF2B5EF4-FFF2-40B4-BE49-F238E27FC236}">
                  <a16:creationId xmlns:a16="http://schemas.microsoft.com/office/drawing/2014/main" id="{96BE70F7-5DF6-47EE-95AD-6B7DDE49D117}"/>
                </a:ext>
              </a:extLst>
            </p:cNvPr>
            <p:cNvSpPr/>
            <p:nvPr/>
          </p:nvSpPr>
          <p:spPr bwMode="gray">
            <a:xfrm>
              <a:off x="4495936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42" y="19756"/>
                  </a:moveTo>
                  <a:lnTo>
                    <a:pt x="11182" y="316"/>
                  </a:lnTo>
                  <a:cubicBezTo>
                    <a:pt x="11084" y="121"/>
                    <a:pt x="10949" y="0"/>
                    <a:pt x="10800" y="0"/>
                  </a:cubicBezTo>
                  <a:cubicBezTo>
                    <a:pt x="10651" y="0"/>
                    <a:pt x="10516" y="121"/>
                    <a:pt x="10418" y="316"/>
                  </a:cubicBezTo>
                  <a:lnTo>
                    <a:pt x="158" y="19756"/>
                  </a:lnTo>
                  <a:cubicBezTo>
                    <a:pt x="60" y="19953"/>
                    <a:pt x="0" y="20222"/>
                    <a:pt x="0" y="20520"/>
                  </a:cubicBezTo>
                  <a:cubicBezTo>
                    <a:pt x="0" y="21117"/>
                    <a:pt x="242" y="21600"/>
                    <a:pt x="540" y="21600"/>
                  </a:cubicBezTo>
                  <a:cubicBezTo>
                    <a:pt x="689" y="21600"/>
                    <a:pt x="824" y="21480"/>
                    <a:pt x="922" y="21284"/>
                  </a:cubicBezTo>
                  <a:lnTo>
                    <a:pt x="10800" y="2567"/>
                  </a:lnTo>
                  <a:lnTo>
                    <a:pt x="20678" y="21284"/>
                  </a:lnTo>
                  <a:cubicBezTo>
                    <a:pt x="20776" y="21480"/>
                    <a:pt x="20911" y="21600"/>
                    <a:pt x="21060" y="21600"/>
                  </a:cubicBezTo>
                  <a:cubicBezTo>
                    <a:pt x="21358" y="21600"/>
                    <a:pt x="21600" y="21117"/>
                    <a:pt x="21600" y="20520"/>
                  </a:cubicBezTo>
                  <a:cubicBezTo>
                    <a:pt x="21600" y="20222"/>
                    <a:pt x="21540" y="19953"/>
                    <a:pt x="21442" y="197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01">
              <a:extLst>
                <a:ext uri="{FF2B5EF4-FFF2-40B4-BE49-F238E27FC236}">
                  <a16:creationId xmlns:a16="http://schemas.microsoft.com/office/drawing/2014/main" id="{6B70DCB1-0BD5-4C51-8F11-800CE7F08DB0}"/>
                </a:ext>
              </a:extLst>
            </p:cNvPr>
            <p:cNvSpPr/>
            <p:nvPr/>
          </p:nvSpPr>
          <p:spPr bwMode="gray">
            <a:xfrm>
              <a:off x="5115386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567" y="10800"/>
                  </a:moveTo>
                  <a:lnTo>
                    <a:pt x="21284" y="922"/>
                  </a:lnTo>
                  <a:cubicBezTo>
                    <a:pt x="21480" y="824"/>
                    <a:pt x="21600" y="689"/>
                    <a:pt x="21600" y="540"/>
                  </a:cubicBezTo>
                  <a:cubicBezTo>
                    <a:pt x="21600" y="242"/>
                    <a:pt x="21117" y="0"/>
                    <a:pt x="20520" y="0"/>
                  </a:cubicBezTo>
                  <a:cubicBezTo>
                    <a:pt x="20222" y="0"/>
                    <a:pt x="19953" y="61"/>
                    <a:pt x="19756" y="158"/>
                  </a:cubicBezTo>
                  <a:lnTo>
                    <a:pt x="316" y="10418"/>
                  </a:lnTo>
                  <a:cubicBezTo>
                    <a:pt x="121" y="10516"/>
                    <a:pt x="0" y="10651"/>
                    <a:pt x="0" y="10800"/>
                  </a:cubicBezTo>
                  <a:cubicBezTo>
                    <a:pt x="0" y="10949"/>
                    <a:pt x="120" y="11084"/>
                    <a:pt x="316" y="11182"/>
                  </a:cubicBezTo>
                  <a:lnTo>
                    <a:pt x="19756" y="21442"/>
                  </a:lnTo>
                  <a:cubicBezTo>
                    <a:pt x="19953" y="21540"/>
                    <a:pt x="20222" y="21600"/>
                    <a:pt x="20520" y="21600"/>
                  </a:cubicBezTo>
                  <a:cubicBezTo>
                    <a:pt x="21117" y="21600"/>
                    <a:pt x="21600" y="21358"/>
                    <a:pt x="21600" y="21060"/>
                  </a:cubicBezTo>
                  <a:cubicBezTo>
                    <a:pt x="21600" y="20911"/>
                    <a:pt x="21480" y="20776"/>
                    <a:pt x="21284" y="20678"/>
                  </a:cubicBezTo>
                  <a:cubicBezTo>
                    <a:pt x="21284" y="20678"/>
                    <a:pt x="2567" y="10800"/>
                    <a:pt x="2567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02">
              <a:extLst>
                <a:ext uri="{FF2B5EF4-FFF2-40B4-BE49-F238E27FC236}">
                  <a16:creationId xmlns:a16="http://schemas.microsoft.com/office/drawing/2014/main" id="{9C282FCD-72F3-4CF0-BEE1-08C3A296B05C}"/>
                </a:ext>
              </a:extLst>
            </p:cNvPr>
            <p:cNvSpPr/>
            <p:nvPr/>
          </p:nvSpPr>
          <p:spPr bwMode="gray">
            <a:xfrm>
              <a:off x="5668938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84" y="10418"/>
                  </a:moveTo>
                  <a:lnTo>
                    <a:pt x="1844" y="158"/>
                  </a:lnTo>
                  <a:cubicBezTo>
                    <a:pt x="1648" y="61"/>
                    <a:pt x="1378" y="0"/>
                    <a:pt x="1080" y="0"/>
                  </a:cubicBezTo>
                  <a:cubicBezTo>
                    <a:pt x="483" y="0"/>
                    <a:pt x="0" y="242"/>
                    <a:pt x="0" y="540"/>
                  </a:cubicBezTo>
                  <a:cubicBezTo>
                    <a:pt x="0" y="689"/>
                    <a:pt x="121" y="824"/>
                    <a:pt x="316" y="922"/>
                  </a:cubicBezTo>
                  <a:lnTo>
                    <a:pt x="19033" y="10800"/>
                  </a:lnTo>
                  <a:lnTo>
                    <a:pt x="316" y="20678"/>
                  </a:lnTo>
                  <a:cubicBezTo>
                    <a:pt x="121" y="20776"/>
                    <a:pt x="0" y="20911"/>
                    <a:pt x="0" y="21060"/>
                  </a:cubicBezTo>
                  <a:cubicBezTo>
                    <a:pt x="0" y="21358"/>
                    <a:pt x="483" y="21600"/>
                    <a:pt x="1080" y="21600"/>
                  </a:cubicBezTo>
                  <a:cubicBezTo>
                    <a:pt x="1378" y="21600"/>
                    <a:pt x="1648" y="21540"/>
                    <a:pt x="1844" y="21442"/>
                  </a:cubicBezTo>
                  <a:lnTo>
                    <a:pt x="21284" y="11182"/>
                  </a:lnTo>
                  <a:cubicBezTo>
                    <a:pt x="21479" y="11084"/>
                    <a:pt x="21600" y="10949"/>
                    <a:pt x="21600" y="10800"/>
                  </a:cubicBezTo>
                  <a:cubicBezTo>
                    <a:pt x="21600" y="10651"/>
                    <a:pt x="21479" y="10516"/>
                    <a:pt x="21284" y="10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03">
              <a:extLst>
                <a:ext uri="{FF2B5EF4-FFF2-40B4-BE49-F238E27FC236}">
                  <a16:creationId xmlns:a16="http://schemas.microsoft.com/office/drawing/2014/main" id="{72A0A211-0B66-48D3-A079-473FBE60C2CB}"/>
                </a:ext>
              </a:extLst>
            </p:cNvPr>
            <p:cNvSpPr/>
            <p:nvPr/>
          </p:nvSpPr>
          <p:spPr bwMode="gray">
            <a:xfrm>
              <a:off x="60789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6200" y="8836"/>
                  </a:moveTo>
                  <a:cubicBezTo>
                    <a:pt x="16065" y="8836"/>
                    <a:pt x="15942" y="8891"/>
                    <a:pt x="15852" y="8980"/>
                  </a:cubicBezTo>
                  <a:lnTo>
                    <a:pt x="10800" y="13574"/>
                  </a:lnTo>
                  <a:lnTo>
                    <a:pt x="5747" y="8980"/>
                  </a:lnTo>
                  <a:cubicBezTo>
                    <a:pt x="5658" y="8891"/>
                    <a:pt x="5535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63"/>
                    <a:pt x="4964" y="9586"/>
                    <a:pt x="5053" y="9674"/>
                  </a:cubicBezTo>
                  <a:lnTo>
                    <a:pt x="10453" y="14583"/>
                  </a:lnTo>
                  <a:cubicBezTo>
                    <a:pt x="10542" y="14673"/>
                    <a:pt x="10665" y="14727"/>
                    <a:pt x="10800" y="14727"/>
                  </a:cubicBezTo>
                  <a:cubicBezTo>
                    <a:pt x="10935" y="14727"/>
                    <a:pt x="11058" y="14673"/>
                    <a:pt x="11147" y="14583"/>
                  </a:cubicBezTo>
                  <a:lnTo>
                    <a:pt x="16547" y="9674"/>
                  </a:lnTo>
                  <a:cubicBezTo>
                    <a:pt x="16636" y="9586"/>
                    <a:pt x="16691" y="9463"/>
                    <a:pt x="16691" y="9327"/>
                  </a:cubicBezTo>
                  <a:cubicBezTo>
                    <a:pt x="16691" y="9056"/>
                    <a:pt x="16471" y="8836"/>
                    <a:pt x="162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904">
              <a:extLst>
                <a:ext uri="{FF2B5EF4-FFF2-40B4-BE49-F238E27FC236}">
                  <a16:creationId xmlns:a16="http://schemas.microsoft.com/office/drawing/2014/main" id="{A712E849-C4DE-4670-9A86-49A8EE353EB4}"/>
                </a:ext>
              </a:extLst>
            </p:cNvPr>
            <p:cNvSpPr/>
            <p:nvPr/>
          </p:nvSpPr>
          <p:spPr bwMode="gray">
            <a:xfrm>
              <a:off x="116144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47" y="7017"/>
                  </a:moveTo>
                  <a:cubicBezTo>
                    <a:pt x="11058" y="6927"/>
                    <a:pt x="10935" y="6873"/>
                    <a:pt x="10800" y="6873"/>
                  </a:cubicBezTo>
                  <a:cubicBezTo>
                    <a:pt x="10665" y="6873"/>
                    <a:pt x="10542" y="6927"/>
                    <a:pt x="10453" y="7017"/>
                  </a:cubicBezTo>
                  <a:lnTo>
                    <a:pt x="5053" y="11926"/>
                  </a:lnTo>
                  <a:cubicBezTo>
                    <a:pt x="4964" y="12015"/>
                    <a:pt x="4909" y="12138"/>
                    <a:pt x="4909" y="12273"/>
                  </a:cubicBezTo>
                  <a:cubicBezTo>
                    <a:pt x="4909" y="12544"/>
                    <a:pt x="5129" y="12764"/>
                    <a:pt x="5400" y="12764"/>
                  </a:cubicBezTo>
                  <a:cubicBezTo>
                    <a:pt x="5535" y="12764"/>
                    <a:pt x="5658" y="12709"/>
                    <a:pt x="5747" y="12620"/>
                  </a:cubicBezTo>
                  <a:lnTo>
                    <a:pt x="10800" y="8026"/>
                  </a:lnTo>
                  <a:lnTo>
                    <a:pt x="15853" y="12620"/>
                  </a:lnTo>
                  <a:cubicBezTo>
                    <a:pt x="15942" y="12709"/>
                    <a:pt x="16065" y="12764"/>
                    <a:pt x="16200" y="12764"/>
                  </a:cubicBezTo>
                  <a:cubicBezTo>
                    <a:pt x="16471" y="12764"/>
                    <a:pt x="16691" y="12544"/>
                    <a:pt x="16691" y="12273"/>
                  </a:cubicBezTo>
                  <a:cubicBezTo>
                    <a:pt x="16691" y="12138"/>
                    <a:pt x="16636" y="12015"/>
                    <a:pt x="16547" y="11926"/>
                  </a:cubicBezTo>
                  <a:cubicBezTo>
                    <a:pt x="16547" y="11926"/>
                    <a:pt x="11147" y="7017"/>
                    <a:pt x="11147" y="7017"/>
                  </a:cubicBezTo>
                  <a:close/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905">
              <a:extLst>
                <a:ext uri="{FF2B5EF4-FFF2-40B4-BE49-F238E27FC236}">
                  <a16:creationId xmlns:a16="http://schemas.microsoft.com/office/drawing/2014/main" id="{34B3CAB0-6BB3-49FD-B556-0A4A10F2C52B}"/>
                </a:ext>
              </a:extLst>
            </p:cNvPr>
            <p:cNvSpPr/>
            <p:nvPr/>
          </p:nvSpPr>
          <p:spPr bwMode="gray">
            <a:xfrm>
              <a:off x="171499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764" y="5400"/>
                  </a:moveTo>
                  <a:cubicBezTo>
                    <a:pt x="12764" y="5129"/>
                    <a:pt x="12544" y="4909"/>
                    <a:pt x="12273" y="4909"/>
                  </a:cubicBezTo>
                  <a:cubicBezTo>
                    <a:pt x="12137" y="4909"/>
                    <a:pt x="12015" y="4964"/>
                    <a:pt x="11926" y="5053"/>
                  </a:cubicBezTo>
                  <a:lnTo>
                    <a:pt x="7017" y="10453"/>
                  </a:lnTo>
                  <a:cubicBezTo>
                    <a:pt x="6928" y="10542"/>
                    <a:pt x="6873" y="10665"/>
                    <a:pt x="6873" y="10800"/>
                  </a:cubicBezTo>
                  <a:cubicBezTo>
                    <a:pt x="6873" y="10936"/>
                    <a:pt x="6928" y="11058"/>
                    <a:pt x="7017" y="11147"/>
                  </a:cubicBezTo>
                  <a:lnTo>
                    <a:pt x="11926" y="16547"/>
                  </a:lnTo>
                  <a:cubicBezTo>
                    <a:pt x="12015" y="16636"/>
                    <a:pt x="12137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65"/>
                    <a:pt x="12709" y="15942"/>
                    <a:pt x="12620" y="15853"/>
                  </a:cubicBezTo>
                  <a:lnTo>
                    <a:pt x="8026" y="10800"/>
                  </a:lnTo>
                  <a:lnTo>
                    <a:pt x="12620" y="5747"/>
                  </a:lnTo>
                  <a:cubicBezTo>
                    <a:pt x="12709" y="5658"/>
                    <a:pt x="12764" y="5536"/>
                    <a:pt x="12764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906">
              <a:extLst>
                <a:ext uri="{FF2B5EF4-FFF2-40B4-BE49-F238E27FC236}">
                  <a16:creationId xmlns:a16="http://schemas.microsoft.com/office/drawing/2014/main" id="{DF640D56-2082-4B6B-888F-A986A73CD35B}"/>
                </a:ext>
              </a:extLst>
            </p:cNvPr>
            <p:cNvSpPr/>
            <p:nvPr/>
          </p:nvSpPr>
          <p:spPr bwMode="gray">
            <a:xfrm>
              <a:off x="226855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9674" y="5053"/>
                  </a:moveTo>
                  <a:cubicBezTo>
                    <a:pt x="9585" y="4964"/>
                    <a:pt x="9463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36"/>
                    <a:pt x="8891" y="5658"/>
                    <a:pt x="8980" y="5747"/>
                  </a:cubicBezTo>
                  <a:lnTo>
                    <a:pt x="13574" y="10800"/>
                  </a:lnTo>
                  <a:lnTo>
                    <a:pt x="8980" y="15853"/>
                  </a:lnTo>
                  <a:cubicBezTo>
                    <a:pt x="8891" y="15942"/>
                    <a:pt x="8836" y="16065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63" y="16691"/>
                    <a:pt x="9585" y="16636"/>
                    <a:pt x="9674" y="16547"/>
                  </a:cubicBezTo>
                  <a:lnTo>
                    <a:pt x="14583" y="11147"/>
                  </a:lnTo>
                  <a:cubicBezTo>
                    <a:pt x="14672" y="11058"/>
                    <a:pt x="14727" y="10936"/>
                    <a:pt x="14727" y="10800"/>
                  </a:cubicBezTo>
                  <a:cubicBezTo>
                    <a:pt x="14727" y="10665"/>
                    <a:pt x="14672" y="10542"/>
                    <a:pt x="14583" y="10453"/>
                  </a:cubicBezTo>
                  <a:cubicBezTo>
                    <a:pt x="14583" y="10453"/>
                    <a:pt x="9674" y="5053"/>
                    <a:pt x="9674" y="505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907">
              <a:extLst>
                <a:ext uri="{FF2B5EF4-FFF2-40B4-BE49-F238E27FC236}">
                  <a16:creationId xmlns:a16="http://schemas.microsoft.com/office/drawing/2014/main" id="{D5031C06-CB63-466D-958A-350797BD5F77}"/>
                </a:ext>
              </a:extLst>
            </p:cNvPr>
            <p:cNvSpPr/>
            <p:nvPr/>
          </p:nvSpPr>
          <p:spPr bwMode="gray">
            <a:xfrm>
              <a:off x="282210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73" y="235"/>
                  </a:moveTo>
                  <a:cubicBezTo>
                    <a:pt x="12909" y="205"/>
                    <a:pt x="12840" y="184"/>
                    <a:pt x="12764" y="184"/>
                  </a:cubicBezTo>
                  <a:cubicBezTo>
                    <a:pt x="12493" y="184"/>
                    <a:pt x="12273" y="404"/>
                    <a:pt x="12273" y="675"/>
                  </a:cubicBezTo>
                  <a:cubicBezTo>
                    <a:pt x="12273" y="946"/>
                    <a:pt x="12493" y="1166"/>
                    <a:pt x="12764" y="1166"/>
                  </a:cubicBezTo>
                  <a:lnTo>
                    <a:pt x="12764" y="1179"/>
                  </a:lnTo>
                  <a:cubicBezTo>
                    <a:pt x="17245" y="2089"/>
                    <a:pt x="20618" y="6050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6050"/>
                    <a:pt x="4355" y="2089"/>
                    <a:pt x="8836" y="1179"/>
                  </a:cubicBezTo>
                  <a:lnTo>
                    <a:pt x="8836" y="1166"/>
                  </a:lnTo>
                  <a:cubicBezTo>
                    <a:pt x="9107" y="1166"/>
                    <a:pt x="9327" y="946"/>
                    <a:pt x="9327" y="675"/>
                  </a:cubicBezTo>
                  <a:cubicBezTo>
                    <a:pt x="9327" y="404"/>
                    <a:pt x="9107" y="184"/>
                    <a:pt x="8836" y="184"/>
                  </a:cubicBezTo>
                  <a:cubicBezTo>
                    <a:pt x="8761" y="184"/>
                    <a:pt x="8691" y="205"/>
                    <a:pt x="8627" y="235"/>
                  </a:cubicBezTo>
                  <a:cubicBezTo>
                    <a:pt x="3706" y="1243"/>
                    <a:pt x="0" y="5582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5582"/>
                    <a:pt x="17893" y="1243"/>
                    <a:pt x="12973" y="235"/>
                  </a:cubicBezTo>
                  <a:moveTo>
                    <a:pt x="6873" y="9818"/>
                  </a:moveTo>
                  <a:cubicBezTo>
                    <a:pt x="6602" y="9818"/>
                    <a:pt x="6382" y="10038"/>
                    <a:pt x="6382" y="10309"/>
                  </a:cubicBezTo>
                  <a:cubicBezTo>
                    <a:pt x="6382" y="10445"/>
                    <a:pt x="6437" y="10567"/>
                    <a:pt x="6526" y="10656"/>
                  </a:cubicBezTo>
                  <a:lnTo>
                    <a:pt x="10453" y="14583"/>
                  </a:lnTo>
                  <a:cubicBezTo>
                    <a:pt x="10542" y="14673"/>
                    <a:pt x="10664" y="14727"/>
                    <a:pt x="10800" y="14727"/>
                  </a:cubicBezTo>
                  <a:cubicBezTo>
                    <a:pt x="10936" y="14727"/>
                    <a:pt x="11059" y="14673"/>
                    <a:pt x="11147" y="14583"/>
                  </a:cubicBezTo>
                  <a:lnTo>
                    <a:pt x="15074" y="10656"/>
                  </a:lnTo>
                  <a:cubicBezTo>
                    <a:pt x="15163" y="10567"/>
                    <a:pt x="15218" y="10445"/>
                    <a:pt x="15218" y="10309"/>
                  </a:cubicBezTo>
                  <a:cubicBezTo>
                    <a:pt x="15218" y="10038"/>
                    <a:pt x="14998" y="9818"/>
                    <a:pt x="14727" y="9818"/>
                  </a:cubicBezTo>
                  <a:cubicBezTo>
                    <a:pt x="14592" y="9818"/>
                    <a:pt x="14469" y="9873"/>
                    <a:pt x="14380" y="9962"/>
                  </a:cubicBezTo>
                  <a:lnTo>
                    <a:pt x="11291" y="13051"/>
                  </a:ln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3051"/>
                  </a:lnTo>
                  <a:lnTo>
                    <a:pt x="7220" y="9962"/>
                  </a:lnTo>
                  <a:cubicBezTo>
                    <a:pt x="7131" y="9873"/>
                    <a:pt x="7009" y="9818"/>
                    <a:pt x="6873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908">
              <a:extLst>
                <a:ext uri="{FF2B5EF4-FFF2-40B4-BE49-F238E27FC236}">
                  <a16:creationId xmlns:a16="http://schemas.microsoft.com/office/drawing/2014/main" id="{F8B47EAA-A801-41E6-85E9-F3CD20F3CB25}"/>
                </a:ext>
              </a:extLst>
            </p:cNvPr>
            <p:cNvSpPr/>
            <p:nvPr/>
          </p:nvSpPr>
          <p:spPr bwMode="gray">
            <a:xfrm>
              <a:off x="3375653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397"/>
                  </a:moveTo>
                  <a:lnTo>
                    <a:pt x="1638" y="1800"/>
                  </a:lnTo>
                  <a:lnTo>
                    <a:pt x="19962" y="1800"/>
                  </a:lnTo>
                  <a:cubicBezTo>
                    <a:pt x="19962" y="1800"/>
                    <a:pt x="10800" y="19397"/>
                    <a:pt x="10800" y="19397"/>
                  </a:cubicBezTo>
                  <a:close/>
                  <a:moveTo>
                    <a:pt x="21600" y="900"/>
                  </a:moveTo>
                  <a:cubicBezTo>
                    <a:pt x="21600" y="403"/>
                    <a:pt x="21380" y="0"/>
                    <a:pt x="21109" y="0"/>
                  </a:cubicBezTo>
                  <a:lnTo>
                    <a:pt x="491" y="0"/>
                  </a:lnTo>
                  <a:cubicBezTo>
                    <a:pt x="220" y="0"/>
                    <a:pt x="0" y="403"/>
                    <a:pt x="0" y="900"/>
                  </a:cubicBezTo>
                  <a:cubicBezTo>
                    <a:pt x="0" y="1141"/>
                    <a:pt x="53" y="1357"/>
                    <a:pt x="137" y="1519"/>
                  </a:cubicBezTo>
                  <a:lnTo>
                    <a:pt x="136" y="1521"/>
                  </a:lnTo>
                  <a:lnTo>
                    <a:pt x="10445" y="21321"/>
                  </a:lnTo>
                  <a:lnTo>
                    <a:pt x="10446" y="21319"/>
                  </a:lnTo>
                  <a:cubicBezTo>
                    <a:pt x="10536" y="21491"/>
                    <a:pt x="10660" y="21600"/>
                    <a:pt x="10800" y="21600"/>
                  </a:cubicBezTo>
                  <a:cubicBezTo>
                    <a:pt x="10940" y="21600"/>
                    <a:pt x="11064" y="21491"/>
                    <a:pt x="11154" y="21319"/>
                  </a:cubicBezTo>
                  <a:lnTo>
                    <a:pt x="11155" y="21321"/>
                  </a:lnTo>
                  <a:lnTo>
                    <a:pt x="21464" y="1521"/>
                  </a:lnTo>
                  <a:lnTo>
                    <a:pt x="21463" y="1519"/>
                  </a:lnTo>
                  <a:cubicBezTo>
                    <a:pt x="21547" y="1357"/>
                    <a:pt x="21600" y="1141"/>
                    <a:pt x="21600" y="9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909">
              <a:extLst>
                <a:ext uri="{FF2B5EF4-FFF2-40B4-BE49-F238E27FC236}">
                  <a16:creationId xmlns:a16="http://schemas.microsoft.com/office/drawing/2014/main" id="{44294CF1-84FE-4500-9730-5B347E729B77}"/>
                </a:ext>
              </a:extLst>
            </p:cNvPr>
            <p:cNvSpPr/>
            <p:nvPr/>
          </p:nvSpPr>
          <p:spPr bwMode="gray">
            <a:xfrm>
              <a:off x="3929204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8" y="19800"/>
                  </a:moveTo>
                  <a:lnTo>
                    <a:pt x="10800" y="2203"/>
                  </a:lnTo>
                  <a:lnTo>
                    <a:pt x="19962" y="19800"/>
                  </a:lnTo>
                  <a:cubicBezTo>
                    <a:pt x="19962" y="19800"/>
                    <a:pt x="1638" y="19800"/>
                    <a:pt x="1638" y="19800"/>
                  </a:cubicBezTo>
                  <a:close/>
                  <a:moveTo>
                    <a:pt x="21463" y="20081"/>
                  </a:moveTo>
                  <a:lnTo>
                    <a:pt x="21464" y="20079"/>
                  </a:lnTo>
                  <a:lnTo>
                    <a:pt x="11155" y="279"/>
                  </a:lnTo>
                  <a:lnTo>
                    <a:pt x="11154" y="282"/>
                  </a:lnTo>
                  <a:cubicBezTo>
                    <a:pt x="11064" y="109"/>
                    <a:pt x="10940" y="0"/>
                    <a:pt x="10800" y="0"/>
                  </a:cubicBezTo>
                  <a:cubicBezTo>
                    <a:pt x="10660" y="0"/>
                    <a:pt x="10536" y="109"/>
                    <a:pt x="10446" y="282"/>
                  </a:cubicBezTo>
                  <a:lnTo>
                    <a:pt x="10445" y="279"/>
                  </a:lnTo>
                  <a:lnTo>
                    <a:pt x="136" y="20079"/>
                  </a:lnTo>
                  <a:lnTo>
                    <a:pt x="137" y="20081"/>
                  </a:lnTo>
                  <a:cubicBezTo>
                    <a:pt x="54" y="20243"/>
                    <a:pt x="0" y="20459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20459"/>
                    <a:pt x="21547" y="20243"/>
                    <a:pt x="21463" y="2008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910">
              <a:extLst>
                <a:ext uri="{FF2B5EF4-FFF2-40B4-BE49-F238E27FC236}">
                  <a16:creationId xmlns:a16="http://schemas.microsoft.com/office/drawing/2014/main" id="{5E58547E-4FD8-499E-A970-D6DDCE800718}"/>
                </a:ext>
              </a:extLst>
            </p:cNvPr>
            <p:cNvSpPr/>
            <p:nvPr/>
          </p:nvSpPr>
          <p:spPr bwMode="gray">
            <a:xfrm>
              <a:off x="4548655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800" y="19962"/>
                  </a:moveTo>
                  <a:lnTo>
                    <a:pt x="2203" y="10800"/>
                  </a:lnTo>
                  <a:lnTo>
                    <a:pt x="19800" y="1638"/>
                  </a:lnTo>
                  <a:cubicBezTo>
                    <a:pt x="19800" y="1638"/>
                    <a:pt x="19800" y="19962"/>
                    <a:pt x="19800" y="19962"/>
                  </a:cubicBezTo>
                  <a:close/>
                  <a:moveTo>
                    <a:pt x="20700" y="0"/>
                  </a:moveTo>
                  <a:cubicBezTo>
                    <a:pt x="20459" y="0"/>
                    <a:pt x="20243" y="53"/>
                    <a:pt x="20080" y="137"/>
                  </a:cubicBezTo>
                  <a:lnTo>
                    <a:pt x="20079" y="136"/>
                  </a:lnTo>
                  <a:lnTo>
                    <a:pt x="279" y="10445"/>
                  </a:lnTo>
                  <a:lnTo>
                    <a:pt x="281" y="10446"/>
                  </a:lnTo>
                  <a:cubicBezTo>
                    <a:pt x="109" y="10536"/>
                    <a:pt x="0" y="10660"/>
                    <a:pt x="0" y="10800"/>
                  </a:cubicBezTo>
                  <a:cubicBezTo>
                    <a:pt x="0" y="10940"/>
                    <a:pt x="109" y="11065"/>
                    <a:pt x="281" y="11154"/>
                  </a:cubicBezTo>
                  <a:lnTo>
                    <a:pt x="279" y="11155"/>
                  </a:lnTo>
                  <a:lnTo>
                    <a:pt x="20079" y="21465"/>
                  </a:lnTo>
                  <a:lnTo>
                    <a:pt x="20080" y="21463"/>
                  </a:lnTo>
                  <a:cubicBezTo>
                    <a:pt x="20243" y="21547"/>
                    <a:pt x="20459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911">
              <a:extLst>
                <a:ext uri="{FF2B5EF4-FFF2-40B4-BE49-F238E27FC236}">
                  <a16:creationId xmlns:a16="http://schemas.microsoft.com/office/drawing/2014/main" id="{778ABCB1-693F-4DC6-B6D5-C10782B41CBE}"/>
                </a:ext>
              </a:extLst>
            </p:cNvPr>
            <p:cNvSpPr/>
            <p:nvPr/>
          </p:nvSpPr>
          <p:spPr bwMode="gray">
            <a:xfrm>
              <a:off x="5102206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00" y="19962"/>
                  </a:moveTo>
                  <a:lnTo>
                    <a:pt x="1800" y="1638"/>
                  </a:lnTo>
                  <a:lnTo>
                    <a:pt x="19397" y="10800"/>
                  </a:lnTo>
                  <a:cubicBezTo>
                    <a:pt x="19397" y="10800"/>
                    <a:pt x="1800" y="19962"/>
                    <a:pt x="1800" y="19962"/>
                  </a:cubicBezTo>
                  <a:close/>
                  <a:moveTo>
                    <a:pt x="21600" y="10800"/>
                  </a:moveTo>
                  <a:cubicBezTo>
                    <a:pt x="21600" y="10660"/>
                    <a:pt x="21491" y="10536"/>
                    <a:pt x="21318" y="10446"/>
                  </a:cubicBezTo>
                  <a:lnTo>
                    <a:pt x="21321" y="10445"/>
                  </a:lnTo>
                  <a:lnTo>
                    <a:pt x="1521" y="136"/>
                  </a:lnTo>
                  <a:lnTo>
                    <a:pt x="1519" y="137"/>
                  </a:lnTo>
                  <a:cubicBezTo>
                    <a:pt x="1357" y="53"/>
                    <a:pt x="1141" y="0"/>
                    <a:pt x="900" y="0"/>
                  </a:cubicBez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41" y="21600"/>
                    <a:pt x="1357" y="21547"/>
                    <a:pt x="1519" y="21463"/>
                  </a:cubicBezTo>
                  <a:lnTo>
                    <a:pt x="1521" y="21465"/>
                  </a:lnTo>
                  <a:lnTo>
                    <a:pt x="21321" y="11155"/>
                  </a:lnTo>
                  <a:lnTo>
                    <a:pt x="21318" y="11154"/>
                  </a:lnTo>
                  <a:cubicBezTo>
                    <a:pt x="21491" y="11065"/>
                    <a:pt x="21600" y="10940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912">
              <a:extLst>
                <a:ext uri="{FF2B5EF4-FFF2-40B4-BE49-F238E27FC236}">
                  <a16:creationId xmlns:a16="http://schemas.microsoft.com/office/drawing/2014/main" id="{DEBBA3FB-FF4D-41A3-B6B7-31EFC78E7817}"/>
                </a:ext>
              </a:extLst>
            </p:cNvPr>
            <p:cNvSpPr/>
            <p:nvPr/>
          </p:nvSpPr>
          <p:spPr bwMode="gray">
            <a:xfrm>
              <a:off x="5589859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453"/>
                  </a:moveTo>
                  <a:lnTo>
                    <a:pt x="18511" y="7507"/>
                  </a:lnTo>
                  <a:cubicBezTo>
                    <a:pt x="18422" y="7419"/>
                    <a:pt x="18299" y="7364"/>
                    <a:pt x="18164" y="7364"/>
                  </a:cubicBezTo>
                  <a:cubicBezTo>
                    <a:pt x="17892" y="7364"/>
                    <a:pt x="17673" y="7584"/>
                    <a:pt x="17673" y="7855"/>
                  </a:cubicBezTo>
                  <a:cubicBezTo>
                    <a:pt x="17673" y="7990"/>
                    <a:pt x="17728" y="8113"/>
                    <a:pt x="17817" y="8202"/>
                  </a:cubicBezTo>
                  <a:lnTo>
                    <a:pt x="19924" y="10309"/>
                  </a:lnTo>
                  <a:lnTo>
                    <a:pt x="11291" y="10309"/>
                  </a:lnTo>
                  <a:lnTo>
                    <a:pt x="11291" y="1676"/>
                  </a:lnTo>
                  <a:lnTo>
                    <a:pt x="13398" y="3783"/>
                  </a:lnTo>
                  <a:cubicBezTo>
                    <a:pt x="13487" y="3873"/>
                    <a:pt x="13610" y="3927"/>
                    <a:pt x="13745" y="3927"/>
                  </a:cubicBezTo>
                  <a:cubicBezTo>
                    <a:pt x="14017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8" y="55"/>
                    <a:pt x="10936" y="0"/>
                    <a:pt x="10800" y="0"/>
                  </a:cubicBezTo>
                  <a:cubicBezTo>
                    <a:pt x="10665" y="0"/>
                    <a:pt x="10542" y="55"/>
                    <a:pt x="10453" y="144"/>
                  </a:cubicBezTo>
                  <a:lnTo>
                    <a:pt x="7507" y="3089"/>
                  </a:lnTo>
                  <a:cubicBezTo>
                    <a:pt x="7418" y="3178"/>
                    <a:pt x="7364" y="3301"/>
                    <a:pt x="7364" y="3436"/>
                  </a:cubicBezTo>
                  <a:cubicBezTo>
                    <a:pt x="7364" y="3708"/>
                    <a:pt x="7583" y="3927"/>
                    <a:pt x="7855" y="3927"/>
                  </a:cubicBezTo>
                  <a:cubicBezTo>
                    <a:pt x="7990" y="3927"/>
                    <a:pt x="8113" y="3873"/>
                    <a:pt x="8202" y="3783"/>
                  </a:cubicBezTo>
                  <a:lnTo>
                    <a:pt x="10309" y="1676"/>
                  </a:lnTo>
                  <a:lnTo>
                    <a:pt x="10309" y="10309"/>
                  </a:lnTo>
                  <a:lnTo>
                    <a:pt x="1676" y="10309"/>
                  </a:lnTo>
                  <a:lnTo>
                    <a:pt x="3783" y="8202"/>
                  </a:lnTo>
                  <a:cubicBezTo>
                    <a:pt x="3873" y="8113"/>
                    <a:pt x="3927" y="7990"/>
                    <a:pt x="3927" y="7855"/>
                  </a:cubicBezTo>
                  <a:cubicBezTo>
                    <a:pt x="3927" y="7584"/>
                    <a:pt x="3708" y="7364"/>
                    <a:pt x="3436" y="7364"/>
                  </a:cubicBezTo>
                  <a:cubicBezTo>
                    <a:pt x="3301" y="7364"/>
                    <a:pt x="3178" y="7419"/>
                    <a:pt x="3089" y="7507"/>
                  </a:cubicBezTo>
                  <a:lnTo>
                    <a:pt x="144" y="10453"/>
                  </a:lnTo>
                  <a:cubicBezTo>
                    <a:pt x="55" y="10542"/>
                    <a:pt x="0" y="10665"/>
                    <a:pt x="0" y="10800"/>
                  </a:cubicBezTo>
                  <a:cubicBezTo>
                    <a:pt x="0" y="10936"/>
                    <a:pt x="55" y="11058"/>
                    <a:pt x="144" y="11148"/>
                  </a:cubicBezTo>
                  <a:lnTo>
                    <a:pt x="3089" y="14093"/>
                  </a:lnTo>
                  <a:cubicBezTo>
                    <a:pt x="3178" y="14182"/>
                    <a:pt x="3301" y="14236"/>
                    <a:pt x="3436" y="14236"/>
                  </a:cubicBezTo>
                  <a:cubicBezTo>
                    <a:pt x="3708" y="14236"/>
                    <a:pt x="3927" y="14017"/>
                    <a:pt x="3927" y="13745"/>
                  </a:cubicBezTo>
                  <a:cubicBezTo>
                    <a:pt x="3927" y="13610"/>
                    <a:pt x="3873" y="13488"/>
                    <a:pt x="3783" y="13398"/>
                  </a:cubicBezTo>
                  <a:lnTo>
                    <a:pt x="1676" y="11291"/>
                  </a:lnTo>
                  <a:lnTo>
                    <a:pt x="10309" y="11291"/>
                  </a:lnTo>
                  <a:lnTo>
                    <a:pt x="10309" y="19924"/>
                  </a:lnTo>
                  <a:lnTo>
                    <a:pt x="8202" y="17817"/>
                  </a:lnTo>
                  <a:cubicBezTo>
                    <a:pt x="8113" y="17728"/>
                    <a:pt x="7990" y="17673"/>
                    <a:pt x="7855" y="17673"/>
                  </a:cubicBezTo>
                  <a:cubicBezTo>
                    <a:pt x="7583" y="17673"/>
                    <a:pt x="7364" y="17893"/>
                    <a:pt x="7364" y="18164"/>
                  </a:cubicBezTo>
                  <a:cubicBezTo>
                    <a:pt x="7364" y="18300"/>
                    <a:pt x="7418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6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2" y="18422"/>
                    <a:pt x="14236" y="18300"/>
                    <a:pt x="14236" y="18164"/>
                  </a:cubicBezTo>
                  <a:cubicBezTo>
                    <a:pt x="14236" y="17893"/>
                    <a:pt x="14017" y="17673"/>
                    <a:pt x="13745" y="17673"/>
                  </a:cubicBezTo>
                  <a:cubicBezTo>
                    <a:pt x="13610" y="17673"/>
                    <a:pt x="13487" y="17728"/>
                    <a:pt x="13398" y="17817"/>
                  </a:cubicBezTo>
                  <a:lnTo>
                    <a:pt x="11291" y="19924"/>
                  </a:lnTo>
                  <a:lnTo>
                    <a:pt x="11291" y="11291"/>
                  </a:lnTo>
                  <a:lnTo>
                    <a:pt x="19924" y="11291"/>
                  </a:lnTo>
                  <a:lnTo>
                    <a:pt x="17817" y="13398"/>
                  </a:lnTo>
                  <a:cubicBezTo>
                    <a:pt x="17728" y="13488"/>
                    <a:pt x="17673" y="13610"/>
                    <a:pt x="17673" y="13745"/>
                  </a:cubicBezTo>
                  <a:cubicBezTo>
                    <a:pt x="17673" y="14017"/>
                    <a:pt x="17892" y="14236"/>
                    <a:pt x="18164" y="14236"/>
                  </a:cubicBezTo>
                  <a:cubicBezTo>
                    <a:pt x="18299" y="14236"/>
                    <a:pt x="18422" y="14182"/>
                    <a:pt x="18511" y="14093"/>
                  </a:cubicBezTo>
                  <a:lnTo>
                    <a:pt x="21456" y="11148"/>
                  </a:lnTo>
                  <a:cubicBezTo>
                    <a:pt x="21545" y="11058"/>
                    <a:pt x="21600" y="10936"/>
                    <a:pt x="21600" y="10800"/>
                  </a:cubicBezTo>
                  <a:cubicBezTo>
                    <a:pt x="21600" y="10665"/>
                    <a:pt x="21545" y="10542"/>
                    <a:pt x="21456" y="104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913">
              <a:extLst>
                <a:ext uri="{FF2B5EF4-FFF2-40B4-BE49-F238E27FC236}">
                  <a16:creationId xmlns:a16="http://schemas.microsoft.com/office/drawing/2014/main" id="{2B2B3BB1-EED2-468E-8AD9-7E25B73FC2F5}"/>
                </a:ext>
              </a:extLst>
            </p:cNvPr>
            <p:cNvSpPr/>
            <p:nvPr/>
          </p:nvSpPr>
          <p:spPr bwMode="gray">
            <a:xfrm>
              <a:off x="6143411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200" y="7855"/>
                  </a:moveTo>
                  <a:cubicBezTo>
                    <a:pt x="16073" y="7855"/>
                    <a:pt x="15959" y="7905"/>
                    <a:pt x="15873" y="7985"/>
                  </a:cubicBezTo>
                  <a:lnTo>
                    <a:pt x="15870" y="7982"/>
                  </a:lnTo>
                  <a:lnTo>
                    <a:pt x="10800" y="12591"/>
                  </a:lnTo>
                  <a:lnTo>
                    <a:pt x="5730" y="7982"/>
                  </a:lnTo>
                  <a:lnTo>
                    <a:pt x="5727" y="7985"/>
                  </a:lnTo>
                  <a:cubicBezTo>
                    <a:pt x="5641" y="7905"/>
                    <a:pt x="5527" y="7855"/>
                    <a:pt x="5400" y="7855"/>
                  </a:cubicBezTo>
                  <a:cubicBezTo>
                    <a:pt x="5129" y="7855"/>
                    <a:pt x="4909" y="8074"/>
                    <a:pt x="4909" y="8345"/>
                  </a:cubicBezTo>
                  <a:cubicBezTo>
                    <a:pt x="4909" y="8489"/>
                    <a:pt x="4973" y="8616"/>
                    <a:pt x="5073" y="8706"/>
                  </a:cubicBezTo>
                  <a:lnTo>
                    <a:pt x="5070" y="8709"/>
                  </a:lnTo>
                  <a:lnTo>
                    <a:pt x="10470" y="13618"/>
                  </a:lnTo>
                  <a:lnTo>
                    <a:pt x="10473" y="13615"/>
                  </a:lnTo>
                  <a:cubicBezTo>
                    <a:pt x="10559" y="13695"/>
                    <a:pt x="10673" y="13745"/>
                    <a:pt x="10800" y="13745"/>
                  </a:cubicBezTo>
                  <a:cubicBezTo>
                    <a:pt x="10927" y="13745"/>
                    <a:pt x="11041" y="13695"/>
                    <a:pt x="11127" y="13615"/>
                  </a:cubicBezTo>
                  <a:lnTo>
                    <a:pt x="11130" y="13618"/>
                  </a:lnTo>
                  <a:lnTo>
                    <a:pt x="16530" y="8709"/>
                  </a:lnTo>
                  <a:lnTo>
                    <a:pt x="16527" y="8706"/>
                  </a:lnTo>
                  <a:cubicBezTo>
                    <a:pt x="16627" y="8616"/>
                    <a:pt x="16691" y="8489"/>
                    <a:pt x="16691" y="8345"/>
                  </a:cubicBezTo>
                  <a:cubicBezTo>
                    <a:pt x="16691" y="8074"/>
                    <a:pt x="16471" y="7855"/>
                    <a:pt x="162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914">
              <a:extLst>
                <a:ext uri="{FF2B5EF4-FFF2-40B4-BE49-F238E27FC236}">
                  <a16:creationId xmlns:a16="http://schemas.microsoft.com/office/drawing/2014/main" id="{A887DCCD-747E-4103-959C-C65BEB80FD58}"/>
                </a:ext>
              </a:extLst>
            </p:cNvPr>
            <p:cNvSpPr/>
            <p:nvPr/>
          </p:nvSpPr>
          <p:spPr bwMode="gray">
            <a:xfrm>
              <a:off x="6696962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30" y="12891"/>
                  </a:moveTo>
                  <a:lnTo>
                    <a:pt x="11130" y="7982"/>
                  </a:lnTo>
                  <a:lnTo>
                    <a:pt x="11128" y="7985"/>
                  </a:lnTo>
                  <a:cubicBezTo>
                    <a:pt x="11040" y="7906"/>
                    <a:pt x="10927" y="7855"/>
                    <a:pt x="10800" y="7855"/>
                  </a:cubicBezTo>
                  <a:cubicBezTo>
                    <a:pt x="10673" y="7855"/>
                    <a:pt x="10559" y="7906"/>
                    <a:pt x="10473" y="7985"/>
                  </a:cubicBezTo>
                  <a:lnTo>
                    <a:pt x="10469" y="7982"/>
                  </a:lnTo>
                  <a:lnTo>
                    <a:pt x="5069" y="12891"/>
                  </a:lnTo>
                  <a:lnTo>
                    <a:pt x="5073" y="12895"/>
                  </a:lnTo>
                  <a:cubicBezTo>
                    <a:pt x="4973" y="12984"/>
                    <a:pt x="4909" y="13111"/>
                    <a:pt x="4909" y="13255"/>
                  </a:cubicBezTo>
                  <a:cubicBezTo>
                    <a:pt x="4909" y="13526"/>
                    <a:pt x="5129" y="13745"/>
                    <a:pt x="5400" y="13745"/>
                  </a:cubicBezTo>
                  <a:cubicBezTo>
                    <a:pt x="5527" y="13745"/>
                    <a:pt x="5640" y="13694"/>
                    <a:pt x="5728" y="13615"/>
                  </a:cubicBezTo>
                  <a:lnTo>
                    <a:pt x="5730" y="13618"/>
                  </a:lnTo>
                  <a:lnTo>
                    <a:pt x="10800" y="9009"/>
                  </a:lnTo>
                  <a:lnTo>
                    <a:pt x="15869" y="13618"/>
                  </a:lnTo>
                  <a:lnTo>
                    <a:pt x="15873" y="13615"/>
                  </a:lnTo>
                  <a:cubicBezTo>
                    <a:pt x="15959" y="13694"/>
                    <a:pt x="16073" y="13745"/>
                    <a:pt x="16200" y="13745"/>
                  </a:cubicBezTo>
                  <a:cubicBezTo>
                    <a:pt x="16471" y="13745"/>
                    <a:pt x="16691" y="13526"/>
                    <a:pt x="16691" y="13255"/>
                  </a:cubicBezTo>
                  <a:cubicBezTo>
                    <a:pt x="16691" y="13111"/>
                    <a:pt x="16627" y="12984"/>
                    <a:pt x="16527" y="12895"/>
                  </a:cubicBezTo>
                  <a:cubicBezTo>
                    <a:pt x="16527" y="12895"/>
                    <a:pt x="16530" y="12891"/>
                    <a:pt x="16530" y="12891"/>
                  </a:cubicBezTo>
                  <a:close/>
                  <a:moveTo>
                    <a:pt x="20618" y="19636"/>
                  </a:moveTo>
                  <a:cubicBezTo>
                    <a:pt x="20618" y="20179"/>
                    <a:pt x="20179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9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915">
              <a:extLst>
                <a:ext uri="{FF2B5EF4-FFF2-40B4-BE49-F238E27FC236}">
                  <a16:creationId xmlns:a16="http://schemas.microsoft.com/office/drawing/2014/main" id="{C399EE7C-651E-4A08-AEBD-6582C803F5D1}"/>
                </a:ext>
              </a:extLst>
            </p:cNvPr>
            <p:cNvSpPr/>
            <p:nvPr/>
          </p:nvSpPr>
          <p:spPr bwMode="gray">
            <a:xfrm>
              <a:off x="7250514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4909"/>
                  </a:moveTo>
                  <a:cubicBezTo>
                    <a:pt x="12128" y="4909"/>
                    <a:pt x="12002" y="4974"/>
                    <a:pt x="11912" y="5073"/>
                  </a:cubicBezTo>
                  <a:lnTo>
                    <a:pt x="11909" y="5070"/>
                  </a:lnTo>
                  <a:lnTo>
                    <a:pt x="7000" y="10470"/>
                  </a:lnTo>
                  <a:lnTo>
                    <a:pt x="7003" y="10473"/>
                  </a:lnTo>
                  <a:cubicBezTo>
                    <a:pt x="6924" y="10559"/>
                    <a:pt x="6873" y="10673"/>
                    <a:pt x="6873" y="10800"/>
                  </a:cubicBezTo>
                  <a:cubicBezTo>
                    <a:pt x="6873" y="10927"/>
                    <a:pt x="6924" y="11041"/>
                    <a:pt x="7003" y="11127"/>
                  </a:cubicBezTo>
                  <a:lnTo>
                    <a:pt x="7000" y="11130"/>
                  </a:lnTo>
                  <a:lnTo>
                    <a:pt x="11909" y="16530"/>
                  </a:lnTo>
                  <a:lnTo>
                    <a:pt x="11912" y="16527"/>
                  </a:lnTo>
                  <a:cubicBezTo>
                    <a:pt x="12002" y="16627"/>
                    <a:pt x="12128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73"/>
                    <a:pt x="12713" y="15960"/>
                    <a:pt x="12633" y="15873"/>
                  </a:cubicBezTo>
                  <a:lnTo>
                    <a:pt x="12636" y="15870"/>
                  </a:lnTo>
                  <a:lnTo>
                    <a:pt x="8027" y="10800"/>
                  </a:lnTo>
                  <a:lnTo>
                    <a:pt x="12636" y="5730"/>
                  </a:lnTo>
                  <a:lnTo>
                    <a:pt x="12633" y="5728"/>
                  </a:lnTo>
                  <a:cubicBezTo>
                    <a:pt x="12713" y="5641"/>
                    <a:pt x="12764" y="5527"/>
                    <a:pt x="12764" y="5400"/>
                  </a:cubicBezTo>
                  <a:cubicBezTo>
                    <a:pt x="12764" y="5129"/>
                    <a:pt x="12544" y="4909"/>
                    <a:pt x="12273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916">
              <a:extLst>
                <a:ext uri="{FF2B5EF4-FFF2-40B4-BE49-F238E27FC236}">
                  <a16:creationId xmlns:a16="http://schemas.microsoft.com/office/drawing/2014/main" id="{63597108-60B4-4A33-B4C2-FA822C084535}"/>
                </a:ext>
              </a:extLst>
            </p:cNvPr>
            <p:cNvSpPr/>
            <p:nvPr/>
          </p:nvSpPr>
          <p:spPr bwMode="gray">
            <a:xfrm>
              <a:off x="780406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597" y="10473"/>
                  </a:moveTo>
                  <a:lnTo>
                    <a:pt x="14600" y="10470"/>
                  </a:lnTo>
                  <a:lnTo>
                    <a:pt x="9691" y="5070"/>
                  </a:lnTo>
                  <a:lnTo>
                    <a:pt x="9688" y="5073"/>
                  </a:lnTo>
                  <a:cubicBezTo>
                    <a:pt x="9598" y="4974"/>
                    <a:pt x="9471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27"/>
                    <a:pt x="8887" y="5641"/>
                    <a:pt x="8967" y="5728"/>
                  </a:cubicBezTo>
                  <a:lnTo>
                    <a:pt x="8964" y="5730"/>
                  </a:lnTo>
                  <a:lnTo>
                    <a:pt x="13573" y="10800"/>
                  </a:lnTo>
                  <a:lnTo>
                    <a:pt x="8964" y="15870"/>
                  </a:lnTo>
                  <a:lnTo>
                    <a:pt x="8967" y="15873"/>
                  </a:lnTo>
                  <a:cubicBezTo>
                    <a:pt x="8887" y="15960"/>
                    <a:pt x="8836" y="16073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71" y="16691"/>
                    <a:pt x="9598" y="16627"/>
                    <a:pt x="9688" y="16527"/>
                  </a:cubicBezTo>
                  <a:lnTo>
                    <a:pt x="9691" y="16530"/>
                  </a:lnTo>
                  <a:lnTo>
                    <a:pt x="14600" y="11130"/>
                  </a:lnTo>
                  <a:lnTo>
                    <a:pt x="14597" y="11127"/>
                  </a:lnTo>
                  <a:cubicBezTo>
                    <a:pt x="14676" y="11041"/>
                    <a:pt x="14727" y="10927"/>
                    <a:pt x="14727" y="10800"/>
                  </a:cubicBezTo>
                  <a:cubicBezTo>
                    <a:pt x="14727" y="10673"/>
                    <a:pt x="14676" y="10559"/>
                    <a:pt x="14597" y="104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917">
              <a:extLst>
                <a:ext uri="{FF2B5EF4-FFF2-40B4-BE49-F238E27FC236}">
                  <a16:creationId xmlns:a16="http://schemas.microsoft.com/office/drawing/2014/main" id="{74FCEF4B-EC2C-4C1C-8906-958A1AFFEF0E}"/>
                </a:ext>
              </a:extLst>
            </p:cNvPr>
            <p:cNvSpPr/>
            <p:nvPr/>
          </p:nvSpPr>
          <p:spPr bwMode="gray">
            <a:xfrm>
              <a:off x="8403746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2459" y="14727"/>
                  </a:lnTo>
                  <a:lnTo>
                    <a:pt x="8640" y="14727"/>
                  </a:lnTo>
                  <a:lnTo>
                    <a:pt x="8640" y="1964"/>
                  </a:lnTo>
                  <a:cubicBezTo>
                    <a:pt x="8640" y="1422"/>
                    <a:pt x="9285" y="982"/>
                    <a:pt x="10080" y="982"/>
                  </a:cubicBezTo>
                  <a:lnTo>
                    <a:pt x="11520" y="982"/>
                  </a:lnTo>
                  <a:cubicBezTo>
                    <a:pt x="12315" y="982"/>
                    <a:pt x="12960" y="1422"/>
                    <a:pt x="12960" y="1964"/>
                  </a:cubicBezTo>
                  <a:lnTo>
                    <a:pt x="12960" y="14727"/>
                  </a:lnTo>
                  <a:lnTo>
                    <a:pt x="19142" y="14727"/>
                  </a:lnTo>
                  <a:cubicBezTo>
                    <a:pt x="19142" y="14727"/>
                    <a:pt x="10800" y="20415"/>
                    <a:pt x="10800" y="20415"/>
                  </a:cubicBezTo>
                  <a:close/>
                  <a:moveTo>
                    <a:pt x="20880" y="13745"/>
                  </a:moveTo>
                  <a:lnTo>
                    <a:pt x="14400" y="13745"/>
                  </a:lnTo>
                  <a:lnTo>
                    <a:pt x="14400" y="1964"/>
                  </a:lnTo>
                  <a:cubicBezTo>
                    <a:pt x="14400" y="879"/>
                    <a:pt x="13110" y="0"/>
                    <a:pt x="11520" y="0"/>
                  </a:cubicBezTo>
                  <a:lnTo>
                    <a:pt x="10080" y="0"/>
                  </a:lnTo>
                  <a:cubicBezTo>
                    <a:pt x="8490" y="0"/>
                    <a:pt x="7200" y="879"/>
                    <a:pt x="7200" y="1964"/>
                  </a:cubicBezTo>
                  <a:lnTo>
                    <a:pt x="7200" y="13745"/>
                  </a:lnTo>
                  <a:lnTo>
                    <a:pt x="720" y="13745"/>
                  </a:lnTo>
                  <a:cubicBezTo>
                    <a:pt x="323" y="13745"/>
                    <a:pt x="0" y="13966"/>
                    <a:pt x="0" y="14236"/>
                  </a:cubicBezTo>
                  <a:cubicBezTo>
                    <a:pt x="0" y="14373"/>
                    <a:pt x="81" y="14495"/>
                    <a:pt x="212" y="14584"/>
                  </a:cubicBezTo>
                  <a:lnTo>
                    <a:pt x="10290" y="21456"/>
                  </a:lnTo>
                  <a:cubicBezTo>
                    <a:pt x="10421" y="21545"/>
                    <a:pt x="10601" y="21600"/>
                    <a:pt x="10800" y="21600"/>
                  </a:cubicBezTo>
                  <a:cubicBezTo>
                    <a:pt x="10999" y="21600"/>
                    <a:pt x="11179" y="21545"/>
                    <a:pt x="11310" y="21456"/>
                  </a:cubicBezTo>
                  <a:lnTo>
                    <a:pt x="21388" y="14584"/>
                  </a:lnTo>
                  <a:cubicBezTo>
                    <a:pt x="21519" y="14495"/>
                    <a:pt x="21600" y="14373"/>
                    <a:pt x="21600" y="14236"/>
                  </a:cubicBezTo>
                  <a:cubicBezTo>
                    <a:pt x="21600" y="13966"/>
                    <a:pt x="21277" y="13745"/>
                    <a:pt x="20880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918">
              <a:extLst>
                <a:ext uri="{FF2B5EF4-FFF2-40B4-BE49-F238E27FC236}">
                  <a16:creationId xmlns:a16="http://schemas.microsoft.com/office/drawing/2014/main" id="{3506CCBC-100D-4270-97FE-C44E6E52CCF1}"/>
                </a:ext>
              </a:extLst>
            </p:cNvPr>
            <p:cNvSpPr/>
            <p:nvPr/>
          </p:nvSpPr>
          <p:spPr bwMode="gray">
            <a:xfrm>
              <a:off x="8957298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6873"/>
                  </a:moveTo>
                  <a:lnTo>
                    <a:pt x="12960" y="19636"/>
                  </a:lnTo>
                  <a:cubicBezTo>
                    <a:pt x="12960" y="20178"/>
                    <a:pt x="12315" y="20618"/>
                    <a:pt x="11520" y="20618"/>
                  </a:cubicBezTo>
                  <a:lnTo>
                    <a:pt x="10080" y="20618"/>
                  </a:lnTo>
                  <a:cubicBezTo>
                    <a:pt x="9285" y="20618"/>
                    <a:pt x="8640" y="20178"/>
                    <a:pt x="8640" y="19636"/>
                  </a:cubicBezTo>
                  <a:lnTo>
                    <a:pt x="8640" y="6873"/>
                  </a:lnTo>
                  <a:lnTo>
                    <a:pt x="2458" y="6873"/>
                  </a:lnTo>
                  <a:lnTo>
                    <a:pt x="10800" y="1185"/>
                  </a:lnTo>
                  <a:lnTo>
                    <a:pt x="19142" y="6873"/>
                  </a:lnTo>
                  <a:cubicBezTo>
                    <a:pt x="19142" y="6873"/>
                    <a:pt x="12960" y="6873"/>
                    <a:pt x="12960" y="6873"/>
                  </a:cubicBezTo>
                  <a:close/>
                  <a:moveTo>
                    <a:pt x="21389" y="7017"/>
                  </a:moveTo>
                  <a:lnTo>
                    <a:pt x="11309" y="144"/>
                  </a:lnTo>
                  <a:cubicBezTo>
                    <a:pt x="11179" y="55"/>
                    <a:pt x="10999" y="0"/>
                    <a:pt x="10800" y="0"/>
                  </a:cubicBezTo>
                  <a:cubicBezTo>
                    <a:pt x="10601" y="0"/>
                    <a:pt x="10422" y="55"/>
                    <a:pt x="10291" y="144"/>
                  </a:cubicBezTo>
                  <a:lnTo>
                    <a:pt x="211" y="7017"/>
                  </a:lnTo>
                  <a:cubicBezTo>
                    <a:pt x="81" y="7106"/>
                    <a:pt x="0" y="7228"/>
                    <a:pt x="0" y="7364"/>
                  </a:cubicBezTo>
                  <a:cubicBezTo>
                    <a:pt x="0" y="7635"/>
                    <a:pt x="322" y="7855"/>
                    <a:pt x="720" y="7855"/>
                  </a:cubicBezTo>
                  <a:lnTo>
                    <a:pt x="7200" y="7855"/>
                  </a:lnTo>
                  <a:lnTo>
                    <a:pt x="7200" y="19636"/>
                  </a:lnTo>
                  <a:cubicBezTo>
                    <a:pt x="7200" y="20721"/>
                    <a:pt x="8490" y="21600"/>
                    <a:pt x="10080" y="21600"/>
                  </a:cubicBezTo>
                  <a:lnTo>
                    <a:pt x="11520" y="21600"/>
                  </a:lnTo>
                  <a:cubicBezTo>
                    <a:pt x="13110" y="21600"/>
                    <a:pt x="14400" y="20721"/>
                    <a:pt x="14400" y="19636"/>
                  </a:cubicBezTo>
                  <a:lnTo>
                    <a:pt x="14400" y="7855"/>
                  </a:lnTo>
                  <a:lnTo>
                    <a:pt x="20880" y="7855"/>
                  </a:lnTo>
                  <a:cubicBezTo>
                    <a:pt x="21278" y="7855"/>
                    <a:pt x="21600" y="7635"/>
                    <a:pt x="21600" y="7364"/>
                  </a:cubicBezTo>
                  <a:cubicBezTo>
                    <a:pt x="21600" y="7228"/>
                    <a:pt x="21519" y="7106"/>
                    <a:pt x="21389" y="70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919">
              <a:extLst>
                <a:ext uri="{FF2B5EF4-FFF2-40B4-BE49-F238E27FC236}">
                  <a16:creationId xmlns:a16="http://schemas.microsoft.com/office/drawing/2014/main" id="{61A4B2BF-58FC-4AE4-A764-EC1DA18B777C}"/>
                </a:ext>
              </a:extLst>
            </p:cNvPr>
            <p:cNvSpPr/>
            <p:nvPr/>
          </p:nvSpPr>
          <p:spPr bwMode="gray">
            <a:xfrm>
              <a:off x="9464720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520"/>
                  </a:moveTo>
                  <a:cubicBezTo>
                    <a:pt x="20618" y="12315"/>
                    <a:pt x="20178" y="12960"/>
                    <a:pt x="19636" y="12960"/>
                  </a:cubicBezTo>
                  <a:lnTo>
                    <a:pt x="6873" y="12960"/>
                  </a:lnTo>
                  <a:lnTo>
                    <a:pt x="6873" y="19142"/>
                  </a:lnTo>
                  <a:lnTo>
                    <a:pt x="1185" y="10800"/>
                  </a:lnTo>
                  <a:lnTo>
                    <a:pt x="6873" y="2458"/>
                  </a:lnTo>
                  <a:lnTo>
                    <a:pt x="6873" y="8640"/>
                  </a:lnTo>
                  <a:lnTo>
                    <a:pt x="19636" y="8640"/>
                  </a:lnTo>
                  <a:cubicBezTo>
                    <a:pt x="20178" y="8640"/>
                    <a:pt x="20618" y="9285"/>
                    <a:pt x="20618" y="10080"/>
                  </a:cubicBezTo>
                  <a:cubicBezTo>
                    <a:pt x="20618" y="10080"/>
                    <a:pt x="20618" y="11520"/>
                    <a:pt x="20618" y="11520"/>
                  </a:cubicBezTo>
                  <a:close/>
                  <a:moveTo>
                    <a:pt x="19636" y="7200"/>
                  </a:moveTo>
                  <a:lnTo>
                    <a:pt x="7855" y="7200"/>
                  </a:lnTo>
                  <a:lnTo>
                    <a:pt x="7855" y="720"/>
                  </a:lnTo>
                  <a:cubicBezTo>
                    <a:pt x="7855" y="322"/>
                    <a:pt x="7635" y="0"/>
                    <a:pt x="7364" y="0"/>
                  </a:cubicBezTo>
                  <a:cubicBezTo>
                    <a:pt x="7228" y="0"/>
                    <a:pt x="7105" y="81"/>
                    <a:pt x="7017" y="212"/>
                  </a:cubicBezTo>
                  <a:lnTo>
                    <a:pt x="144" y="10291"/>
                  </a:lnTo>
                  <a:cubicBezTo>
                    <a:pt x="55" y="10422"/>
                    <a:pt x="0" y="10602"/>
                    <a:pt x="0" y="10800"/>
                  </a:cubicBezTo>
                  <a:cubicBezTo>
                    <a:pt x="0" y="11000"/>
                    <a:pt x="55" y="11180"/>
                    <a:pt x="144" y="11310"/>
                  </a:cubicBezTo>
                  <a:lnTo>
                    <a:pt x="7017" y="21389"/>
                  </a:lnTo>
                  <a:cubicBezTo>
                    <a:pt x="7105" y="21520"/>
                    <a:pt x="7228" y="21600"/>
                    <a:pt x="7364" y="21600"/>
                  </a:cubicBezTo>
                  <a:cubicBezTo>
                    <a:pt x="7635" y="21600"/>
                    <a:pt x="7855" y="21278"/>
                    <a:pt x="7855" y="20880"/>
                  </a:cubicBezTo>
                  <a:lnTo>
                    <a:pt x="7855" y="14400"/>
                  </a:lnTo>
                  <a:lnTo>
                    <a:pt x="19636" y="14400"/>
                  </a:lnTo>
                  <a:cubicBezTo>
                    <a:pt x="20721" y="14400"/>
                    <a:pt x="21600" y="13110"/>
                    <a:pt x="21600" y="11520"/>
                  </a:cubicBezTo>
                  <a:lnTo>
                    <a:pt x="21600" y="10080"/>
                  </a:lnTo>
                  <a:cubicBezTo>
                    <a:pt x="21600" y="8490"/>
                    <a:pt x="20721" y="7200"/>
                    <a:pt x="19636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920">
              <a:extLst>
                <a:ext uri="{FF2B5EF4-FFF2-40B4-BE49-F238E27FC236}">
                  <a16:creationId xmlns:a16="http://schemas.microsoft.com/office/drawing/2014/main" id="{0D4420F3-D5CB-49BA-AC13-C773A1F51847}"/>
                </a:ext>
              </a:extLst>
            </p:cNvPr>
            <p:cNvSpPr/>
            <p:nvPr/>
          </p:nvSpPr>
          <p:spPr bwMode="gray">
            <a:xfrm>
              <a:off x="10018271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142"/>
                  </a:moveTo>
                  <a:lnTo>
                    <a:pt x="14727" y="12960"/>
                  </a:lnTo>
                  <a:lnTo>
                    <a:pt x="1964" y="12960"/>
                  </a:lnTo>
                  <a:cubicBezTo>
                    <a:pt x="1421" y="12960"/>
                    <a:pt x="982" y="12316"/>
                    <a:pt x="982" y="11520"/>
                  </a:cubicBezTo>
                  <a:lnTo>
                    <a:pt x="982" y="10080"/>
                  </a:lnTo>
                  <a:cubicBezTo>
                    <a:pt x="982" y="9285"/>
                    <a:pt x="1421" y="8640"/>
                    <a:pt x="1964" y="8640"/>
                  </a:cubicBezTo>
                  <a:lnTo>
                    <a:pt x="14727" y="8640"/>
                  </a:lnTo>
                  <a:lnTo>
                    <a:pt x="14727" y="2458"/>
                  </a:lnTo>
                  <a:lnTo>
                    <a:pt x="20415" y="10800"/>
                  </a:lnTo>
                  <a:cubicBezTo>
                    <a:pt x="20415" y="10800"/>
                    <a:pt x="14727" y="19142"/>
                    <a:pt x="14727" y="19142"/>
                  </a:cubicBezTo>
                  <a:close/>
                  <a:moveTo>
                    <a:pt x="21456" y="10291"/>
                  </a:moveTo>
                  <a:lnTo>
                    <a:pt x="14584" y="212"/>
                  </a:lnTo>
                  <a:cubicBezTo>
                    <a:pt x="14495" y="81"/>
                    <a:pt x="14372" y="0"/>
                    <a:pt x="14236" y="0"/>
                  </a:cubicBezTo>
                  <a:cubicBezTo>
                    <a:pt x="13965" y="0"/>
                    <a:pt x="13745" y="322"/>
                    <a:pt x="13745" y="720"/>
                  </a:cubicBezTo>
                  <a:lnTo>
                    <a:pt x="13745" y="7200"/>
                  </a:lnTo>
                  <a:lnTo>
                    <a:pt x="1964" y="7200"/>
                  </a:lnTo>
                  <a:cubicBezTo>
                    <a:pt x="879" y="7200"/>
                    <a:pt x="0" y="8490"/>
                    <a:pt x="0" y="10080"/>
                  </a:cubicBezTo>
                  <a:lnTo>
                    <a:pt x="0" y="11520"/>
                  </a:lnTo>
                  <a:cubicBezTo>
                    <a:pt x="0" y="13110"/>
                    <a:pt x="879" y="14400"/>
                    <a:pt x="1964" y="14400"/>
                  </a:cubicBezTo>
                  <a:lnTo>
                    <a:pt x="13745" y="14400"/>
                  </a:lnTo>
                  <a:lnTo>
                    <a:pt x="13745" y="20880"/>
                  </a:lnTo>
                  <a:cubicBezTo>
                    <a:pt x="13745" y="21278"/>
                    <a:pt x="13965" y="21600"/>
                    <a:pt x="14236" y="21600"/>
                  </a:cubicBezTo>
                  <a:cubicBezTo>
                    <a:pt x="14372" y="21600"/>
                    <a:pt x="14495" y="21520"/>
                    <a:pt x="14583" y="21389"/>
                  </a:cubicBezTo>
                  <a:lnTo>
                    <a:pt x="21456" y="11310"/>
                  </a:lnTo>
                  <a:cubicBezTo>
                    <a:pt x="21545" y="11180"/>
                    <a:pt x="21600" y="11000"/>
                    <a:pt x="21600" y="10800"/>
                  </a:cubicBezTo>
                  <a:cubicBezTo>
                    <a:pt x="21600" y="10601"/>
                    <a:pt x="21545" y="10421"/>
                    <a:pt x="21456" y="102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921">
              <a:extLst>
                <a:ext uri="{FF2B5EF4-FFF2-40B4-BE49-F238E27FC236}">
                  <a16:creationId xmlns:a16="http://schemas.microsoft.com/office/drawing/2014/main" id="{14EB9F24-14EF-43DA-A654-4D35BE36D659}"/>
                </a:ext>
              </a:extLst>
            </p:cNvPr>
            <p:cNvSpPr/>
            <p:nvPr/>
          </p:nvSpPr>
          <p:spPr bwMode="gray">
            <a:xfrm>
              <a:off x="10611362" y="1759045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02" y="5052"/>
                  </a:moveTo>
                  <a:lnTo>
                    <a:pt x="14652" y="144"/>
                  </a:lnTo>
                  <a:cubicBezTo>
                    <a:pt x="14530" y="55"/>
                    <a:pt x="14362" y="0"/>
                    <a:pt x="14175" y="0"/>
                  </a:cubicBezTo>
                  <a:cubicBezTo>
                    <a:pt x="13802" y="0"/>
                    <a:pt x="13500" y="220"/>
                    <a:pt x="13500" y="491"/>
                  </a:cubicBezTo>
                  <a:cubicBezTo>
                    <a:pt x="13500" y="627"/>
                    <a:pt x="13576" y="749"/>
                    <a:pt x="13698" y="838"/>
                  </a:cubicBezTo>
                  <a:lnTo>
                    <a:pt x="19296" y="4909"/>
                  </a:lnTo>
                  <a:lnTo>
                    <a:pt x="675" y="4909"/>
                  </a:lnTo>
                  <a:cubicBezTo>
                    <a:pt x="302" y="4909"/>
                    <a:pt x="0" y="5129"/>
                    <a:pt x="0" y="5400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1048" y="21600"/>
                    <a:pt x="1350" y="21380"/>
                    <a:pt x="1350" y="21109"/>
                  </a:cubicBezTo>
                  <a:lnTo>
                    <a:pt x="1350" y="5891"/>
                  </a:lnTo>
                  <a:lnTo>
                    <a:pt x="19296" y="5891"/>
                  </a:lnTo>
                  <a:lnTo>
                    <a:pt x="13698" y="9962"/>
                  </a:lnTo>
                  <a:cubicBezTo>
                    <a:pt x="13575" y="10051"/>
                    <a:pt x="13500" y="10173"/>
                    <a:pt x="13500" y="10309"/>
                  </a:cubicBezTo>
                  <a:cubicBezTo>
                    <a:pt x="13500" y="10580"/>
                    <a:pt x="13802" y="10800"/>
                    <a:pt x="14175" y="10800"/>
                  </a:cubicBezTo>
                  <a:cubicBezTo>
                    <a:pt x="14362" y="10800"/>
                    <a:pt x="14531" y="10745"/>
                    <a:pt x="14653" y="10656"/>
                  </a:cubicBezTo>
                  <a:lnTo>
                    <a:pt x="21402" y="5747"/>
                  </a:lnTo>
                  <a:cubicBezTo>
                    <a:pt x="21525" y="5658"/>
                    <a:pt x="21600" y="5536"/>
                    <a:pt x="21600" y="5400"/>
                  </a:cubicBezTo>
                  <a:cubicBezTo>
                    <a:pt x="21600" y="5264"/>
                    <a:pt x="21524" y="5142"/>
                    <a:pt x="21402" y="50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922">
              <a:extLst>
                <a:ext uri="{FF2B5EF4-FFF2-40B4-BE49-F238E27FC236}">
                  <a16:creationId xmlns:a16="http://schemas.microsoft.com/office/drawing/2014/main" id="{D9062271-E604-41A8-A89C-4E06E5CF00A4}"/>
                </a:ext>
              </a:extLst>
            </p:cNvPr>
            <p:cNvSpPr/>
            <p:nvPr/>
          </p:nvSpPr>
          <p:spPr bwMode="gray">
            <a:xfrm>
              <a:off x="11125375" y="1798584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2546"/>
                  </a:moveTo>
                  <a:lnTo>
                    <a:pt x="16691" y="2304"/>
                  </a:lnTo>
                  <a:lnTo>
                    <a:pt x="20415" y="7425"/>
                  </a:lnTo>
                  <a:cubicBezTo>
                    <a:pt x="20415" y="7425"/>
                    <a:pt x="16691" y="12546"/>
                    <a:pt x="16691" y="12546"/>
                  </a:cubicBezTo>
                  <a:close/>
                  <a:moveTo>
                    <a:pt x="21456" y="6948"/>
                  </a:moveTo>
                  <a:lnTo>
                    <a:pt x="16548" y="198"/>
                  </a:lnTo>
                  <a:cubicBezTo>
                    <a:pt x="16458" y="76"/>
                    <a:pt x="16336" y="0"/>
                    <a:pt x="16200" y="0"/>
                  </a:cubicBezTo>
                  <a:cubicBezTo>
                    <a:pt x="15929" y="0"/>
                    <a:pt x="15709" y="302"/>
                    <a:pt x="15709" y="675"/>
                  </a:cubicBezTo>
                  <a:lnTo>
                    <a:pt x="15709" y="6750"/>
                  </a:lnTo>
                  <a:lnTo>
                    <a:pt x="491" y="6750"/>
                  </a:lnTo>
                  <a:cubicBezTo>
                    <a:pt x="220" y="6750"/>
                    <a:pt x="0" y="7052"/>
                    <a:pt x="0" y="7425"/>
                  </a:cubicBezTo>
                  <a:lnTo>
                    <a:pt x="0" y="20925"/>
                  </a:lnTo>
                  <a:cubicBezTo>
                    <a:pt x="0" y="21298"/>
                    <a:pt x="220" y="21600"/>
                    <a:pt x="491" y="21600"/>
                  </a:cubicBezTo>
                  <a:cubicBezTo>
                    <a:pt x="762" y="21600"/>
                    <a:pt x="982" y="21298"/>
                    <a:pt x="982" y="20925"/>
                  </a:cubicBezTo>
                  <a:lnTo>
                    <a:pt x="982" y="8100"/>
                  </a:lnTo>
                  <a:lnTo>
                    <a:pt x="15709" y="8100"/>
                  </a:lnTo>
                  <a:lnTo>
                    <a:pt x="15709" y="14175"/>
                  </a:lnTo>
                  <a:cubicBezTo>
                    <a:pt x="15709" y="14548"/>
                    <a:pt x="15929" y="14850"/>
                    <a:pt x="16200" y="14850"/>
                  </a:cubicBezTo>
                  <a:cubicBezTo>
                    <a:pt x="16336" y="14850"/>
                    <a:pt x="16458" y="14775"/>
                    <a:pt x="16547" y="14652"/>
                  </a:cubicBezTo>
                  <a:lnTo>
                    <a:pt x="21456" y="7903"/>
                  </a:lnTo>
                  <a:cubicBezTo>
                    <a:pt x="21545" y="7781"/>
                    <a:pt x="21600" y="7612"/>
                    <a:pt x="21600" y="7425"/>
                  </a:cubicBezTo>
                  <a:cubicBezTo>
                    <a:pt x="21600" y="7238"/>
                    <a:pt x="21545" y="7070"/>
                    <a:pt x="21456" y="6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923">
              <a:extLst>
                <a:ext uri="{FF2B5EF4-FFF2-40B4-BE49-F238E27FC236}">
                  <a16:creationId xmlns:a16="http://schemas.microsoft.com/office/drawing/2014/main" id="{F137B381-D840-43CB-907B-4B69F83CD560}"/>
                </a:ext>
              </a:extLst>
            </p:cNvPr>
            <p:cNvSpPr/>
            <p:nvPr/>
          </p:nvSpPr>
          <p:spPr bwMode="gray">
            <a:xfrm>
              <a:off x="614341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4236" y="0"/>
                  </a:lnTo>
                  <a:cubicBezTo>
                    <a:pt x="13966" y="0"/>
                    <a:pt x="13745" y="220"/>
                    <a:pt x="13745" y="491"/>
                  </a:cubicBezTo>
                  <a:cubicBezTo>
                    <a:pt x="13745" y="762"/>
                    <a:pt x="13966" y="982"/>
                    <a:pt x="14236" y="982"/>
                  </a:cubicBezTo>
                  <a:lnTo>
                    <a:pt x="19924" y="982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2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20618" y="1676"/>
                  </a:lnTo>
                  <a:lnTo>
                    <a:pt x="20618" y="7364"/>
                  </a:lnTo>
                  <a:cubicBezTo>
                    <a:pt x="20618" y="7635"/>
                    <a:pt x="20838" y="7855"/>
                    <a:pt x="21109" y="7855"/>
                  </a:cubicBezTo>
                  <a:cubicBezTo>
                    <a:pt x="21380" y="7855"/>
                    <a:pt x="21600" y="7635"/>
                    <a:pt x="21600" y="7364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9327" y="11782"/>
                  </a:moveTo>
                  <a:cubicBezTo>
                    <a:pt x="9192" y="11782"/>
                    <a:pt x="9069" y="11837"/>
                    <a:pt x="8980" y="11926"/>
                  </a:cubicBezTo>
                  <a:lnTo>
                    <a:pt x="982" y="19924"/>
                  </a:lnTo>
                  <a:lnTo>
                    <a:pt x="982" y="14236"/>
                  </a:lnTo>
                  <a:cubicBezTo>
                    <a:pt x="982" y="13966"/>
                    <a:pt x="762" y="13745"/>
                    <a:pt x="491" y="13745"/>
                  </a:cubicBezTo>
                  <a:cubicBezTo>
                    <a:pt x="220" y="13745"/>
                    <a:pt x="0" y="13966"/>
                    <a:pt x="0" y="14236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7364" y="21600"/>
                  </a:lnTo>
                  <a:cubicBezTo>
                    <a:pt x="7634" y="21600"/>
                    <a:pt x="7855" y="21380"/>
                    <a:pt x="7855" y="21109"/>
                  </a:cubicBezTo>
                  <a:cubicBezTo>
                    <a:pt x="7855" y="20838"/>
                    <a:pt x="7634" y="20618"/>
                    <a:pt x="7364" y="20618"/>
                  </a:cubicBezTo>
                  <a:lnTo>
                    <a:pt x="1676" y="20618"/>
                  </a:lnTo>
                  <a:lnTo>
                    <a:pt x="9674" y="12620"/>
                  </a:lnTo>
                  <a:cubicBezTo>
                    <a:pt x="9763" y="12531"/>
                    <a:pt x="9818" y="12408"/>
                    <a:pt x="9818" y="12273"/>
                  </a:cubicBez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924">
              <a:extLst>
                <a:ext uri="{FF2B5EF4-FFF2-40B4-BE49-F238E27FC236}">
                  <a16:creationId xmlns:a16="http://schemas.microsoft.com/office/drawing/2014/main" id="{1C0BCD5A-1FF2-4EF5-B5B5-73884703FD66}"/>
                </a:ext>
              </a:extLst>
            </p:cNvPr>
            <p:cNvSpPr/>
            <p:nvPr/>
          </p:nvSpPr>
          <p:spPr bwMode="gray">
            <a:xfrm>
              <a:off x="6696962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1"/>
                  </a:move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2764" y="8142"/>
                  </a:lnTo>
                  <a:lnTo>
                    <a:pt x="12764" y="2455"/>
                  </a:lnTo>
                  <a:cubicBezTo>
                    <a:pt x="12764" y="2184"/>
                    <a:pt x="12544" y="1964"/>
                    <a:pt x="12273" y="1964"/>
                  </a:cubicBezTo>
                  <a:cubicBezTo>
                    <a:pt x="12002" y="1964"/>
                    <a:pt x="11782" y="2184"/>
                    <a:pt x="11782" y="2455"/>
                  </a:cubicBezTo>
                  <a:lnTo>
                    <a:pt x="11782" y="9327"/>
                  </a:lnTo>
                  <a:cubicBezTo>
                    <a:pt x="11782" y="9599"/>
                    <a:pt x="12002" y="9818"/>
                    <a:pt x="12273" y="9818"/>
                  </a:cubicBezTo>
                  <a:lnTo>
                    <a:pt x="19145" y="9818"/>
                  </a:lnTo>
                  <a:cubicBezTo>
                    <a:pt x="19416" y="9818"/>
                    <a:pt x="19636" y="9599"/>
                    <a:pt x="19636" y="9327"/>
                  </a:cubicBezTo>
                  <a:cubicBezTo>
                    <a:pt x="19636" y="9056"/>
                    <a:pt x="19416" y="8836"/>
                    <a:pt x="19145" y="8836"/>
                  </a:cubicBezTo>
                  <a:lnTo>
                    <a:pt x="13458" y="8836"/>
                  </a:lnTo>
                  <a:lnTo>
                    <a:pt x="21456" y="838"/>
                  </a:lnTo>
                  <a:cubicBezTo>
                    <a:pt x="21545" y="750"/>
                    <a:pt x="21600" y="627"/>
                    <a:pt x="21600" y="491"/>
                  </a:cubicBezTo>
                  <a:moveTo>
                    <a:pt x="9327" y="11782"/>
                  </a:moveTo>
                  <a:lnTo>
                    <a:pt x="2455" y="11782"/>
                  </a:lnTo>
                  <a:cubicBezTo>
                    <a:pt x="2184" y="11782"/>
                    <a:pt x="1964" y="12002"/>
                    <a:pt x="1964" y="12273"/>
                  </a:cubicBezTo>
                  <a:cubicBezTo>
                    <a:pt x="1964" y="12544"/>
                    <a:pt x="2184" y="12764"/>
                    <a:pt x="2455" y="12764"/>
                  </a:cubicBezTo>
                  <a:lnTo>
                    <a:pt x="8142" y="12764"/>
                  </a:lnTo>
                  <a:lnTo>
                    <a:pt x="144" y="20762"/>
                  </a:lnTo>
                  <a:cubicBezTo>
                    <a:pt x="55" y="20851"/>
                    <a:pt x="0" y="20973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8836" y="13458"/>
                  </a:lnTo>
                  <a:lnTo>
                    <a:pt x="8836" y="19145"/>
                  </a:lnTo>
                  <a:cubicBezTo>
                    <a:pt x="8836" y="19417"/>
                    <a:pt x="9056" y="19636"/>
                    <a:pt x="9327" y="19636"/>
                  </a:cubicBezTo>
                  <a:cubicBezTo>
                    <a:pt x="9598" y="19636"/>
                    <a:pt x="9818" y="19417"/>
                    <a:pt x="9818" y="19145"/>
                  </a:cubicBezTo>
                  <a:lnTo>
                    <a:pt x="9818" y="12273"/>
                  </a:ln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925">
              <a:extLst>
                <a:ext uri="{FF2B5EF4-FFF2-40B4-BE49-F238E27FC236}">
                  <a16:creationId xmlns:a16="http://schemas.microsoft.com/office/drawing/2014/main" id="{0107D737-D38F-4269-A7E5-97DECA3B0769}"/>
                </a:ext>
              </a:extLst>
            </p:cNvPr>
            <p:cNvSpPr/>
            <p:nvPr/>
          </p:nvSpPr>
          <p:spPr bwMode="gray">
            <a:xfrm>
              <a:off x="7250514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6200" y="0"/>
                  </a:lnTo>
                  <a:cubicBezTo>
                    <a:pt x="15929" y="0"/>
                    <a:pt x="15709" y="220"/>
                    <a:pt x="15709" y="491"/>
                  </a:cubicBezTo>
                  <a:cubicBezTo>
                    <a:pt x="15709" y="762"/>
                    <a:pt x="15929" y="982"/>
                    <a:pt x="16200" y="982"/>
                  </a:cubicBezTo>
                  <a:lnTo>
                    <a:pt x="19924" y="982"/>
                  </a:lnTo>
                  <a:lnTo>
                    <a:pt x="6035" y="14871"/>
                  </a:lnTo>
                  <a:cubicBezTo>
                    <a:pt x="5946" y="14960"/>
                    <a:pt x="5891" y="15083"/>
                    <a:pt x="5891" y="15218"/>
                  </a:cubicBezTo>
                  <a:cubicBezTo>
                    <a:pt x="5891" y="15489"/>
                    <a:pt x="6111" y="15709"/>
                    <a:pt x="6382" y="15709"/>
                  </a:cubicBezTo>
                  <a:cubicBezTo>
                    <a:pt x="6517" y="15709"/>
                    <a:pt x="6640" y="15654"/>
                    <a:pt x="6729" y="15565"/>
                  </a:cubicBezTo>
                  <a:lnTo>
                    <a:pt x="20618" y="1676"/>
                  </a:lnTo>
                  <a:lnTo>
                    <a:pt x="20618" y="5400"/>
                  </a:lnTo>
                  <a:cubicBezTo>
                    <a:pt x="20618" y="5671"/>
                    <a:pt x="20838" y="5890"/>
                    <a:pt x="21109" y="5890"/>
                  </a:cubicBezTo>
                  <a:cubicBezTo>
                    <a:pt x="21380" y="5890"/>
                    <a:pt x="21600" y="5671"/>
                    <a:pt x="21600" y="5400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17182" y="6873"/>
                  </a:moveTo>
                  <a:cubicBezTo>
                    <a:pt x="16911" y="6873"/>
                    <a:pt x="16691" y="7092"/>
                    <a:pt x="16691" y="7364"/>
                  </a:cubicBezTo>
                  <a:lnTo>
                    <a:pt x="16691" y="20618"/>
                  </a:lnTo>
                  <a:lnTo>
                    <a:pt x="982" y="20618"/>
                  </a:lnTo>
                  <a:lnTo>
                    <a:pt x="982" y="4909"/>
                  </a:lnTo>
                  <a:lnTo>
                    <a:pt x="14236" y="4909"/>
                  </a:lnTo>
                  <a:cubicBezTo>
                    <a:pt x="14507" y="4909"/>
                    <a:pt x="14727" y="4689"/>
                    <a:pt x="14727" y="4418"/>
                  </a:cubicBezTo>
                  <a:cubicBezTo>
                    <a:pt x="14727" y="4147"/>
                    <a:pt x="14507" y="3927"/>
                    <a:pt x="14236" y="3927"/>
                  </a:cubicBezTo>
                  <a:lnTo>
                    <a:pt x="491" y="3927"/>
                  </a:lnTo>
                  <a:cubicBezTo>
                    <a:pt x="220" y="3927"/>
                    <a:pt x="0" y="4147"/>
                    <a:pt x="0" y="4418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7364"/>
                  </a:lnTo>
                  <a:cubicBezTo>
                    <a:pt x="17673" y="7092"/>
                    <a:pt x="17453" y="6873"/>
                    <a:pt x="17182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926">
              <a:extLst>
                <a:ext uri="{FF2B5EF4-FFF2-40B4-BE49-F238E27FC236}">
                  <a16:creationId xmlns:a16="http://schemas.microsoft.com/office/drawing/2014/main" id="{57EFCA34-4820-4DC8-8648-470835B520D8}"/>
                </a:ext>
              </a:extLst>
            </p:cNvPr>
            <p:cNvSpPr/>
            <p:nvPr/>
          </p:nvSpPr>
          <p:spPr bwMode="gray">
            <a:xfrm>
              <a:off x="780406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0383"/>
                  </a:moveTo>
                  <a:lnTo>
                    <a:pt x="11424" y="15709"/>
                  </a:lnTo>
                  <a:lnTo>
                    <a:pt x="13255" y="15709"/>
                  </a:lnTo>
                  <a:cubicBezTo>
                    <a:pt x="13525" y="15709"/>
                    <a:pt x="13745" y="15490"/>
                    <a:pt x="13745" y="15218"/>
                  </a:cubicBezTo>
                  <a:lnTo>
                    <a:pt x="13745" y="14727"/>
                  </a:lnTo>
                  <a:cubicBezTo>
                    <a:pt x="13635" y="12724"/>
                    <a:pt x="12844" y="5590"/>
                    <a:pt x="7448" y="1949"/>
                  </a:cubicBezTo>
                  <a:cubicBezTo>
                    <a:pt x="16407" y="4809"/>
                    <a:pt x="17536" y="12588"/>
                    <a:pt x="17673" y="14727"/>
                  </a:cubicBezTo>
                  <a:lnTo>
                    <a:pt x="17673" y="15218"/>
                  </a:lnTo>
                  <a:cubicBezTo>
                    <a:pt x="17673" y="15490"/>
                    <a:pt x="17893" y="15709"/>
                    <a:pt x="18164" y="15709"/>
                  </a:cubicBezTo>
                  <a:lnTo>
                    <a:pt x="19994" y="15709"/>
                  </a:lnTo>
                  <a:cubicBezTo>
                    <a:pt x="19994" y="15709"/>
                    <a:pt x="15709" y="20383"/>
                    <a:pt x="15709" y="20383"/>
                  </a:cubicBezTo>
                  <a:close/>
                  <a:moveTo>
                    <a:pt x="21109" y="14727"/>
                  </a:moveTo>
                  <a:lnTo>
                    <a:pt x="18658" y="14727"/>
                  </a:lnTo>
                  <a:cubicBezTo>
                    <a:pt x="18450" y="12130"/>
                    <a:pt x="16610" y="0"/>
                    <a:pt x="491" y="0"/>
                  </a:cubicBezTo>
                  <a:cubicBezTo>
                    <a:pt x="219" y="0"/>
                    <a:pt x="0" y="220"/>
                    <a:pt x="0" y="491"/>
                  </a:cubicBezTo>
                  <a:cubicBezTo>
                    <a:pt x="0" y="762"/>
                    <a:pt x="219" y="982"/>
                    <a:pt x="491" y="982"/>
                  </a:cubicBezTo>
                  <a:cubicBezTo>
                    <a:pt x="5558" y="982"/>
                    <a:pt x="9160" y="3417"/>
                    <a:pt x="11196" y="8250"/>
                  </a:cubicBezTo>
                  <a:cubicBezTo>
                    <a:pt x="12394" y="11093"/>
                    <a:pt x="12657" y="13684"/>
                    <a:pt x="12715" y="14727"/>
                  </a:cubicBezTo>
                  <a:lnTo>
                    <a:pt x="10309" y="14727"/>
                  </a:lnTo>
                  <a:cubicBezTo>
                    <a:pt x="10038" y="14727"/>
                    <a:pt x="9818" y="14947"/>
                    <a:pt x="9818" y="15218"/>
                  </a:cubicBezTo>
                  <a:cubicBezTo>
                    <a:pt x="9818" y="15354"/>
                    <a:pt x="9873" y="15477"/>
                    <a:pt x="9962" y="15566"/>
                  </a:cubicBezTo>
                  <a:lnTo>
                    <a:pt x="15362" y="21456"/>
                  </a:lnTo>
                  <a:cubicBezTo>
                    <a:pt x="15450" y="21545"/>
                    <a:pt x="15574" y="21600"/>
                    <a:pt x="15709" y="21600"/>
                  </a:cubicBezTo>
                  <a:cubicBezTo>
                    <a:pt x="15845" y="21600"/>
                    <a:pt x="15967" y="21545"/>
                    <a:pt x="16056" y="21456"/>
                  </a:cubicBezTo>
                  <a:lnTo>
                    <a:pt x="21456" y="15566"/>
                  </a:lnTo>
                  <a:cubicBezTo>
                    <a:pt x="21545" y="15477"/>
                    <a:pt x="21600" y="15354"/>
                    <a:pt x="21600" y="15218"/>
                  </a:cubicBezTo>
                  <a:cubicBezTo>
                    <a:pt x="21600" y="14947"/>
                    <a:pt x="21380" y="14727"/>
                    <a:pt x="21109" y="147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927">
              <a:extLst>
                <a:ext uri="{FF2B5EF4-FFF2-40B4-BE49-F238E27FC236}">
                  <a16:creationId xmlns:a16="http://schemas.microsoft.com/office/drawing/2014/main" id="{4E82498E-C4C8-487D-B84C-811F3A1508B2}"/>
                </a:ext>
              </a:extLst>
            </p:cNvPr>
            <p:cNvSpPr/>
            <p:nvPr/>
          </p:nvSpPr>
          <p:spPr bwMode="gray">
            <a:xfrm>
              <a:off x="835761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5891"/>
                  </a:moveTo>
                  <a:cubicBezTo>
                    <a:pt x="17893" y="5891"/>
                    <a:pt x="17673" y="6111"/>
                    <a:pt x="17673" y="6382"/>
                  </a:cubicBezTo>
                  <a:lnTo>
                    <a:pt x="17673" y="6873"/>
                  </a:lnTo>
                  <a:cubicBezTo>
                    <a:pt x="17536" y="9012"/>
                    <a:pt x="16407" y="16791"/>
                    <a:pt x="7448" y="19651"/>
                  </a:cubicBezTo>
                  <a:cubicBezTo>
                    <a:pt x="12844" y="16010"/>
                    <a:pt x="13635" y="8876"/>
                    <a:pt x="13745" y="6873"/>
                  </a:cubicBezTo>
                  <a:lnTo>
                    <a:pt x="13745" y="6382"/>
                  </a:lnTo>
                  <a:cubicBezTo>
                    <a:pt x="13745" y="6111"/>
                    <a:pt x="13525" y="5891"/>
                    <a:pt x="13255" y="5891"/>
                  </a:cubicBezTo>
                  <a:lnTo>
                    <a:pt x="11424" y="5891"/>
                  </a:lnTo>
                  <a:lnTo>
                    <a:pt x="15709" y="1217"/>
                  </a:lnTo>
                  <a:lnTo>
                    <a:pt x="19994" y="5891"/>
                  </a:lnTo>
                  <a:cubicBezTo>
                    <a:pt x="19994" y="5891"/>
                    <a:pt x="18164" y="5891"/>
                    <a:pt x="18164" y="5891"/>
                  </a:cubicBezTo>
                  <a:close/>
                  <a:moveTo>
                    <a:pt x="21456" y="6035"/>
                  </a:moveTo>
                  <a:lnTo>
                    <a:pt x="16056" y="144"/>
                  </a:lnTo>
                  <a:cubicBezTo>
                    <a:pt x="15967" y="55"/>
                    <a:pt x="15845" y="0"/>
                    <a:pt x="15709" y="0"/>
                  </a:cubicBezTo>
                  <a:cubicBezTo>
                    <a:pt x="15573" y="0"/>
                    <a:pt x="15450" y="55"/>
                    <a:pt x="15362" y="144"/>
                  </a:cubicBezTo>
                  <a:lnTo>
                    <a:pt x="9962" y="6035"/>
                  </a:lnTo>
                  <a:cubicBezTo>
                    <a:pt x="9873" y="6124"/>
                    <a:pt x="9818" y="6247"/>
                    <a:pt x="9818" y="6382"/>
                  </a:cubicBezTo>
                  <a:cubicBezTo>
                    <a:pt x="9818" y="6653"/>
                    <a:pt x="10038" y="6873"/>
                    <a:pt x="10309" y="6873"/>
                  </a:cubicBezTo>
                  <a:lnTo>
                    <a:pt x="12715" y="6873"/>
                  </a:lnTo>
                  <a:cubicBezTo>
                    <a:pt x="12657" y="7916"/>
                    <a:pt x="12394" y="10507"/>
                    <a:pt x="11196" y="13351"/>
                  </a:cubicBezTo>
                  <a:cubicBezTo>
                    <a:pt x="9160" y="18184"/>
                    <a:pt x="5558" y="20618"/>
                    <a:pt x="491" y="20618"/>
                  </a:cubicBezTo>
                  <a:cubicBezTo>
                    <a:pt x="219" y="20618"/>
                    <a:pt x="0" y="20838"/>
                    <a:pt x="0" y="21109"/>
                  </a:cubicBezTo>
                  <a:cubicBezTo>
                    <a:pt x="0" y="21380"/>
                    <a:pt x="219" y="21600"/>
                    <a:pt x="491" y="21600"/>
                  </a:cubicBezTo>
                  <a:cubicBezTo>
                    <a:pt x="16610" y="21600"/>
                    <a:pt x="18450" y="9470"/>
                    <a:pt x="18658" y="6873"/>
                  </a:cubicBezTo>
                  <a:lnTo>
                    <a:pt x="21109" y="6873"/>
                  </a:lnTo>
                  <a:cubicBezTo>
                    <a:pt x="21380" y="6873"/>
                    <a:pt x="21600" y="6653"/>
                    <a:pt x="21600" y="6382"/>
                  </a:cubicBezTo>
                  <a:cubicBezTo>
                    <a:pt x="21600" y="6247"/>
                    <a:pt x="21545" y="6124"/>
                    <a:pt x="21456" y="603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928">
              <a:extLst>
                <a:ext uri="{FF2B5EF4-FFF2-40B4-BE49-F238E27FC236}">
                  <a16:creationId xmlns:a16="http://schemas.microsoft.com/office/drawing/2014/main" id="{D1F0DA19-3B3A-4173-9AEE-60ACFC8599B1}"/>
                </a:ext>
              </a:extLst>
            </p:cNvPr>
            <p:cNvSpPr/>
            <p:nvPr/>
          </p:nvSpPr>
          <p:spPr bwMode="gray">
            <a:xfrm>
              <a:off x="891116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873" y="7855"/>
                  </a:moveTo>
                  <a:lnTo>
                    <a:pt x="6382" y="7855"/>
                  </a:lnTo>
                  <a:cubicBezTo>
                    <a:pt x="6110" y="7855"/>
                    <a:pt x="5891" y="8075"/>
                    <a:pt x="5891" y="8345"/>
                  </a:cubicBezTo>
                  <a:lnTo>
                    <a:pt x="5891" y="10176"/>
                  </a:lnTo>
                  <a:lnTo>
                    <a:pt x="1216" y="5891"/>
                  </a:lnTo>
                  <a:lnTo>
                    <a:pt x="5891" y="1606"/>
                  </a:lnTo>
                  <a:lnTo>
                    <a:pt x="5891" y="3436"/>
                  </a:lnTo>
                  <a:cubicBezTo>
                    <a:pt x="5891" y="3708"/>
                    <a:pt x="6110" y="3927"/>
                    <a:pt x="6382" y="3927"/>
                  </a:cubicBezTo>
                  <a:lnTo>
                    <a:pt x="6873" y="3927"/>
                  </a:lnTo>
                  <a:cubicBezTo>
                    <a:pt x="9012" y="4064"/>
                    <a:pt x="16791" y="5193"/>
                    <a:pt x="19651" y="14152"/>
                  </a:cubicBezTo>
                  <a:cubicBezTo>
                    <a:pt x="16010" y="8756"/>
                    <a:pt x="8876" y="7965"/>
                    <a:pt x="6873" y="7855"/>
                  </a:cubicBezTo>
                  <a:moveTo>
                    <a:pt x="6873" y="2942"/>
                  </a:moveTo>
                  <a:lnTo>
                    <a:pt x="6873" y="491"/>
                  </a:lnTo>
                  <a:cubicBezTo>
                    <a:pt x="6873" y="220"/>
                    <a:pt x="6653" y="0"/>
                    <a:pt x="6382" y="0"/>
                  </a:cubicBezTo>
                  <a:cubicBezTo>
                    <a:pt x="6246" y="0"/>
                    <a:pt x="6123" y="55"/>
                    <a:pt x="6035" y="144"/>
                  </a:cubicBezTo>
                  <a:lnTo>
                    <a:pt x="144" y="5544"/>
                  </a:lnTo>
                  <a:cubicBezTo>
                    <a:pt x="55" y="5633"/>
                    <a:pt x="0" y="5756"/>
                    <a:pt x="0" y="5891"/>
                  </a:cubicBezTo>
                  <a:cubicBezTo>
                    <a:pt x="0" y="6027"/>
                    <a:pt x="55" y="6150"/>
                    <a:pt x="144" y="6238"/>
                  </a:cubicBezTo>
                  <a:lnTo>
                    <a:pt x="6035" y="11638"/>
                  </a:lnTo>
                  <a:cubicBezTo>
                    <a:pt x="6123" y="11727"/>
                    <a:pt x="6246" y="11782"/>
                    <a:pt x="6382" y="11782"/>
                  </a:cubicBezTo>
                  <a:cubicBezTo>
                    <a:pt x="6653" y="11782"/>
                    <a:pt x="6873" y="11562"/>
                    <a:pt x="6873" y="11291"/>
                  </a:cubicBezTo>
                  <a:lnTo>
                    <a:pt x="6873" y="8884"/>
                  </a:lnTo>
                  <a:cubicBezTo>
                    <a:pt x="7916" y="8943"/>
                    <a:pt x="10507" y="9206"/>
                    <a:pt x="13350" y="10404"/>
                  </a:cubicBezTo>
                  <a:cubicBezTo>
                    <a:pt x="18183" y="12440"/>
                    <a:pt x="20618" y="16042"/>
                    <a:pt x="20618" y="21109"/>
                  </a:cubicBezTo>
                  <a:cubicBezTo>
                    <a:pt x="20618" y="21380"/>
                    <a:pt x="20838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4990"/>
                    <a:pt x="9470" y="3150"/>
                    <a:pt x="6873" y="294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929">
              <a:extLst>
                <a:ext uri="{FF2B5EF4-FFF2-40B4-BE49-F238E27FC236}">
                  <a16:creationId xmlns:a16="http://schemas.microsoft.com/office/drawing/2014/main" id="{2E5A54B6-EE83-4F79-B643-4AFEA5338B5A}"/>
                </a:ext>
              </a:extLst>
            </p:cNvPr>
            <p:cNvSpPr/>
            <p:nvPr/>
          </p:nvSpPr>
          <p:spPr bwMode="gray">
            <a:xfrm>
              <a:off x="946472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0176"/>
                  </a:moveTo>
                  <a:lnTo>
                    <a:pt x="15709" y="8345"/>
                  </a:lnTo>
                  <a:cubicBezTo>
                    <a:pt x="15709" y="8075"/>
                    <a:pt x="15490" y="7855"/>
                    <a:pt x="15218" y="7855"/>
                  </a:cubicBezTo>
                  <a:lnTo>
                    <a:pt x="14727" y="7855"/>
                  </a:lnTo>
                  <a:cubicBezTo>
                    <a:pt x="12724" y="7965"/>
                    <a:pt x="5590" y="8756"/>
                    <a:pt x="1949" y="14152"/>
                  </a:cubicBezTo>
                  <a:cubicBezTo>
                    <a:pt x="4809" y="5193"/>
                    <a:pt x="12588" y="4064"/>
                    <a:pt x="14727" y="3927"/>
                  </a:cubicBezTo>
                  <a:lnTo>
                    <a:pt x="15218" y="3927"/>
                  </a:lnTo>
                  <a:cubicBezTo>
                    <a:pt x="15490" y="3927"/>
                    <a:pt x="15709" y="3708"/>
                    <a:pt x="15709" y="3436"/>
                  </a:cubicBezTo>
                  <a:lnTo>
                    <a:pt x="15709" y="1606"/>
                  </a:lnTo>
                  <a:lnTo>
                    <a:pt x="20383" y="5891"/>
                  </a:lnTo>
                  <a:cubicBezTo>
                    <a:pt x="20383" y="5891"/>
                    <a:pt x="15709" y="10176"/>
                    <a:pt x="15709" y="10176"/>
                  </a:cubicBezTo>
                  <a:close/>
                  <a:moveTo>
                    <a:pt x="21456" y="5544"/>
                  </a:moveTo>
                  <a:lnTo>
                    <a:pt x="15565" y="144"/>
                  </a:lnTo>
                  <a:cubicBezTo>
                    <a:pt x="15477" y="55"/>
                    <a:pt x="15354" y="0"/>
                    <a:pt x="15218" y="0"/>
                  </a:cubicBezTo>
                  <a:cubicBezTo>
                    <a:pt x="14947" y="0"/>
                    <a:pt x="14727" y="220"/>
                    <a:pt x="14727" y="491"/>
                  </a:cubicBezTo>
                  <a:lnTo>
                    <a:pt x="14727" y="2942"/>
                  </a:lnTo>
                  <a:cubicBezTo>
                    <a:pt x="12130" y="3150"/>
                    <a:pt x="0" y="4991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762" y="21600"/>
                    <a:pt x="982" y="21380"/>
                    <a:pt x="982" y="21109"/>
                  </a:cubicBezTo>
                  <a:cubicBezTo>
                    <a:pt x="982" y="16042"/>
                    <a:pt x="3417" y="12440"/>
                    <a:pt x="8250" y="10404"/>
                  </a:cubicBezTo>
                  <a:cubicBezTo>
                    <a:pt x="11093" y="9206"/>
                    <a:pt x="13684" y="8943"/>
                    <a:pt x="14727" y="8884"/>
                  </a:cubicBezTo>
                  <a:lnTo>
                    <a:pt x="14727" y="11291"/>
                  </a:lnTo>
                  <a:cubicBezTo>
                    <a:pt x="14727" y="11562"/>
                    <a:pt x="14947" y="11782"/>
                    <a:pt x="15218" y="11782"/>
                  </a:cubicBezTo>
                  <a:cubicBezTo>
                    <a:pt x="15354" y="11782"/>
                    <a:pt x="15477" y="11727"/>
                    <a:pt x="15565" y="11638"/>
                  </a:cubicBezTo>
                  <a:lnTo>
                    <a:pt x="21456" y="6238"/>
                  </a:lnTo>
                  <a:cubicBezTo>
                    <a:pt x="21545" y="6150"/>
                    <a:pt x="21600" y="6027"/>
                    <a:pt x="21600" y="5891"/>
                  </a:cubicBezTo>
                  <a:cubicBezTo>
                    <a:pt x="21600" y="5756"/>
                    <a:pt x="21545" y="5633"/>
                    <a:pt x="21456" y="554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930">
              <a:extLst>
                <a:ext uri="{FF2B5EF4-FFF2-40B4-BE49-F238E27FC236}">
                  <a16:creationId xmlns:a16="http://schemas.microsoft.com/office/drawing/2014/main" id="{75CAA399-F13A-46BB-81DD-EA5B51A7FF0B}"/>
                </a:ext>
              </a:extLst>
            </p:cNvPr>
            <p:cNvSpPr/>
            <p:nvPr/>
          </p:nvSpPr>
          <p:spPr bwMode="gray">
            <a:xfrm>
              <a:off x="10018271" y="2365316"/>
              <a:ext cx="289956" cy="184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5" y="1543"/>
                  </a:moveTo>
                  <a:cubicBezTo>
                    <a:pt x="12837" y="1543"/>
                    <a:pt x="10309" y="5515"/>
                    <a:pt x="10309" y="10414"/>
                  </a:cubicBezTo>
                  <a:lnTo>
                    <a:pt x="10309" y="11186"/>
                  </a:lnTo>
                  <a:cubicBezTo>
                    <a:pt x="10309" y="15233"/>
                    <a:pt x="8221" y="18514"/>
                    <a:pt x="5645" y="18514"/>
                  </a:cubicBezTo>
                  <a:cubicBezTo>
                    <a:pt x="3070" y="18514"/>
                    <a:pt x="982" y="15233"/>
                    <a:pt x="982" y="11186"/>
                  </a:cubicBezTo>
                  <a:lnTo>
                    <a:pt x="982" y="10414"/>
                  </a:lnTo>
                  <a:cubicBezTo>
                    <a:pt x="982" y="6367"/>
                    <a:pt x="3070" y="3086"/>
                    <a:pt x="5645" y="3086"/>
                  </a:cubicBezTo>
                  <a:cubicBezTo>
                    <a:pt x="6670" y="3086"/>
                    <a:pt x="7575" y="3630"/>
                    <a:pt x="8321" y="4629"/>
                  </a:cubicBezTo>
                  <a:lnTo>
                    <a:pt x="6382" y="4629"/>
                  </a:lnTo>
                  <a:cubicBezTo>
                    <a:pt x="6110" y="4629"/>
                    <a:pt x="5891" y="4974"/>
                    <a:pt x="5891" y="5400"/>
                  </a:cubicBezTo>
                  <a:cubicBezTo>
                    <a:pt x="5891" y="5826"/>
                    <a:pt x="6110" y="6171"/>
                    <a:pt x="6382" y="6171"/>
                  </a:cubicBezTo>
                  <a:lnTo>
                    <a:pt x="9327" y="6171"/>
                  </a:lnTo>
                  <a:cubicBezTo>
                    <a:pt x="9599" y="6171"/>
                    <a:pt x="9818" y="5826"/>
                    <a:pt x="9818" y="5400"/>
                  </a:cubicBezTo>
                  <a:lnTo>
                    <a:pt x="9818" y="771"/>
                  </a:lnTo>
                  <a:cubicBezTo>
                    <a:pt x="9818" y="346"/>
                    <a:pt x="9599" y="0"/>
                    <a:pt x="9327" y="0"/>
                  </a:cubicBezTo>
                  <a:cubicBezTo>
                    <a:pt x="9056" y="0"/>
                    <a:pt x="8836" y="346"/>
                    <a:pt x="8836" y="771"/>
                  </a:cubicBezTo>
                  <a:lnTo>
                    <a:pt x="8836" y="3321"/>
                  </a:lnTo>
                  <a:cubicBezTo>
                    <a:pt x="7879" y="2160"/>
                    <a:pt x="6706" y="1543"/>
                    <a:pt x="5645" y="1543"/>
                  </a:cubicBezTo>
                  <a:cubicBezTo>
                    <a:pt x="2527" y="1543"/>
                    <a:pt x="0" y="5515"/>
                    <a:pt x="0" y="10414"/>
                  </a:cubicBezTo>
                  <a:lnTo>
                    <a:pt x="0" y="11186"/>
                  </a:lnTo>
                  <a:cubicBezTo>
                    <a:pt x="0" y="16085"/>
                    <a:pt x="2527" y="20057"/>
                    <a:pt x="5645" y="20057"/>
                  </a:cubicBezTo>
                  <a:cubicBezTo>
                    <a:pt x="8763" y="20057"/>
                    <a:pt x="11291" y="16085"/>
                    <a:pt x="11291" y="11186"/>
                  </a:cubicBezTo>
                  <a:lnTo>
                    <a:pt x="11291" y="10414"/>
                  </a:lnTo>
                  <a:cubicBezTo>
                    <a:pt x="11291" y="6367"/>
                    <a:pt x="13379" y="3086"/>
                    <a:pt x="15955" y="3086"/>
                  </a:cubicBezTo>
                  <a:cubicBezTo>
                    <a:pt x="18530" y="3086"/>
                    <a:pt x="20618" y="6367"/>
                    <a:pt x="20618" y="10414"/>
                  </a:cubicBezTo>
                  <a:lnTo>
                    <a:pt x="20618" y="11186"/>
                  </a:lnTo>
                  <a:cubicBezTo>
                    <a:pt x="20618" y="15233"/>
                    <a:pt x="18530" y="18514"/>
                    <a:pt x="15955" y="18514"/>
                  </a:cubicBezTo>
                  <a:cubicBezTo>
                    <a:pt x="14930" y="18514"/>
                    <a:pt x="14025" y="17970"/>
                    <a:pt x="13279" y="16971"/>
                  </a:cubicBezTo>
                  <a:lnTo>
                    <a:pt x="15218" y="16971"/>
                  </a:lnTo>
                  <a:cubicBezTo>
                    <a:pt x="15490" y="16971"/>
                    <a:pt x="15709" y="16626"/>
                    <a:pt x="15709" y="16200"/>
                  </a:cubicBezTo>
                  <a:cubicBezTo>
                    <a:pt x="15709" y="15774"/>
                    <a:pt x="15490" y="15429"/>
                    <a:pt x="15218" y="15429"/>
                  </a:cubicBezTo>
                  <a:lnTo>
                    <a:pt x="12273" y="15429"/>
                  </a:lnTo>
                  <a:cubicBezTo>
                    <a:pt x="12001" y="15429"/>
                    <a:pt x="11782" y="15774"/>
                    <a:pt x="11782" y="16200"/>
                  </a:cubicBezTo>
                  <a:lnTo>
                    <a:pt x="11782" y="20829"/>
                  </a:lnTo>
                  <a:cubicBezTo>
                    <a:pt x="11782" y="21255"/>
                    <a:pt x="12001" y="21600"/>
                    <a:pt x="12273" y="21600"/>
                  </a:cubicBezTo>
                  <a:cubicBezTo>
                    <a:pt x="12544" y="21600"/>
                    <a:pt x="12764" y="21255"/>
                    <a:pt x="12764" y="20829"/>
                  </a:cubicBezTo>
                  <a:lnTo>
                    <a:pt x="12764" y="18279"/>
                  </a:lnTo>
                  <a:cubicBezTo>
                    <a:pt x="13721" y="19441"/>
                    <a:pt x="14894" y="20057"/>
                    <a:pt x="15955" y="20057"/>
                  </a:cubicBezTo>
                  <a:cubicBezTo>
                    <a:pt x="19073" y="20057"/>
                    <a:pt x="21600" y="16085"/>
                    <a:pt x="21600" y="11186"/>
                  </a:cubicBezTo>
                  <a:lnTo>
                    <a:pt x="21600" y="10414"/>
                  </a:lnTo>
                  <a:cubicBezTo>
                    <a:pt x="21600" y="5515"/>
                    <a:pt x="19073" y="1543"/>
                    <a:pt x="15955" y="15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931">
              <a:extLst>
                <a:ext uri="{FF2B5EF4-FFF2-40B4-BE49-F238E27FC236}">
                  <a16:creationId xmlns:a16="http://schemas.microsoft.com/office/drawing/2014/main" id="{D0C3F73A-7B22-421F-BE28-1ADBBF4D297A}"/>
                </a:ext>
              </a:extLst>
            </p:cNvPr>
            <p:cNvSpPr/>
            <p:nvPr/>
          </p:nvSpPr>
          <p:spPr bwMode="gray">
            <a:xfrm>
              <a:off x="10571823" y="2352136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924" y="4050"/>
                  </a:moveTo>
                  <a:lnTo>
                    <a:pt x="18798" y="5598"/>
                  </a:lnTo>
                  <a:cubicBezTo>
                    <a:pt x="18709" y="5720"/>
                    <a:pt x="18655" y="5889"/>
                    <a:pt x="18655" y="6075"/>
                  </a:cubicBezTo>
                  <a:cubicBezTo>
                    <a:pt x="18655" y="6448"/>
                    <a:pt x="18874" y="6750"/>
                    <a:pt x="19145" y="6750"/>
                  </a:cubicBezTo>
                  <a:cubicBezTo>
                    <a:pt x="19281" y="6750"/>
                    <a:pt x="19404" y="6674"/>
                    <a:pt x="19493" y="6552"/>
                  </a:cubicBezTo>
                  <a:lnTo>
                    <a:pt x="21456" y="3853"/>
                  </a:lnTo>
                  <a:cubicBezTo>
                    <a:pt x="21545" y="3731"/>
                    <a:pt x="21600" y="3562"/>
                    <a:pt x="21600" y="3375"/>
                  </a:cubicBezTo>
                  <a:cubicBezTo>
                    <a:pt x="21600" y="3189"/>
                    <a:pt x="21545" y="3020"/>
                    <a:pt x="21456" y="2898"/>
                  </a:cubicBezTo>
                  <a:lnTo>
                    <a:pt x="19493" y="198"/>
                  </a:lnTo>
                  <a:cubicBezTo>
                    <a:pt x="19403" y="76"/>
                    <a:pt x="19281" y="0"/>
                    <a:pt x="19145" y="0"/>
                  </a:cubicBezTo>
                  <a:cubicBezTo>
                    <a:pt x="18874" y="0"/>
                    <a:pt x="18655" y="303"/>
                    <a:pt x="18655" y="675"/>
                  </a:cubicBezTo>
                  <a:cubicBezTo>
                    <a:pt x="18655" y="862"/>
                    <a:pt x="18709" y="1031"/>
                    <a:pt x="18799" y="1153"/>
                  </a:cubicBezTo>
                  <a:lnTo>
                    <a:pt x="19924" y="2700"/>
                  </a:lnTo>
                  <a:lnTo>
                    <a:pt x="15218" y="2700"/>
                  </a:lnTo>
                  <a:cubicBezTo>
                    <a:pt x="15065" y="2700"/>
                    <a:pt x="14933" y="2803"/>
                    <a:pt x="14843" y="2954"/>
                  </a:cubicBezTo>
                  <a:lnTo>
                    <a:pt x="14838" y="2948"/>
                  </a:lnTo>
                  <a:lnTo>
                    <a:pt x="6149" y="17550"/>
                  </a:lnTo>
                  <a:lnTo>
                    <a:pt x="491" y="17550"/>
                  </a:lnTo>
                  <a:cubicBezTo>
                    <a:pt x="220" y="17550"/>
                    <a:pt x="0" y="17853"/>
                    <a:pt x="0" y="18225"/>
                  </a:cubicBezTo>
                  <a:cubicBezTo>
                    <a:pt x="0" y="18598"/>
                    <a:pt x="220" y="18900"/>
                    <a:pt x="491" y="18900"/>
                  </a:cubicBezTo>
                  <a:lnTo>
                    <a:pt x="6382" y="18900"/>
                  </a:lnTo>
                  <a:cubicBezTo>
                    <a:pt x="6535" y="18900"/>
                    <a:pt x="6667" y="18798"/>
                    <a:pt x="6757" y="18647"/>
                  </a:cubicBezTo>
                  <a:lnTo>
                    <a:pt x="6762" y="18652"/>
                  </a:lnTo>
                  <a:lnTo>
                    <a:pt x="15451" y="4050"/>
                  </a:lnTo>
                  <a:cubicBezTo>
                    <a:pt x="15451" y="4050"/>
                    <a:pt x="19924" y="4050"/>
                    <a:pt x="19924" y="4050"/>
                  </a:cubicBezTo>
                  <a:close/>
                  <a:moveTo>
                    <a:pt x="19493" y="15048"/>
                  </a:moveTo>
                  <a:cubicBezTo>
                    <a:pt x="19403" y="14926"/>
                    <a:pt x="19281" y="14850"/>
                    <a:pt x="19145" y="14850"/>
                  </a:cubicBezTo>
                  <a:cubicBezTo>
                    <a:pt x="18874" y="14850"/>
                    <a:pt x="18655" y="15153"/>
                    <a:pt x="18655" y="15525"/>
                  </a:cubicBezTo>
                  <a:cubicBezTo>
                    <a:pt x="18655" y="15712"/>
                    <a:pt x="18709" y="15880"/>
                    <a:pt x="18798" y="16002"/>
                  </a:cubicBezTo>
                  <a:lnTo>
                    <a:pt x="19924" y="17550"/>
                  </a:lnTo>
                  <a:lnTo>
                    <a:pt x="15451" y="17550"/>
                  </a:lnTo>
                  <a:lnTo>
                    <a:pt x="12386" y="12399"/>
                  </a:lnTo>
                  <a:lnTo>
                    <a:pt x="11751" y="13465"/>
                  </a:lnTo>
                  <a:lnTo>
                    <a:pt x="14838" y="18652"/>
                  </a:lnTo>
                  <a:lnTo>
                    <a:pt x="14843" y="18647"/>
                  </a:lnTo>
                  <a:cubicBezTo>
                    <a:pt x="14933" y="18798"/>
                    <a:pt x="15065" y="18900"/>
                    <a:pt x="15218" y="18900"/>
                  </a:cubicBezTo>
                  <a:lnTo>
                    <a:pt x="19924" y="18900"/>
                  </a:lnTo>
                  <a:lnTo>
                    <a:pt x="18798" y="20448"/>
                  </a:lnTo>
                  <a:cubicBezTo>
                    <a:pt x="18709" y="20570"/>
                    <a:pt x="18655" y="20739"/>
                    <a:pt x="18655" y="20925"/>
                  </a:cubicBezTo>
                  <a:cubicBezTo>
                    <a:pt x="18655" y="21298"/>
                    <a:pt x="18874" y="21600"/>
                    <a:pt x="19145" y="21600"/>
                  </a:cubicBezTo>
                  <a:cubicBezTo>
                    <a:pt x="19281" y="21600"/>
                    <a:pt x="19403" y="21525"/>
                    <a:pt x="19493" y="21402"/>
                  </a:cubicBezTo>
                  <a:lnTo>
                    <a:pt x="21456" y="18702"/>
                  </a:lnTo>
                  <a:cubicBezTo>
                    <a:pt x="21545" y="18580"/>
                    <a:pt x="21600" y="18412"/>
                    <a:pt x="21600" y="18225"/>
                  </a:cubicBezTo>
                  <a:cubicBezTo>
                    <a:pt x="21600" y="18039"/>
                    <a:pt x="21545" y="17870"/>
                    <a:pt x="21456" y="17748"/>
                  </a:cubicBezTo>
                  <a:cubicBezTo>
                    <a:pt x="21456" y="17748"/>
                    <a:pt x="19493" y="15048"/>
                    <a:pt x="19493" y="15048"/>
                  </a:cubicBezTo>
                  <a:close/>
                  <a:moveTo>
                    <a:pt x="491" y="4050"/>
                  </a:moveTo>
                  <a:lnTo>
                    <a:pt x="6148" y="4050"/>
                  </a:lnTo>
                  <a:lnTo>
                    <a:pt x="9214" y="9201"/>
                  </a:lnTo>
                  <a:lnTo>
                    <a:pt x="9849" y="8136"/>
                  </a:lnTo>
                  <a:lnTo>
                    <a:pt x="6762" y="2948"/>
                  </a:lnTo>
                  <a:lnTo>
                    <a:pt x="6756" y="2954"/>
                  </a:lnTo>
                  <a:cubicBezTo>
                    <a:pt x="6667" y="2803"/>
                    <a:pt x="6535" y="2700"/>
                    <a:pt x="6382" y="2700"/>
                  </a:cubicBezTo>
                  <a:lnTo>
                    <a:pt x="491" y="2700"/>
                  </a:lnTo>
                  <a:cubicBezTo>
                    <a:pt x="220" y="2700"/>
                    <a:pt x="0" y="3003"/>
                    <a:pt x="0" y="3375"/>
                  </a:cubicBezTo>
                  <a:cubicBezTo>
                    <a:pt x="0" y="3748"/>
                    <a:pt x="220" y="4050"/>
                    <a:pt x="491" y="405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932">
              <a:extLst>
                <a:ext uri="{FF2B5EF4-FFF2-40B4-BE49-F238E27FC236}">
                  <a16:creationId xmlns:a16="http://schemas.microsoft.com/office/drawing/2014/main" id="{C604169C-85CA-4DC3-866E-DA159FE69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338956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2000"/>
                  </a:moveTo>
                  <a:cubicBezTo>
                    <a:pt x="1421" y="12000"/>
                    <a:pt x="982" y="11462"/>
                    <a:pt x="982" y="10800"/>
                  </a:cubicBezTo>
                  <a:cubicBezTo>
                    <a:pt x="982" y="10138"/>
                    <a:pt x="1421" y="9600"/>
                    <a:pt x="1964" y="9600"/>
                  </a:cubicBezTo>
                  <a:cubicBezTo>
                    <a:pt x="2505" y="9600"/>
                    <a:pt x="2945" y="10138"/>
                    <a:pt x="2945" y="10800"/>
                  </a:cubicBezTo>
                  <a:cubicBezTo>
                    <a:pt x="2945" y="11462"/>
                    <a:pt x="2505" y="12000"/>
                    <a:pt x="1964" y="12000"/>
                  </a:cubicBezTo>
                  <a:moveTo>
                    <a:pt x="21456" y="10376"/>
                  </a:moveTo>
                  <a:lnTo>
                    <a:pt x="18511" y="6776"/>
                  </a:lnTo>
                  <a:cubicBezTo>
                    <a:pt x="18422" y="6667"/>
                    <a:pt x="18299" y="6600"/>
                    <a:pt x="18164" y="6600"/>
                  </a:cubicBezTo>
                  <a:cubicBezTo>
                    <a:pt x="17892" y="6600"/>
                    <a:pt x="17673" y="6869"/>
                    <a:pt x="17673" y="7200"/>
                  </a:cubicBezTo>
                  <a:cubicBezTo>
                    <a:pt x="17673" y="7366"/>
                    <a:pt x="17728" y="7516"/>
                    <a:pt x="17817" y="7624"/>
                  </a:cubicBezTo>
                  <a:lnTo>
                    <a:pt x="19924" y="10200"/>
                  </a:lnTo>
                  <a:lnTo>
                    <a:pt x="8058" y="10200"/>
                  </a:lnTo>
                  <a:lnTo>
                    <a:pt x="14727" y="2048"/>
                  </a:lnTo>
                  <a:lnTo>
                    <a:pt x="14727" y="5400"/>
                  </a:lnTo>
                  <a:cubicBezTo>
                    <a:pt x="14727" y="5732"/>
                    <a:pt x="14947" y="6000"/>
                    <a:pt x="15218" y="6000"/>
                  </a:cubicBezTo>
                  <a:cubicBezTo>
                    <a:pt x="15489" y="6000"/>
                    <a:pt x="15709" y="5732"/>
                    <a:pt x="15709" y="5400"/>
                  </a:cubicBezTo>
                  <a:lnTo>
                    <a:pt x="15709" y="600"/>
                  </a:lnTo>
                  <a:cubicBezTo>
                    <a:pt x="15709" y="269"/>
                    <a:pt x="15489" y="0"/>
                    <a:pt x="15218" y="0"/>
                  </a:cubicBezTo>
                  <a:lnTo>
                    <a:pt x="11291" y="0"/>
                  </a:lnTo>
                  <a:cubicBezTo>
                    <a:pt x="11020" y="0"/>
                    <a:pt x="10800" y="269"/>
                    <a:pt x="10800" y="600"/>
                  </a:cubicBezTo>
                  <a:cubicBezTo>
                    <a:pt x="10800" y="932"/>
                    <a:pt x="11020" y="1200"/>
                    <a:pt x="11291" y="1200"/>
                  </a:cubicBezTo>
                  <a:lnTo>
                    <a:pt x="14033" y="1200"/>
                  </a:lnTo>
                  <a:lnTo>
                    <a:pt x="6669" y="10200"/>
                  </a:lnTo>
                  <a:lnTo>
                    <a:pt x="3858" y="10200"/>
                  </a:lnTo>
                  <a:cubicBezTo>
                    <a:pt x="3639" y="9167"/>
                    <a:pt x="2877" y="8400"/>
                    <a:pt x="1964" y="8400"/>
                  </a:cubicBezTo>
                  <a:cubicBezTo>
                    <a:pt x="879" y="8400"/>
                    <a:pt x="0" y="9475"/>
                    <a:pt x="0" y="10800"/>
                  </a:cubicBezTo>
                  <a:cubicBezTo>
                    <a:pt x="0" y="12125"/>
                    <a:pt x="879" y="13200"/>
                    <a:pt x="1964" y="13200"/>
                  </a:cubicBezTo>
                  <a:cubicBezTo>
                    <a:pt x="2877" y="13200"/>
                    <a:pt x="3639" y="12434"/>
                    <a:pt x="3858" y="11400"/>
                  </a:cubicBezTo>
                  <a:lnTo>
                    <a:pt x="6669" y="11400"/>
                  </a:lnTo>
                  <a:lnTo>
                    <a:pt x="14033" y="20400"/>
                  </a:lnTo>
                  <a:lnTo>
                    <a:pt x="11291" y="20400"/>
                  </a:lnTo>
                  <a:cubicBezTo>
                    <a:pt x="11020" y="20400"/>
                    <a:pt x="10800" y="20669"/>
                    <a:pt x="10800" y="21000"/>
                  </a:cubicBezTo>
                  <a:cubicBezTo>
                    <a:pt x="10800" y="21332"/>
                    <a:pt x="11020" y="21600"/>
                    <a:pt x="11291" y="21600"/>
                  </a:cubicBezTo>
                  <a:lnTo>
                    <a:pt x="15218" y="21600"/>
                  </a:lnTo>
                  <a:cubicBezTo>
                    <a:pt x="15489" y="21600"/>
                    <a:pt x="15709" y="21332"/>
                    <a:pt x="15709" y="21000"/>
                  </a:cubicBezTo>
                  <a:lnTo>
                    <a:pt x="15709" y="16200"/>
                  </a:lnTo>
                  <a:cubicBezTo>
                    <a:pt x="15709" y="15869"/>
                    <a:pt x="15489" y="15600"/>
                    <a:pt x="15218" y="15600"/>
                  </a:cubicBezTo>
                  <a:cubicBezTo>
                    <a:pt x="14947" y="15600"/>
                    <a:pt x="14727" y="15869"/>
                    <a:pt x="14727" y="16200"/>
                  </a:cubicBezTo>
                  <a:lnTo>
                    <a:pt x="14727" y="19552"/>
                  </a:lnTo>
                  <a:lnTo>
                    <a:pt x="8058" y="11400"/>
                  </a:lnTo>
                  <a:lnTo>
                    <a:pt x="19924" y="11400"/>
                  </a:lnTo>
                  <a:lnTo>
                    <a:pt x="17817" y="13976"/>
                  </a:lnTo>
                  <a:cubicBezTo>
                    <a:pt x="17728" y="14085"/>
                    <a:pt x="17673" y="14235"/>
                    <a:pt x="17673" y="14400"/>
                  </a:cubicBezTo>
                  <a:cubicBezTo>
                    <a:pt x="17673" y="14732"/>
                    <a:pt x="17892" y="15000"/>
                    <a:pt x="18164" y="15000"/>
                  </a:cubicBezTo>
                  <a:cubicBezTo>
                    <a:pt x="18299" y="15000"/>
                    <a:pt x="18422" y="14933"/>
                    <a:pt x="18511" y="14824"/>
                  </a:cubicBezTo>
                  <a:lnTo>
                    <a:pt x="21456" y="11224"/>
                  </a:lnTo>
                  <a:cubicBezTo>
                    <a:pt x="21545" y="11116"/>
                    <a:pt x="21600" y="10966"/>
                    <a:pt x="21600" y="10800"/>
                  </a:cubicBezTo>
                  <a:cubicBezTo>
                    <a:pt x="21600" y="10635"/>
                    <a:pt x="21545" y="10485"/>
                    <a:pt x="21456" y="10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944">
              <a:extLst>
                <a:ext uri="{FF2B5EF4-FFF2-40B4-BE49-F238E27FC236}">
                  <a16:creationId xmlns:a16="http://schemas.microsoft.com/office/drawing/2014/main" id="{7DDA064C-99A6-4A0F-BFE3-B9389E6A242C}"/>
                </a:ext>
              </a:extLst>
            </p:cNvPr>
            <p:cNvSpPr/>
            <p:nvPr/>
          </p:nvSpPr>
          <p:spPr bwMode="gray">
            <a:xfrm>
              <a:off x="6095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850" y="17620"/>
                  </a:moveTo>
                  <a:cubicBezTo>
                    <a:pt x="17270" y="17122"/>
                    <a:pt x="16604" y="16682"/>
                    <a:pt x="15855" y="16324"/>
                  </a:cubicBezTo>
                  <a:cubicBezTo>
                    <a:pt x="15868" y="16284"/>
                    <a:pt x="15882" y="16244"/>
                    <a:pt x="15896" y="16203"/>
                  </a:cubicBezTo>
                  <a:cubicBezTo>
                    <a:pt x="16131" y="15456"/>
                    <a:pt x="16320" y="14656"/>
                    <a:pt x="16454" y="13811"/>
                  </a:cubicBezTo>
                  <a:cubicBezTo>
                    <a:pt x="16471" y="13704"/>
                    <a:pt x="16484" y="13596"/>
                    <a:pt x="16499" y="13488"/>
                  </a:cubicBezTo>
                  <a:cubicBezTo>
                    <a:pt x="16544" y="13166"/>
                    <a:pt x="16581" y="12839"/>
                    <a:pt x="16610" y="12507"/>
                  </a:cubicBezTo>
                  <a:cubicBezTo>
                    <a:pt x="16621" y="12383"/>
                    <a:pt x="16632" y="12260"/>
                    <a:pt x="16641" y="12135"/>
                  </a:cubicBezTo>
                  <a:cubicBezTo>
                    <a:pt x="16660" y="11858"/>
                    <a:pt x="16664" y="11574"/>
                    <a:pt x="16673" y="11291"/>
                  </a:cubicBezTo>
                  <a:lnTo>
                    <a:pt x="20598" y="11291"/>
                  </a:lnTo>
                  <a:cubicBezTo>
                    <a:pt x="20476" y="13747"/>
                    <a:pt x="19450" y="15962"/>
                    <a:pt x="17850" y="17620"/>
                  </a:cubicBezTo>
                  <a:moveTo>
                    <a:pt x="13714" y="20178"/>
                  </a:moveTo>
                  <a:cubicBezTo>
                    <a:pt x="13925" y="19957"/>
                    <a:pt x="14127" y="19710"/>
                    <a:pt x="14321" y="19444"/>
                  </a:cubicBezTo>
                  <a:cubicBezTo>
                    <a:pt x="14339" y="19419"/>
                    <a:pt x="14357" y="19394"/>
                    <a:pt x="14375" y="19369"/>
                  </a:cubicBezTo>
                  <a:cubicBezTo>
                    <a:pt x="14764" y="18822"/>
                    <a:pt x="15116" y="18192"/>
                    <a:pt x="15420" y="17488"/>
                  </a:cubicBezTo>
                  <a:cubicBezTo>
                    <a:pt x="15436" y="17450"/>
                    <a:pt x="15451" y="17410"/>
                    <a:pt x="15467" y="17372"/>
                  </a:cubicBezTo>
                  <a:cubicBezTo>
                    <a:pt x="15485" y="17329"/>
                    <a:pt x="15499" y="17282"/>
                    <a:pt x="15517" y="17239"/>
                  </a:cubicBezTo>
                  <a:cubicBezTo>
                    <a:pt x="16123" y="17535"/>
                    <a:pt x="16665" y="17890"/>
                    <a:pt x="17142" y="18285"/>
                  </a:cubicBezTo>
                  <a:cubicBezTo>
                    <a:pt x="16149" y="19129"/>
                    <a:pt x="14989" y="19782"/>
                    <a:pt x="13714" y="20178"/>
                  </a:cubicBezTo>
                  <a:moveTo>
                    <a:pt x="11291" y="20569"/>
                  </a:moveTo>
                  <a:lnTo>
                    <a:pt x="11291" y="16221"/>
                  </a:lnTo>
                  <a:cubicBezTo>
                    <a:pt x="12498" y="16271"/>
                    <a:pt x="13638" y="16493"/>
                    <a:pt x="14652" y="16869"/>
                  </a:cubicBezTo>
                  <a:cubicBezTo>
                    <a:pt x="13850" y="18909"/>
                    <a:pt x="12654" y="20298"/>
                    <a:pt x="11291" y="20569"/>
                  </a:cubicBezTo>
                  <a:moveTo>
                    <a:pt x="11291" y="11291"/>
                  </a:moveTo>
                  <a:lnTo>
                    <a:pt x="15697" y="11291"/>
                  </a:lnTo>
                  <a:cubicBezTo>
                    <a:pt x="15655" y="12995"/>
                    <a:pt x="15392" y="14581"/>
                    <a:pt x="14971" y="15948"/>
                  </a:cubicBezTo>
                  <a:cubicBezTo>
                    <a:pt x="13855" y="15534"/>
                    <a:pt x="12608" y="15291"/>
                    <a:pt x="11291" y="15240"/>
                  </a:cubicBezTo>
                  <a:cubicBezTo>
                    <a:pt x="11291" y="15240"/>
                    <a:pt x="11291" y="11291"/>
                    <a:pt x="11291" y="11291"/>
                  </a:cubicBezTo>
                  <a:close/>
                  <a:moveTo>
                    <a:pt x="11291" y="6360"/>
                  </a:moveTo>
                  <a:cubicBezTo>
                    <a:pt x="12608" y="6309"/>
                    <a:pt x="13855" y="6066"/>
                    <a:pt x="14971" y="5652"/>
                  </a:cubicBezTo>
                  <a:cubicBezTo>
                    <a:pt x="15392" y="7019"/>
                    <a:pt x="15655" y="8605"/>
                    <a:pt x="15697" y="10309"/>
                  </a:cubicBezTo>
                  <a:lnTo>
                    <a:pt x="11291" y="10309"/>
                  </a:lnTo>
                  <a:cubicBezTo>
                    <a:pt x="11291" y="10309"/>
                    <a:pt x="11291" y="6360"/>
                    <a:pt x="11291" y="6360"/>
                  </a:cubicBezTo>
                  <a:close/>
                  <a:moveTo>
                    <a:pt x="11291" y="1031"/>
                  </a:moveTo>
                  <a:cubicBezTo>
                    <a:pt x="12654" y="1302"/>
                    <a:pt x="13850" y="2691"/>
                    <a:pt x="14652" y="4731"/>
                  </a:cubicBezTo>
                  <a:cubicBezTo>
                    <a:pt x="13638" y="5107"/>
                    <a:pt x="12498" y="5329"/>
                    <a:pt x="11291" y="5379"/>
                  </a:cubicBezTo>
                  <a:cubicBezTo>
                    <a:pt x="11291" y="5379"/>
                    <a:pt x="11291" y="1031"/>
                    <a:pt x="11291" y="1031"/>
                  </a:cubicBezTo>
                  <a:close/>
                  <a:moveTo>
                    <a:pt x="17142" y="3315"/>
                  </a:moveTo>
                  <a:cubicBezTo>
                    <a:pt x="16665" y="3711"/>
                    <a:pt x="16123" y="4065"/>
                    <a:pt x="15517" y="4361"/>
                  </a:cubicBezTo>
                  <a:cubicBezTo>
                    <a:pt x="15499" y="4318"/>
                    <a:pt x="15485" y="4271"/>
                    <a:pt x="15467" y="4229"/>
                  </a:cubicBezTo>
                  <a:cubicBezTo>
                    <a:pt x="15451" y="4190"/>
                    <a:pt x="15436" y="4151"/>
                    <a:pt x="15420" y="4112"/>
                  </a:cubicBezTo>
                  <a:cubicBezTo>
                    <a:pt x="15116" y="3408"/>
                    <a:pt x="14764" y="2778"/>
                    <a:pt x="14375" y="2231"/>
                  </a:cubicBezTo>
                  <a:cubicBezTo>
                    <a:pt x="14357" y="2206"/>
                    <a:pt x="14339" y="2181"/>
                    <a:pt x="14321" y="2156"/>
                  </a:cubicBezTo>
                  <a:cubicBezTo>
                    <a:pt x="14127" y="1890"/>
                    <a:pt x="13925" y="1643"/>
                    <a:pt x="13714" y="1422"/>
                  </a:cubicBezTo>
                  <a:cubicBezTo>
                    <a:pt x="14989" y="1818"/>
                    <a:pt x="16149" y="2471"/>
                    <a:pt x="17142" y="3315"/>
                  </a:cubicBezTo>
                  <a:moveTo>
                    <a:pt x="20598" y="10309"/>
                  </a:moveTo>
                  <a:lnTo>
                    <a:pt x="16673" y="10309"/>
                  </a:lnTo>
                  <a:cubicBezTo>
                    <a:pt x="16664" y="10027"/>
                    <a:pt x="16660" y="9742"/>
                    <a:pt x="16641" y="9465"/>
                  </a:cubicBezTo>
                  <a:cubicBezTo>
                    <a:pt x="16632" y="9340"/>
                    <a:pt x="16621" y="9217"/>
                    <a:pt x="16610" y="9093"/>
                  </a:cubicBezTo>
                  <a:cubicBezTo>
                    <a:pt x="16581" y="8761"/>
                    <a:pt x="16544" y="8434"/>
                    <a:pt x="16499" y="8112"/>
                  </a:cubicBezTo>
                  <a:cubicBezTo>
                    <a:pt x="16484" y="8005"/>
                    <a:pt x="16471" y="7896"/>
                    <a:pt x="16454" y="7789"/>
                  </a:cubicBezTo>
                  <a:cubicBezTo>
                    <a:pt x="16320" y="6944"/>
                    <a:pt x="16131" y="6144"/>
                    <a:pt x="15896" y="5397"/>
                  </a:cubicBezTo>
                  <a:cubicBezTo>
                    <a:pt x="15882" y="5357"/>
                    <a:pt x="15868" y="5317"/>
                    <a:pt x="15855" y="5276"/>
                  </a:cubicBezTo>
                  <a:cubicBezTo>
                    <a:pt x="16604" y="4918"/>
                    <a:pt x="17270" y="4478"/>
                    <a:pt x="17850" y="3981"/>
                  </a:cubicBezTo>
                  <a:cubicBezTo>
                    <a:pt x="19450" y="5638"/>
                    <a:pt x="20476" y="7853"/>
                    <a:pt x="20598" y="10309"/>
                  </a:cubicBezTo>
                  <a:moveTo>
                    <a:pt x="10309" y="5379"/>
                  </a:moveTo>
                  <a:cubicBezTo>
                    <a:pt x="9101" y="5329"/>
                    <a:pt x="7961" y="5107"/>
                    <a:pt x="6947" y="4731"/>
                  </a:cubicBezTo>
                  <a:cubicBezTo>
                    <a:pt x="7749" y="2691"/>
                    <a:pt x="8945" y="1302"/>
                    <a:pt x="10309" y="1031"/>
                  </a:cubicBezTo>
                  <a:cubicBezTo>
                    <a:pt x="10309" y="1031"/>
                    <a:pt x="10309" y="5379"/>
                    <a:pt x="10309" y="5379"/>
                  </a:cubicBezTo>
                  <a:close/>
                  <a:moveTo>
                    <a:pt x="10309" y="10309"/>
                  </a:moveTo>
                  <a:lnTo>
                    <a:pt x="5903" y="10309"/>
                  </a:lnTo>
                  <a:cubicBezTo>
                    <a:pt x="5945" y="8605"/>
                    <a:pt x="6207" y="7019"/>
                    <a:pt x="6629" y="5652"/>
                  </a:cubicBezTo>
                  <a:cubicBezTo>
                    <a:pt x="7745" y="6066"/>
                    <a:pt x="8991" y="6309"/>
                    <a:pt x="10309" y="6360"/>
                  </a:cubicBezTo>
                  <a:cubicBezTo>
                    <a:pt x="10309" y="6360"/>
                    <a:pt x="10309" y="10309"/>
                    <a:pt x="10309" y="10309"/>
                  </a:cubicBezTo>
                  <a:close/>
                  <a:moveTo>
                    <a:pt x="10309" y="15240"/>
                  </a:moveTo>
                  <a:cubicBezTo>
                    <a:pt x="8991" y="15291"/>
                    <a:pt x="7745" y="15534"/>
                    <a:pt x="6629" y="15948"/>
                  </a:cubicBezTo>
                  <a:cubicBezTo>
                    <a:pt x="6207" y="14581"/>
                    <a:pt x="5945" y="12995"/>
                    <a:pt x="5903" y="11291"/>
                  </a:cubicBezTo>
                  <a:lnTo>
                    <a:pt x="10309" y="11291"/>
                  </a:lnTo>
                  <a:cubicBezTo>
                    <a:pt x="10309" y="11291"/>
                    <a:pt x="10309" y="15240"/>
                    <a:pt x="10309" y="15240"/>
                  </a:cubicBezTo>
                  <a:close/>
                  <a:moveTo>
                    <a:pt x="10309" y="20569"/>
                  </a:moveTo>
                  <a:cubicBezTo>
                    <a:pt x="8945" y="20298"/>
                    <a:pt x="7749" y="18909"/>
                    <a:pt x="6947" y="16869"/>
                  </a:cubicBezTo>
                  <a:cubicBezTo>
                    <a:pt x="7961" y="16493"/>
                    <a:pt x="9101" y="16271"/>
                    <a:pt x="10309" y="16221"/>
                  </a:cubicBezTo>
                  <a:cubicBezTo>
                    <a:pt x="10309" y="16221"/>
                    <a:pt x="10309" y="20569"/>
                    <a:pt x="10309" y="20569"/>
                  </a:cubicBezTo>
                  <a:close/>
                  <a:moveTo>
                    <a:pt x="4458" y="18285"/>
                  </a:moveTo>
                  <a:cubicBezTo>
                    <a:pt x="4934" y="17890"/>
                    <a:pt x="5476" y="17535"/>
                    <a:pt x="6083" y="17239"/>
                  </a:cubicBezTo>
                  <a:cubicBezTo>
                    <a:pt x="6100" y="17282"/>
                    <a:pt x="6115" y="17329"/>
                    <a:pt x="6132" y="17372"/>
                  </a:cubicBezTo>
                  <a:cubicBezTo>
                    <a:pt x="6149" y="17410"/>
                    <a:pt x="6163" y="17450"/>
                    <a:pt x="6180" y="17488"/>
                  </a:cubicBezTo>
                  <a:cubicBezTo>
                    <a:pt x="6484" y="18192"/>
                    <a:pt x="6835" y="18822"/>
                    <a:pt x="7224" y="19369"/>
                  </a:cubicBezTo>
                  <a:cubicBezTo>
                    <a:pt x="7242" y="19394"/>
                    <a:pt x="7261" y="19419"/>
                    <a:pt x="7279" y="19444"/>
                  </a:cubicBezTo>
                  <a:cubicBezTo>
                    <a:pt x="7472" y="19710"/>
                    <a:pt x="7674" y="19957"/>
                    <a:pt x="7886" y="20178"/>
                  </a:cubicBezTo>
                  <a:cubicBezTo>
                    <a:pt x="6610" y="19782"/>
                    <a:pt x="5451" y="19129"/>
                    <a:pt x="4458" y="18285"/>
                  </a:cubicBezTo>
                  <a:moveTo>
                    <a:pt x="1002" y="11291"/>
                  </a:moveTo>
                  <a:lnTo>
                    <a:pt x="4927" y="11291"/>
                  </a:lnTo>
                  <a:cubicBezTo>
                    <a:pt x="4935" y="11574"/>
                    <a:pt x="4940" y="11858"/>
                    <a:pt x="4958" y="12135"/>
                  </a:cubicBezTo>
                  <a:cubicBezTo>
                    <a:pt x="4967" y="12260"/>
                    <a:pt x="4979" y="12383"/>
                    <a:pt x="4989" y="12507"/>
                  </a:cubicBezTo>
                  <a:cubicBezTo>
                    <a:pt x="5018" y="12839"/>
                    <a:pt x="5055" y="13166"/>
                    <a:pt x="5100" y="13488"/>
                  </a:cubicBezTo>
                  <a:cubicBezTo>
                    <a:pt x="5116" y="13596"/>
                    <a:pt x="5129" y="13704"/>
                    <a:pt x="5146" y="13811"/>
                  </a:cubicBezTo>
                  <a:cubicBezTo>
                    <a:pt x="5280" y="14656"/>
                    <a:pt x="5468" y="15456"/>
                    <a:pt x="5704" y="16203"/>
                  </a:cubicBezTo>
                  <a:cubicBezTo>
                    <a:pt x="5718" y="16244"/>
                    <a:pt x="5731" y="16284"/>
                    <a:pt x="5744" y="16324"/>
                  </a:cubicBezTo>
                  <a:cubicBezTo>
                    <a:pt x="4996" y="16682"/>
                    <a:pt x="4330" y="17122"/>
                    <a:pt x="3749" y="17620"/>
                  </a:cubicBezTo>
                  <a:cubicBezTo>
                    <a:pt x="2150" y="15962"/>
                    <a:pt x="1123" y="13747"/>
                    <a:pt x="1002" y="11291"/>
                  </a:cubicBezTo>
                  <a:moveTo>
                    <a:pt x="3749" y="3981"/>
                  </a:moveTo>
                  <a:cubicBezTo>
                    <a:pt x="4330" y="4478"/>
                    <a:pt x="4996" y="4918"/>
                    <a:pt x="5744" y="5276"/>
                  </a:cubicBezTo>
                  <a:cubicBezTo>
                    <a:pt x="5731" y="5317"/>
                    <a:pt x="5718" y="5357"/>
                    <a:pt x="5704" y="5397"/>
                  </a:cubicBezTo>
                  <a:cubicBezTo>
                    <a:pt x="5469" y="6144"/>
                    <a:pt x="5280" y="6944"/>
                    <a:pt x="5146" y="7789"/>
                  </a:cubicBezTo>
                  <a:cubicBezTo>
                    <a:pt x="5129" y="7896"/>
                    <a:pt x="5116" y="8005"/>
                    <a:pt x="5100" y="8112"/>
                  </a:cubicBezTo>
                  <a:cubicBezTo>
                    <a:pt x="5055" y="8434"/>
                    <a:pt x="5018" y="8761"/>
                    <a:pt x="4989" y="9093"/>
                  </a:cubicBezTo>
                  <a:cubicBezTo>
                    <a:pt x="4979" y="9217"/>
                    <a:pt x="4967" y="9340"/>
                    <a:pt x="4958" y="9465"/>
                  </a:cubicBezTo>
                  <a:cubicBezTo>
                    <a:pt x="4940" y="9742"/>
                    <a:pt x="4935" y="10027"/>
                    <a:pt x="4927" y="10309"/>
                  </a:cubicBezTo>
                  <a:lnTo>
                    <a:pt x="1002" y="10309"/>
                  </a:lnTo>
                  <a:cubicBezTo>
                    <a:pt x="1123" y="7853"/>
                    <a:pt x="2150" y="5638"/>
                    <a:pt x="3749" y="3981"/>
                  </a:cubicBezTo>
                  <a:moveTo>
                    <a:pt x="7886" y="1422"/>
                  </a:moveTo>
                  <a:cubicBezTo>
                    <a:pt x="7674" y="1643"/>
                    <a:pt x="7472" y="1890"/>
                    <a:pt x="7279" y="2156"/>
                  </a:cubicBezTo>
                  <a:cubicBezTo>
                    <a:pt x="7261" y="2181"/>
                    <a:pt x="7242" y="2206"/>
                    <a:pt x="7224" y="2231"/>
                  </a:cubicBezTo>
                  <a:cubicBezTo>
                    <a:pt x="6835" y="2778"/>
                    <a:pt x="6484" y="3408"/>
                    <a:pt x="6180" y="4112"/>
                  </a:cubicBezTo>
                  <a:cubicBezTo>
                    <a:pt x="6163" y="4151"/>
                    <a:pt x="6149" y="4190"/>
                    <a:pt x="6132" y="4229"/>
                  </a:cubicBezTo>
                  <a:cubicBezTo>
                    <a:pt x="6115" y="4271"/>
                    <a:pt x="6100" y="4318"/>
                    <a:pt x="6083" y="4361"/>
                  </a:cubicBezTo>
                  <a:cubicBezTo>
                    <a:pt x="5476" y="4065"/>
                    <a:pt x="4934" y="3711"/>
                    <a:pt x="4458" y="3315"/>
                  </a:cubicBezTo>
                  <a:cubicBezTo>
                    <a:pt x="5451" y="2471"/>
                    <a:pt x="6610" y="1818"/>
                    <a:pt x="7886" y="1422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945">
              <a:extLst>
                <a:ext uri="{FF2B5EF4-FFF2-40B4-BE49-F238E27FC236}">
                  <a16:creationId xmlns:a16="http://schemas.microsoft.com/office/drawing/2014/main" id="{6DCB2E97-A581-4EC9-B8C4-9805B937F7F4}"/>
                </a:ext>
              </a:extLst>
            </p:cNvPr>
            <p:cNvSpPr/>
            <p:nvPr/>
          </p:nvSpPr>
          <p:spPr bwMode="gray">
            <a:xfrm>
              <a:off x="1163107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58" y="8342"/>
                  </a:moveTo>
                  <a:cubicBezTo>
                    <a:pt x="17614" y="6914"/>
                    <a:pt x="17383" y="5576"/>
                    <a:pt x="17008" y="4408"/>
                  </a:cubicBezTo>
                  <a:cubicBezTo>
                    <a:pt x="17543" y="4130"/>
                    <a:pt x="18018" y="3797"/>
                    <a:pt x="18435" y="3427"/>
                  </a:cubicBezTo>
                  <a:cubicBezTo>
                    <a:pt x="19673" y="4722"/>
                    <a:pt x="20474" y="6437"/>
                    <a:pt x="20593" y="8342"/>
                  </a:cubicBezTo>
                  <a:cubicBezTo>
                    <a:pt x="20593" y="8342"/>
                    <a:pt x="17658" y="8342"/>
                    <a:pt x="17658" y="8342"/>
                  </a:cubicBezTo>
                  <a:close/>
                  <a:moveTo>
                    <a:pt x="15485" y="1482"/>
                  </a:moveTo>
                  <a:cubicBezTo>
                    <a:pt x="16306" y="1786"/>
                    <a:pt x="17058" y="2226"/>
                    <a:pt x="17723" y="2769"/>
                  </a:cubicBezTo>
                  <a:cubicBezTo>
                    <a:pt x="17412" y="3036"/>
                    <a:pt x="17056" y="3275"/>
                    <a:pt x="16666" y="3486"/>
                  </a:cubicBezTo>
                  <a:cubicBezTo>
                    <a:pt x="16337" y="2707"/>
                    <a:pt x="15939" y="2026"/>
                    <a:pt x="15485" y="1482"/>
                  </a:cubicBezTo>
                  <a:moveTo>
                    <a:pt x="12764" y="0"/>
                  </a:moveTo>
                  <a:cubicBezTo>
                    <a:pt x="9919" y="0"/>
                    <a:pt x="7396" y="1350"/>
                    <a:pt x="5780" y="3437"/>
                  </a:cubicBezTo>
                  <a:cubicBezTo>
                    <a:pt x="6514" y="3197"/>
                    <a:pt x="7287" y="3044"/>
                    <a:pt x="8086" y="2983"/>
                  </a:cubicBezTo>
                  <a:cubicBezTo>
                    <a:pt x="7991" y="2912"/>
                    <a:pt x="7892" y="2844"/>
                    <a:pt x="7804" y="2769"/>
                  </a:cubicBezTo>
                  <a:cubicBezTo>
                    <a:pt x="8469" y="2226"/>
                    <a:pt x="9222" y="1786"/>
                    <a:pt x="10042" y="1482"/>
                  </a:cubicBezTo>
                  <a:cubicBezTo>
                    <a:pt x="9694" y="1899"/>
                    <a:pt x="9380" y="2398"/>
                    <a:pt x="9104" y="2959"/>
                  </a:cubicBezTo>
                  <a:cubicBezTo>
                    <a:pt x="9451" y="2968"/>
                    <a:pt x="9793" y="2996"/>
                    <a:pt x="10131" y="3040"/>
                  </a:cubicBezTo>
                  <a:cubicBezTo>
                    <a:pt x="10712" y="1983"/>
                    <a:pt x="11449" y="1263"/>
                    <a:pt x="12269" y="1056"/>
                  </a:cubicBezTo>
                  <a:lnTo>
                    <a:pt x="12269" y="3575"/>
                  </a:lnTo>
                  <a:cubicBezTo>
                    <a:pt x="12608" y="3701"/>
                    <a:pt x="12938" y="3844"/>
                    <a:pt x="13258" y="4006"/>
                  </a:cubicBezTo>
                  <a:lnTo>
                    <a:pt x="13258" y="1056"/>
                  </a:lnTo>
                  <a:cubicBezTo>
                    <a:pt x="14282" y="1315"/>
                    <a:pt x="15181" y="2363"/>
                    <a:pt x="15801" y="3883"/>
                  </a:cubicBezTo>
                  <a:cubicBezTo>
                    <a:pt x="15207" y="4107"/>
                    <a:pt x="14555" y="4261"/>
                    <a:pt x="13865" y="4342"/>
                  </a:cubicBezTo>
                  <a:cubicBezTo>
                    <a:pt x="14263" y="4581"/>
                    <a:pt x="14647" y="4840"/>
                    <a:pt x="15006" y="5131"/>
                  </a:cubicBezTo>
                  <a:cubicBezTo>
                    <a:pt x="15391" y="5041"/>
                    <a:pt x="15767" y="4935"/>
                    <a:pt x="16122" y="4801"/>
                  </a:cubicBezTo>
                  <a:cubicBezTo>
                    <a:pt x="16296" y="5379"/>
                    <a:pt x="16430" y="6009"/>
                    <a:pt x="16526" y="6670"/>
                  </a:cubicBezTo>
                  <a:cubicBezTo>
                    <a:pt x="17157" y="7466"/>
                    <a:pt x="17663" y="8363"/>
                    <a:pt x="18025" y="9331"/>
                  </a:cubicBezTo>
                  <a:lnTo>
                    <a:pt x="20593" y="9331"/>
                  </a:lnTo>
                  <a:cubicBezTo>
                    <a:pt x="20478" y="11173"/>
                    <a:pt x="19721" y="12834"/>
                    <a:pt x="18551" y="14114"/>
                  </a:cubicBezTo>
                  <a:cubicBezTo>
                    <a:pt x="18470" y="14700"/>
                    <a:pt x="18342" y="15272"/>
                    <a:pt x="18163" y="15821"/>
                  </a:cubicBezTo>
                  <a:cubicBezTo>
                    <a:pt x="20250" y="14204"/>
                    <a:pt x="21600" y="11681"/>
                    <a:pt x="21600" y="8836"/>
                  </a:cubicBezTo>
                  <a:cubicBezTo>
                    <a:pt x="21600" y="3956"/>
                    <a:pt x="17644" y="0"/>
                    <a:pt x="12764" y="0"/>
                  </a:cubicBezTo>
                  <a:moveTo>
                    <a:pt x="13731" y="12269"/>
                  </a:moveTo>
                  <a:cubicBezTo>
                    <a:pt x="13687" y="10842"/>
                    <a:pt x="13456" y="9504"/>
                    <a:pt x="13081" y="8335"/>
                  </a:cubicBezTo>
                  <a:cubicBezTo>
                    <a:pt x="13616" y="8057"/>
                    <a:pt x="14091" y="7725"/>
                    <a:pt x="14507" y="7354"/>
                  </a:cubicBezTo>
                  <a:cubicBezTo>
                    <a:pt x="15746" y="8649"/>
                    <a:pt x="16547" y="10365"/>
                    <a:pt x="16666" y="12269"/>
                  </a:cubicBezTo>
                  <a:cubicBezTo>
                    <a:pt x="16666" y="12269"/>
                    <a:pt x="13731" y="12269"/>
                    <a:pt x="13731" y="12269"/>
                  </a:cubicBezTo>
                  <a:close/>
                  <a:moveTo>
                    <a:pt x="14507" y="18173"/>
                  </a:moveTo>
                  <a:cubicBezTo>
                    <a:pt x="14091" y="17803"/>
                    <a:pt x="13616" y="17470"/>
                    <a:pt x="13081" y="17192"/>
                  </a:cubicBezTo>
                  <a:cubicBezTo>
                    <a:pt x="13456" y="16024"/>
                    <a:pt x="13687" y="14686"/>
                    <a:pt x="13731" y="13258"/>
                  </a:cubicBezTo>
                  <a:lnTo>
                    <a:pt x="16666" y="13258"/>
                  </a:lnTo>
                  <a:cubicBezTo>
                    <a:pt x="16547" y="15163"/>
                    <a:pt x="15746" y="16878"/>
                    <a:pt x="14507" y="18173"/>
                  </a:cubicBezTo>
                  <a:moveTo>
                    <a:pt x="11558" y="20118"/>
                  </a:moveTo>
                  <a:cubicBezTo>
                    <a:pt x="12012" y="19574"/>
                    <a:pt x="12409" y="18893"/>
                    <a:pt x="12738" y="18114"/>
                  </a:cubicBezTo>
                  <a:cubicBezTo>
                    <a:pt x="13129" y="18325"/>
                    <a:pt x="13485" y="18564"/>
                    <a:pt x="13796" y="18831"/>
                  </a:cubicBezTo>
                  <a:cubicBezTo>
                    <a:pt x="13131" y="19374"/>
                    <a:pt x="12378" y="19814"/>
                    <a:pt x="11558" y="20118"/>
                  </a:cubicBezTo>
                  <a:moveTo>
                    <a:pt x="9331" y="20544"/>
                  </a:moveTo>
                  <a:lnTo>
                    <a:pt x="9331" y="17204"/>
                  </a:lnTo>
                  <a:cubicBezTo>
                    <a:pt x="10246" y="17253"/>
                    <a:pt x="11108" y="17428"/>
                    <a:pt x="11874" y="17717"/>
                  </a:cubicBezTo>
                  <a:cubicBezTo>
                    <a:pt x="11254" y="19237"/>
                    <a:pt x="10355" y="20286"/>
                    <a:pt x="9331" y="20544"/>
                  </a:cubicBezTo>
                  <a:moveTo>
                    <a:pt x="9331" y="13258"/>
                  </a:moveTo>
                  <a:lnTo>
                    <a:pt x="12749" y="13258"/>
                  </a:lnTo>
                  <a:cubicBezTo>
                    <a:pt x="12709" y="14550"/>
                    <a:pt x="12510" y="15752"/>
                    <a:pt x="12195" y="16799"/>
                  </a:cubicBezTo>
                  <a:cubicBezTo>
                    <a:pt x="11327" y="16471"/>
                    <a:pt x="10357" y="16273"/>
                    <a:pt x="9331" y="16223"/>
                  </a:cubicBezTo>
                  <a:cubicBezTo>
                    <a:pt x="9331" y="16223"/>
                    <a:pt x="9331" y="13258"/>
                    <a:pt x="9331" y="13258"/>
                  </a:cubicBezTo>
                  <a:close/>
                  <a:moveTo>
                    <a:pt x="9331" y="9305"/>
                  </a:moveTo>
                  <a:cubicBezTo>
                    <a:pt x="10357" y="9254"/>
                    <a:pt x="11327" y="9056"/>
                    <a:pt x="12195" y="8728"/>
                  </a:cubicBezTo>
                  <a:cubicBezTo>
                    <a:pt x="12510" y="9775"/>
                    <a:pt x="12709" y="10977"/>
                    <a:pt x="12749" y="12269"/>
                  </a:cubicBezTo>
                  <a:lnTo>
                    <a:pt x="9331" y="12269"/>
                  </a:lnTo>
                  <a:cubicBezTo>
                    <a:pt x="9331" y="12269"/>
                    <a:pt x="9331" y="9305"/>
                    <a:pt x="9331" y="9305"/>
                  </a:cubicBezTo>
                  <a:close/>
                  <a:moveTo>
                    <a:pt x="9331" y="4983"/>
                  </a:moveTo>
                  <a:cubicBezTo>
                    <a:pt x="10355" y="5242"/>
                    <a:pt x="11254" y="6290"/>
                    <a:pt x="11874" y="7810"/>
                  </a:cubicBezTo>
                  <a:cubicBezTo>
                    <a:pt x="11108" y="8099"/>
                    <a:pt x="10246" y="8275"/>
                    <a:pt x="9331" y="8323"/>
                  </a:cubicBezTo>
                  <a:cubicBezTo>
                    <a:pt x="9331" y="8323"/>
                    <a:pt x="9331" y="4983"/>
                    <a:pt x="9331" y="4983"/>
                  </a:cubicBezTo>
                  <a:close/>
                  <a:moveTo>
                    <a:pt x="13796" y="6696"/>
                  </a:moveTo>
                  <a:cubicBezTo>
                    <a:pt x="13485" y="6963"/>
                    <a:pt x="13129" y="7203"/>
                    <a:pt x="12738" y="7413"/>
                  </a:cubicBezTo>
                  <a:cubicBezTo>
                    <a:pt x="12409" y="6634"/>
                    <a:pt x="12012" y="5954"/>
                    <a:pt x="11557" y="5410"/>
                  </a:cubicBezTo>
                  <a:cubicBezTo>
                    <a:pt x="12378" y="5714"/>
                    <a:pt x="13131" y="6153"/>
                    <a:pt x="13796" y="6696"/>
                  </a:cubicBezTo>
                  <a:moveTo>
                    <a:pt x="8342" y="8323"/>
                  </a:moveTo>
                  <a:cubicBezTo>
                    <a:pt x="7427" y="8275"/>
                    <a:pt x="6564" y="8099"/>
                    <a:pt x="5799" y="7810"/>
                  </a:cubicBezTo>
                  <a:cubicBezTo>
                    <a:pt x="6419" y="6290"/>
                    <a:pt x="7318" y="5242"/>
                    <a:pt x="8342" y="4983"/>
                  </a:cubicBezTo>
                  <a:cubicBezTo>
                    <a:pt x="8342" y="4983"/>
                    <a:pt x="8342" y="8323"/>
                    <a:pt x="8342" y="8323"/>
                  </a:cubicBezTo>
                  <a:close/>
                  <a:moveTo>
                    <a:pt x="8342" y="12269"/>
                  </a:moveTo>
                  <a:lnTo>
                    <a:pt x="4923" y="12269"/>
                  </a:lnTo>
                  <a:cubicBezTo>
                    <a:pt x="4964" y="10977"/>
                    <a:pt x="5163" y="9775"/>
                    <a:pt x="5478" y="8728"/>
                  </a:cubicBezTo>
                  <a:cubicBezTo>
                    <a:pt x="6346" y="9056"/>
                    <a:pt x="7316" y="9254"/>
                    <a:pt x="8342" y="9305"/>
                  </a:cubicBezTo>
                  <a:cubicBezTo>
                    <a:pt x="8342" y="9305"/>
                    <a:pt x="8342" y="12269"/>
                    <a:pt x="8342" y="12269"/>
                  </a:cubicBezTo>
                  <a:close/>
                  <a:moveTo>
                    <a:pt x="8342" y="16223"/>
                  </a:moveTo>
                  <a:cubicBezTo>
                    <a:pt x="7316" y="16273"/>
                    <a:pt x="6346" y="16471"/>
                    <a:pt x="5478" y="16799"/>
                  </a:cubicBezTo>
                  <a:cubicBezTo>
                    <a:pt x="5163" y="15752"/>
                    <a:pt x="4964" y="14550"/>
                    <a:pt x="4923" y="13258"/>
                  </a:cubicBezTo>
                  <a:lnTo>
                    <a:pt x="8342" y="13258"/>
                  </a:lnTo>
                  <a:cubicBezTo>
                    <a:pt x="8342" y="13258"/>
                    <a:pt x="8342" y="16223"/>
                    <a:pt x="8342" y="16223"/>
                  </a:cubicBezTo>
                  <a:close/>
                  <a:moveTo>
                    <a:pt x="8342" y="20544"/>
                  </a:moveTo>
                  <a:cubicBezTo>
                    <a:pt x="7318" y="20286"/>
                    <a:pt x="6419" y="19237"/>
                    <a:pt x="5799" y="17717"/>
                  </a:cubicBezTo>
                  <a:cubicBezTo>
                    <a:pt x="6564" y="17428"/>
                    <a:pt x="7427" y="17253"/>
                    <a:pt x="8342" y="17204"/>
                  </a:cubicBezTo>
                  <a:cubicBezTo>
                    <a:pt x="8342" y="17204"/>
                    <a:pt x="8342" y="20544"/>
                    <a:pt x="8342" y="20544"/>
                  </a:cubicBezTo>
                  <a:close/>
                  <a:moveTo>
                    <a:pt x="3877" y="18831"/>
                  </a:moveTo>
                  <a:cubicBezTo>
                    <a:pt x="4188" y="18564"/>
                    <a:pt x="4544" y="18325"/>
                    <a:pt x="4935" y="18114"/>
                  </a:cubicBezTo>
                  <a:cubicBezTo>
                    <a:pt x="5264" y="18893"/>
                    <a:pt x="5661" y="19574"/>
                    <a:pt x="6115" y="20118"/>
                  </a:cubicBezTo>
                  <a:cubicBezTo>
                    <a:pt x="5295" y="19814"/>
                    <a:pt x="4541" y="19374"/>
                    <a:pt x="3877" y="18831"/>
                  </a:cubicBezTo>
                  <a:moveTo>
                    <a:pt x="1007" y="13258"/>
                  </a:moveTo>
                  <a:lnTo>
                    <a:pt x="3942" y="13258"/>
                  </a:lnTo>
                  <a:cubicBezTo>
                    <a:pt x="3986" y="14686"/>
                    <a:pt x="4217" y="16024"/>
                    <a:pt x="4591" y="17192"/>
                  </a:cubicBezTo>
                  <a:cubicBezTo>
                    <a:pt x="4057" y="17470"/>
                    <a:pt x="3582" y="17803"/>
                    <a:pt x="3166" y="18173"/>
                  </a:cubicBezTo>
                  <a:cubicBezTo>
                    <a:pt x="1927" y="16878"/>
                    <a:pt x="1126" y="15163"/>
                    <a:pt x="1007" y="13258"/>
                  </a:cubicBezTo>
                  <a:moveTo>
                    <a:pt x="3166" y="7354"/>
                  </a:moveTo>
                  <a:cubicBezTo>
                    <a:pt x="3582" y="7725"/>
                    <a:pt x="4057" y="8057"/>
                    <a:pt x="4591" y="8335"/>
                  </a:cubicBezTo>
                  <a:cubicBezTo>
                    <a:pt x="4217" y="9504"/>
                    <a:pt x="3986" y="10842"/>
                    <a:pt x="3942" y="12269"/>
                  </a:cubicBezTo>
                  <a:lnTo>
                    <a:pt x="1007" y="12269"/>
                  </a:lnTo>
                  <a:cubicBezTo>
                    <a:pt x="1126" y="10365"/>
                    <a:pt x="1927" y="8649"/>
                    <a:pt x="3166" y="7354"/>
                  </a:cubicBezTo>
                  <a:moveTo>
                    <a:pt x="6115" y="5410"/>
                  </a:moveTo>
                  <a:cubicBezTo>
                    <a:pt x="5661" y="5954"/>
                    <a:pt x="5264" y="6634"/>
                    <a:pt x="4935" y="7413"/>
                  </a:cubicBezTo>
                  <a:cubicBezTo>
                    <a:pt x="4544" y="7203"/>
                    <a:pt x="4188" y="6963"/>
                    <a:pt x="3877" y="6696"/>
                  </a:cubicBezTo>
                  <a:cubicBezTo>
                    <a:pt x="4542" y="6153"/>
                    <a:pt x="5295" y="5714"/>
                    <a:pt x="6115" y="5410"/>
                  </a:cubicBezTo>
                  <a:moveTo>
                    <a:pt x="8836" y="3927"/>
                  </a:moveTo>
                  <a:cubicBezTo>
                    <a:pt x="3956" y="3927"/>
                    <a:pt x="0" y="7883"/>
                    <a:pt x="0" y="12764"/>
                  </a:cubicBezTo>
                  <a:cubicBezTo>
                    <a:pt x="0" y="17644"/>
                    <a:pt x="3956" y="21600"/>
                    <a:pt x="8836" y="21600"/>
                  </a:cubicBezTo>
                  <a:cubicBezTo>
                    <a:pt x="13717" y="21600"/>
                    <a:pt x="17673" y="17644"/>
                    <a:pt x="17673" y="12764"/>
                  </a:cubicBezTo>
                  <a:cubicBezTo>
                    <a:pt x="17673" y="7883"/>
                    <a:pt x="13717" y="3927"/>
                    <a:pt x="88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946">
              <a:extLst>
                <a:ext uri="{FF2B5EF4-FFF2-40B4-BE49-F238E27FC236}">
                  <a16:creationId xmlns:a16="http://schemas.microsoft.com/office/drawing/2014/main" id="{7E21AFCA-0DF0-42EA-A529-611BDEB32CB8}"/>
                </a:ext>
              </a:extLst>
            </p:cNvPr>
            <p:cNvSpPr/>
            <p:nvPr/>
          </p:nvSpPr>
          <p:spPr bwMode="gray">
            <a:xfrm>
              <a:off x="1716659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95" y="9980"/>
                  </a:moveTo>
                  <a:cubicBezTo>
                    <a:pt x="19587" y="9894"/>
                    <a:pt x="19575" y="9811"/>
                    <a:pt x="19565" y="9726"/>
                  </a:cubicBezTo>
                  <a:cubicBezTo>
                    <a:pt x="19542" y="9539"/>
                    <a:pt x="19514" y="9355"/>
                    <a:pt x="19480" y="9172"/>
                  </a:cubicBezTo>
                  <a:cubicBezTo>
                    <a:pt x="19463" y="9078"/>
                    <a:pt x="19444" y="8986"/>
                    <a:pt x="19424" y="8893"/>
                  </a:cubicBezTo>
                  <a:cubicBezTo>
                    <a:pt x="19384" y="8712"/>
                    <a:pt x="19337" y="8533"/>
                    <a:pt x="19286" y="8356"/>
                  </a:cubicBezTo>
                  <a:cubicBezTo>
                    <a:pt x="19263" y="8276"/>
                    <a:pt x="19244" y="8195"/>
                    <a:pt x="19218" y="8116"/>
                  </a:cubicBezTo>
                  <a:cubicBezTo>
                    <a:pt x="19143" y="7879"/>
                    <a:pt x="19057" y="7646"/>
                    <a:pt x="18963" y="7418"/>
                  </a:cubicBezTo>
                  <a:cubicBezTo>
                    <a:pt x="18923" y="7321"/>
                    <a:pt x="18876" y="7229"/>
                    <a:pt x="18833" y="7134"/>
                  </a:cubicBezTo>
                  <a:cubicBezTo>
                    <a:pt x="18771" y="6999"/>
                    <a:pt x="18708" y="6865"/>
                    <a:pt x="18640" y="6734"/>
                  </a:cubicBezTo>
                  <a:cubicBezTo>
                    <a:pt x="18580" y="6618"/>
                    <a:pt x="18516" y="6504"/>
                    <a:pt x="18450" y="6391"/>
                  </a:cubicBezTo>
                  <a:cubicBezTo>
                    <a:pt x="18392" y="6291"/>
                    <a:pt x="18331" y="6192"/>
                    <a:pt x="18269" y="6094"/>
                  </a:cubicBezTo>
                  <a:cubicBezTo>
                    <a:pt x="18192" y="5971"/>
                    <a:pt x="18114" y="5849"/>
                    <a:pt x="18031" y="5731"/>
                  </a:cubicBezTo>
                  <a:cubicBezTo>
                    <a:pt x="17986" y="5667"/>
                    <a:pt x="17936" y="5605"/>
                    <a:pt x="17889" y="5541"/>
                  </a:cubicBezTo>
                  <a:cubicBezTo>
                    <a:pt x="17544" y="5080"/>
                    <a:pt x="17159" y="4651"/>
                    <a:pt x="16732" y="4265"/>
                  </a:cubicBezTo>
                  <a:cubicBezTo>
                    <a:pt x="16705" y="4241"/>
                    <a:pt x="16679" y="4216"/>
                    <a:pt x="16652" y="4192"/>
                  </a:cubicBezTo>
                  <a:cubicBezTo>
                    <a:pt x="16499" y="4058"/>
                    <a:pt x="16343" y="3927"/>
                    <a:pt x="16181" y="3803"/>
                  </a:cubicBezTo>
                  <a:cubicBezTo>
                    <a:pt x="16173" y="3796"/>
                    <a:pt x="16165" y="3790"/>
                    <a:pt x="16156" y="3784"/>
                  </a:cubicBezTo>
                  <a:cubicBezTo>
                    <a:pt x="15459" y="3252"/>
                    <a:pt x="14680" y="2821"/>
                    <a:pt x="13842" y="2513"/>
                  </a:cubicBezTo>
                  <a:cubicBezTo>
                    <a:pt x="13592" y="2912"/>
                    <a:pt x="13337" y="3420"/>
                    <a:pt x="13040" y="3590"/>
                  </a:cubicBezTo>
                  <a:cubicBezTo>
                    <a:pt x="12610" y="3835"/>
                    <a:pt x="12641" y="4817"/>
                    <a:pt x="13469" y="4725"/>
                  </a:cubicBezTo>
                  <a:cubicBezTo>
                    <a:pt x="13469" y="4725"/>
                    <a:pt x="13224" y="4970"/>
                    <a:pt x="13469" y="5860"/>
                  </a:cubicBezTo>
                  <a:cubicBezTo>
                    <a:pt x="13715" y="6750"/>
                    <a:pt x="14126" y="6943"/>
                    <a:pt x="15341" y="6443"/>
                  </a:cubicBezTo>
                  <a:cubicBezTo>
                    <a:pt x="15862" y="6228"/>
                    <a:pt x="16258" y="6340"/>
                    <a:pt x="16200" y="6873"/>
                  </a:cubicBezTo>
                  <a:cubicBezTo>
                    <a:pt x="16077" y="8008"/>
                    <a:pt x="15202" y="7960"/>
                    <a:pt x="15862" y="9788"/>
                  </a:cubicBezTo>
                  <a:cubicBezTo>
                    <a:pt x="16261" y="10892"/>
                    <a:pt x="17243" y="11322"/>
                    <a:pt x="17611" y="12181"/>
                  </a:cubicBezTo>
                  <a:cubicBezTo>
                    <a:pt x="17814" y="12653"/>
                    <a:pt x="18591" y="13088"/>
                    <a:pt x="19250" y="13384"/>
                  </a:cubicBezTo>
                  <a:cubicBezTo>
                    <a:pt x="19321" y="13153"/>
                    <a:pt x="19380" y="12917"/>
                    <a:pt x="19432" y="12677"/>
                  </a:cubicBezTo>
                  <a:cubicBezTo>
                    <a:pt x="19452" y="12587"/>
                    <a:pt x="19467" y="12494"/>
                    <a:pt x="19484" y="12402"/>
                  </a:cubicBezTo>
                  <a:cubicBezTo>
                    <a:pt x="19517" y="12224"/>
                    <a:pt x="19545" y="12044"/>
                    <a:pt x="19566" y="11862"/>
                  </a:cubicBezTo>
                  <a:cubicBezTo>
                    <a:pt x="19576" y="11776"/>
                    <a:pt x="19588" y="11691"/>
                    <a:pt x="19596" y="11604"/>
                  </a:cubicBezTo>
                  <a:cubicBezTo>
                    <a:pt x="19620" y="11340"/>
                    <a:pt x="19636" y="11072"/>
                    <a:pt x="19636" y="10800"/>
                  </a:cubicBezTo>
                  <a:cubicBezTo>
                    <a:pt x="19636" y="10523"/>
                    <a:pt x="19620" y="10250"/>
                    <a:pt x="19595" y="9980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6"/>
                    <a:pt x="16764" y="0"/>
                    <a:pt x="10800" y="0"/>
                  </a:cubicBezTo>
                  <a:moveTo>
                    <a:pt x="8407" y="9726"/>
                  </a:moveTo>
                  <a:cubicBezTo>
                    <a:pt x="8468" y="9020"/>
                    <a:pt x="9603" y="8284"/>
                    <a:pt x="10370" y="7947"/>
                  </a:cubicBezTo>
                  <a:cubicBezTo>
                    <a:pt x="11137" y="7609"/>
                    <a:pt x="11843" y="7486"/>
                    <a:pt x="11751" y="6903"/>
                  </a:cubicBezTo>
                  <a:cubicBezTo>
                    <a:pt x="11659" y="6320"/>
                    <a:pt x="11444" y="5891"/>
                    <a:pt x="10248" y="5891"/>
                  </a:cubicBezTo>
                  <a:cubicBezTo>
                    <a:pt x="9051" y="5891"/>
                    <a:pt x="9573" y="7486"/>
                    <a:pt x="8591" y="6535"/>
                  </a:cubicBezTo>
                  <a:cubicBezTo>
                    <a:pt x="7609" y="5584"/>
                    <a:pt x="8805" y="5830"/>
                    <a:pt x="9296" y="5615"/>
                  </a:cubicBezTo>
                  <a:cubicBezTo>
                    <a:pt x="9787" y="5400"/>
                    <a:pt x="10278" y="4510"/>
                    <a:pt x="9419" y="4449"/>
                  </a:cubicBezTo>
                  <a:cubicBezTo>
                    <a:pt x="8560" y="4388"/>
                    <a:pt x="8744" y="4817"/>
                    <a:pt x="8069" y="4572"/>
                  </a:cubicBezTo>
                  <a:cubicBezTo>
                    <a:pt x="7394" y="4326"/>
                    <a:pt x="7087" y="5431"/>
                    <a:pt x="6658" y="5277"/>
                  </a:cubicBezTo>
                  <a:cubicBezTo>
                    <a:pt x="6373" y="5176"/>
                    <a:pt x="5613" y="4605"/>
                    <a:pt x="5110" y="4044"/>
                  </a:cubicBezTo>
                  <a:cubicBezTo>
                    <a:pt x="4094" y="4900"/>
                    <a:pt x="3277" y="5982"/>
                    <a:pt x="2729" y="7212"/>
                  </a:cubicBezTo>
                  <a:cubicBezTo>
                    <a:pt x="2875" y="8862"/>
                    <a:pt x="3774" y="9726"/>
                    <a:pt x="3774" y="9726"/>
                  </a:cubicBezTo>
                  <a:cubicBezTo>
                    <a:pt x="3774" y="9726"/>
                    <a:pt x="4234" y="10800"/>
                    <a:pt x="6995" y="12119"/>
                  </a:cubicBezTo>
                  <a:cubicBezTo>
                    <a:pt x="6995" y="12119"/>
                    <a:pt x="7517" y="12150"/>
                    <a:pt x="6903" y="11536"/>
                  </a:cubicBezTo>
                  <a:cubicBezTo>
                    <a:pt x="6290" y="10923"/>
                    <a:pt x="5615" y="10156"/>
                    <a:pt x="6382" y="9757"/>
                  </a:cubicBezTo>
                  <a:cubicBezTo>
                    <a:pt x="7149" y="9358"/>
                    <a:pt x="7364" y="9389"/>
                    <a:pt x="7548" y="10125"/>
                  </a:cubicBezTo>
                  <a:cubicBezTo>
                    <a:pt x="7732" y="10861"/>
                    <a:pt x="8345" y="10432"/>
                    <a:pt x="8407" y="9726"/>
                  </a:cubicBezTo>
                  <a:moveTo>
                    <a:pt x="16246" y="12871"/>
                  </a:moveTo>
                  <a:cubicBezTo>
                    <a:pt x="15893" y="13086"/>
                    <a:pt x="15908" y="13561"/>
                    <a:pt x="16200" y="13822"/>
                  </a:cubicBezTo>
                  <a:cubicBezTo>
                    <a:pt x="16491" y="14083"/>
                    <a:pt x="17074" y="14420"/>
                    <a:pt x="17258" y="13822"/>
                  </a:cubicBezTo>
                  <a:cubicBezTo>
                    <a:pt x="17442" y="13224"/>
                    <a:pt x="16599" y="12656"/>
                    <a:pt x="16246" y="12871"/>
                  </a:cubicBezTo>
                  <a:moveTo>
                    <a:pt x="12027" y="12948"/>
                  </a:moveTo>
                  <a:cubicBezTo>
                    <a:pt x="10984" y="12058"/>
                    <a:pt x="11107" y="11659"/>
                    <a:pt x="9787" y="11659"/>
                  </a:cubicBezTo>
                  <a:cubicBezTo>
                    <a:pt x="8468" y="11659"/>
                    <a:pt x="7640" y="11966"/>
                    <a:pt x="7977" y="13807"/>
                  </a:cubicBezTo>
                  <a:cubicBezTo>
                    <a:pt x="8315" y="15648"/>
                    <a:pt x="9296" y="14819"/>
                    <a:pt x="9205" y="16231"/>
                  </a:cubicBezTo>
                  <a:cubicBezTo>
                    <a:pt x="9112" y="17642"/>
                    <a:pt x="9450" y="17949"/>
                    <a:pt x="9665" y="18286"/>
                  </a:cubicBezTo>
                  <a:cubicBezTo>
                    <a:pt x="9880" y="18624"/>
                    <a:pt x="10524" y="19606"/>
                    <a:pt x="10769" y="18225"/>
                  </a:cubicBezTo>
                  <a:cubicBezTo>
                    <a:pt x="11015" y="16844"/>
                    <a:pt x="11475" y="16077"/>
                    <a:pt x="11996" y="15402"/>
                  </a:cubicBezTo>
                  <a:cubicBezTo>
                    <a:pt x="12518" y="14727"/>
                    <a:pt x="13070" y="13837"/>
                    <a:pt x="12027" y="12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947">
              <a:extLst>
                <a:ext uri="{FF2B5EF4-FFF2-40B4-BE49-F238E27FC236}">
                  <a16:creationId xmlns:a16="http://schemas.microsoft.com/office/drawing/2014/main" id="{D15B0A39-F629-4A3A-9817-CC95891BD154}"/>
                </a:ext>
              </a:extLst>
            </p:cNvPr>
            <p:cNvSpPr/>
            <p:nvPr/>
          </p:nvSpPr>
          <p:spPr bwMode="gray">
            <a:xfrm>
              <a:off x="2270211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67" y="17673"/>
                  </a:moveTo>
                  <a:lnTo>
                    <a:pt x="20127" y="17673"/>
                  </a:lnTo>
                  <a:cubicBezTo>
                    <a:pt x="20398" y="17673"/>
                    <a:pt x="20618" y="17453"/>
                    <a:pt x="20618" y="17182"/>
                  </a:cubicBezTo>
                  <a:cubicBezTo>
                    <a:pt x="20618" y="16910"/>
                    <a:pt x="20398" y="16691"/>
                    <a:pt x="20127" y="16691"/>
                  </a:cubicBezTo>
                  <a:lnTo>
                    <a:pt x="17182" y="16691"/>
                  </a:lnTo>
                  <a:cubicBezTo>
                    <a:pt x="16911" y="16691"/>
                    <a:pt x="16691" y="16910"/>
                    <a:pt x="16691" y="17182"/>
                  </a:cubicBezTo>
                  <a:lnTo>
                    <a:pt x="16691" y="20127"/>
                  </a:lnTo>
                  <a:cubicBezTo>
                    <a:pt x="16691" y="20399"/>
                    <a:pt x="16911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8367"/>
                  </a:lnTo>
                  <a:lnTo>
                    <a:pt x="20762" y="21456"/>
                  </a:lnTo>
                  <a:cubicBezTo>
                    <a:pt x="20851" y="21545"/>
                    <a:pt x="20974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974"/>
                    <a:pt x="21545" y="20851"/>
                    <a:pt x="21456" y="20762"/>
                  </a:cubicBezTo>
                  <a:cubicBezTo>
                    <a:pt x="21456" y="20762"/>
                    <a:pt x="18367" y="17673"/>
                    <a:pt x="18367" y="17673"/>
                  </a:cubicBezTo>
                  <a:close/>
                  <a:moveTo>
                    <a:pt x="4418" y="16691"/>
                  </a:moveTo>
                  <a:lnTo>
                    <a:pt x="1473" y="16691"/>
                  </a:lnTo>
                  <a:cubicBezTo>
                    <a:pt x="1202" y="16691"/>
                    <a:pt x="982" y="16910"/>
                    <a:pt x="982" y="17182"/>
                  </a:cubicBezTo>
                  <a:cubicBezTo>
                    <a:pt x="982" y="17453"/>
                    <a:pt x="1202" y="17673"/>
                    <a:pt x="1473" y="17673"/>
                  </a:cubicBezTo>
                  <a:lnTo>
                    <a:pt x="3233" y="17673"/>
                  </a:lnTo>
                  <a:lnTo>
                    <a:pt x="144" y="20762"/>
                  </a:lnTo>
                  <a:cubicBezTo>
                    <a:pt x="55" y="20851"/>
                    <a:pt x="0" y="20974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3927" y="18367"/>
                  </a:lnTo>
                  <a:lnTo>
                    <a:pt x="3927" y="20127"/>
                  </a:lnTo>
                  <a:cubicBezTo>
                    <a:pt x="3927" y="20399"/>
                    <a:pt x="4147" y="20618"/>
                    <a:pt x="4418" y="20618"/>
                  </a:cubicBezTo>
                  <a:cubicBezTo>
                    <a:pt x="4689" y="20618"/>
                    <a:pt x="4909" y="20399"/>
                    <a:pt x="4909" y="20127"/>
                  </a:cubicBezTo>
                  <a:lnTo>
                    <a:pt x="4909" y="17182"/>
                  </a:lnTo>
                  <a:cubicBezTo>
                    <a:pt x="4909" y="16910"/>
                    <a:pt x="4689" y="16691"/>
                    <a:pt x="4418" y="16691"/>
                  </a:cubicBezTo>
                  <a:moveTo>
                    <a:pt x="14578" y="13923"/>
                  </a:moveTo>
                  <a:cubicBezTo>
                    <a:pt x="14366" y="13756"/>
                    <a:pt x="14123" y="13606"/>
                    <a:pt x="13863" y="13470"/>
                  </a:cubicBezTo>
                  <a:cubicBezTo>
                    <a:pt x="14060" y="12810"/>
                    <a:pt x="14189" y="12080"/>
                    <a:pt x="14228" y="11304"/>
                  </a:cubicBezTo>
                  <a:lnTo>
                    <a:pt x="15676" y="11304"/>
                  </a:lnTo>
                  <a:cubicBezTo>
                    <a:pt x="15574" y="12295"/>
                    <a:pt x="15177" y="13195"/>
                    <a:pt x="14578" y="13923"/>
                  </a:cubicBezTo>
                  <a:moveTo>
                    <a:pt x="13136" y="15120"/>
                  </a:moveTo>
                  <a:cubicBezTo>
                    <a:pt x="13280" y="14892"/>
                    <a:pt x="13410" y="14641"/>
                    <a:pt x="13529" y="14374"/>
                  </a:cubicBezTo>
                  <a:cubicBezTo>
                    <a:pt x="13660" y="14445"/>
                    <a:pt x="13781" y="14521"/>
                    <a:pt x="13893" y="14602"/>
                  </a:cubicBezTo>
                  <a:cubicBezTo>
                    <a:pt x="13656" y="14795"/>
                    <a:pt x="13407" y="14973"/>
                    <a:pt x="13136" y="15120"/>
                  </a:cubicBezTo>
                  <a:moveTo>
                    <a:pt x="11304" y="12785"/>
                  </a:moveTo>
                  <a:lnTo>
                    <a:pt x="11304" y="11304"/>
                  </a:lnTo>
                  <a:lnTo>
                    <a:pt x="13226" y="11304"/>
                  </a:lnTo>
                  <a:cubicBezTo>
                    <a:pt x="13193" y="11948"/>
                    <a:pt x="13093" y="12547"/>
                    <a:pt x="12949" y="13093"/>
                  </a:cubicBezTo>
                  <a:cubicBezTo>
                    <a:pt x="12443" y="12931"/>
                    <a:pt x="11890" y="12824"/>
                    <a:pt x="11304" y="12785"/>
                  </a:cubicBezTo>
                  <a:moveTo>
                    <a:pt x="11304" y="15605"/>
                  </a:moveTo>
                  <a:lnTo>
                    <a:pt x="11304" y="13766"/>
                  </a:lnTo>
                  <a:cubicBezTo>
                    <a:pt x="11784" y="13800"/>
                    <a:pt x="12233" y="13886"/>
                    <a:pt x="12642" y="14009"/>
                  </a:cubicBezTo>
                  <a:cubicBezTo>
                    <a:pt x="12301" y="14805"/>
                    <a:pt x="11837" y="15382"/>
                    <a:pt x="11304" y="15605"/>
                  </a:cubicBezTo>
                  <a:moveTo>
                    <a:pt x="11304" y="8815"/>
                  </a:moveTo>
                  <a:cubicBezTo>
                    <a:pt x="11890" y="8776"/>
                    <a:pt x="12443" y="8669"/>
                    <a:pt x="12949" y="8507"/>
                  </a:cubicBezTo>
                  <a:cubicBezTo>
                    <a:pt x="13093" y="9053"/>
                    <a:pt x="13193" y="9652"/>
                    <a:pt x="13226" y="10297"/>
                  </a:cubicBezTo>
                  <a:lnTo>
                    <a:pt x="11304" y="10297"/>
                  </a:lnTo>
                  <a:cubicBezTo>
                    <a:pt x="11304" y="10297"/>
                    <a:pt x="11304" y="8815"/>
                    <a:pt x="11304" y="8815"/>
                  </a:cubicBezTo>
                  <a:close/>
                  <a:moveTo>
                    <a:pt x="11304" y="5995"/>
                  </a:moveTo>
                  <a:cubicBezTo>
                    <a:pt x="11837" y="6218"/>
                    <a:pt x="12301" y="6795"/>
                    <a:pt x="12642" y="7591"/>
                  </a:cubicBezTo>
                  <a:cubicBezTo>
                    <a:pt x="12233" y="7714"/>
                    <a:pt x="11784" y="7800"/>
                    <a:pt x="11304" y="7835"/>
                  </a:cubicBezTo>
                  <a:cubicBezTo>
                    <a:pt x="11304" y="7835"/>
                    <a:pt x="11304" y="5995"/>
                    <a:pt x="11304" y="5995"/>
                  </a:cubicBezTo>
                  <a:close/>
                  <a:moveTo>
                    <a:pt x="13893" y="6998"/>
                  </a:moveTo>
                  <a:cubicBezTo>
                    <a:pt x="13781" y="7079"/>
                    <a:pt x="13660" y="7155"/>
                    <a:pt x="13529" y="7227"/>
                  </a:cubicBezTo>
                  <a:cubicBezTo>
                    <a:pt x="13410" y="6960"/>
                    <a:pt x="13280" y="6708"/>
                    <a:pt x="13136" y="6480"/>
                  </a:cubicBezTo>
                  <a:cubicBezTo>
                    <a:pt x="13407" y="6627"/>
                    <a:pt x="13656" y="6805"/>
                    <a:pt x="13893" y="6998"/>
                  </a:cubicBezTo>
                  <a:moveTo>
                    <a:pt x="15676" y="10297"/>
                  </a:moveTo>
                  <a:lnTo>
                    <a:pt x="14228" y="10297"/>
                  </a:lnTo>
                  <a:cubicBezTo>
                    <a:pt x="14189" y="9520"/>
                    <a:pt x="14060" y="8790"/>
                    <a:pt x="13863" y="8130"/>
                  </a:cubicBezTo>
                  <a:cubicBezTo>
                    <a:pt x="14123" y="7994"/>
                    <a:pt x="14366" y="7844"/>
                    <a:pt x="14578" y="7677"/>
                  </a:cubicBezTo>
                  <a:cubicBezTo>
                    <a:pt x="15177" y="8405"/>
                    <a:pt x="15574" y="9305"/>
                    <a:pt x="15676" y="10297"/>
                  </a:cubicBezTo>
                  <a:moveTo>
                    <a:pt x="10296" y="7835"/>
                  </a:moveTo>
                  <a:cubicBezTo>
                    <a:pt x="9816" y="7800"/>
                    <a:pt x="9367" y="7714"/>
                    <a:pt x="8958" y="7591"/>
                  </a:cubicBezTo>
                  <a:cubicBezTo>
                    <a:pt x="9299" y="6795"/>
                    <a:pt x="9764" y="6218"/>
                    <a:pt x="10296" y="5995"/>
                  </a:cubicBezTo>
                  <a:cubicBezTo>
                    <a:pt x="10296" y="5995"/>
                    <a:pt x="10296" y="7835"/>
                    <a:pt x="10296" y="7835"/>
                  </a:cubicBezTo>
                  <a:close/>
                  <a:moveTo>
                    <a:pt x="10296" y="10297"/>
                  </a:moveTo>
                  <a:lnTo>
                    <a:pt x="8374" y="10297"/>
                  </a:lnTo>
                  <a:cubicBezTo>
                    <a:pt x="8407" y="9652"/>
                    <a:pt x="8507" y="9053"/>
                    <a:pt x="8651" y="8507"/>
                  </a:cubicBezTo>
                  <a:cubicBezTo>
                    <a:pt x="9158" y="8669"/>
                    <a:pt x="9710" y="8776"/>
                    <a:pt x="10296" y="8815"/>
                  </a:cubicBezTo>
                  <a:cubicBezTo>
                    <a:pt x="10296" y="8815"/>
                    <a:pt x="10296" y="10297"/>
                    <a:pt x="10296" y="10297"/>
                  </a:cubicBezTo>
                  <a:close/>
                  <a:moveTo>
                    <a:pt x="10296" y="12785"/>
                  </a:moveTo>
                  <a:cubicBezTo>
                    <a:pt x="9710" y="12824"/>
                    <a:pt x="9158" y="12931"/>
                    <a:pt x="8651" y="13093"/>
                  </a:cubicBezTo>
                  <a:cubicBezTo>
                    <a:pt x="8507" y="12547"/>
                    <a:pt x="8407" y="11948"/>
                    <a:pt x="8374" y="11304"/>
                  </a:cubicBezTo>
                  <a:lnTo>
                    <a:pt x="10296" y="11304"/>
                  </a:lnTo>
                  <a:cubicBezTo>
                    <a:pt x="10296" y="11304"/>
                    <a:pt x="10296" y="12785"/>
                    <a:pt x="10296" y="12785"/>
                  </a:cubicBezTo>
                  <a:close/>
                  <a:moveTo>
                    <a:pt x="10296" y="15605"/>
                  </a:moveTo>
                  <a:cubicBezTo>
                    <a:pt x="9764" y="15382"/>
                    <a:pt x="9299" y="14805"/>
                    <a:pt x="8958" y="14009"/>
                  </a:cubicBezTo>
                  <a:cubicBezTo>
                    <a:pt x="9367" y="13886"/>
                    <a:pt x="9816" y="13800"/>
                    <a:pt x="10296" y="13766"/>
                  </a:cubicBezTo>
                  <a:cubicBezTo>
                    <a:pt x="10296" y="13766"/>
                    <a:pt x="10296" y="15605"/>
                    <a:pt x="10296" y="15605"/>
                  </a:cubicBezTo>
                  <a:close/>
                  <a:moveTo>
                    <a:pt x="7707" y="14602"/>
                  </a:moveTo>
                  <a:cubicBezTo>
                    <a:pt x="7819" y="14521"/>
                    <a:pt x="7941" y="14445"/>
                    <a:pt x="8071" y="14374"/>
                  </a:cubicBezTo>
                  <a:cubicBezTo>
                    <a:pt x="8190" y="14641"/>
                    <a:pt x="8321" y="14892"/>
                    <a:pt x="8464" y="15120"/>
                  </a:cubicBezTo>
                  <a:cubicBezTo>
                    <a:pt x="8193" y="14973"/>
                    <a:pt x="7944" y="14795"/>
                    <a:pt x="7707" y="14602"/>
                  </a:cubicBezTo>
                  <a:moveTo>
                    <a:pt x="5925" y="11304"/>
                  </a:moveTo>
                  <a:lnTo>
                    <a:pt x="7372" y="11304"/>
                  </a:lnTo>
                  <a:cubicBezTo>
                    <a:pt x="7411" y="12080"/>
                    <a:pt x="7540" y="12810"/>
                    <a:pt x="7737" y="13470"/>
                  </a:cubicBezTo>
                  <a:cubicBezTo>
                    <a:pt x="7477" y="13606"/>
                    <a:pt x="7235" y="13756"/>
                    <a:pt x="7022" y="13923"/>
                  </a:cubicBezTo>
                  <a:cubicBezTo>
                    <a:pt x="6423" y="13195"/>
                    <a:pt x="6026" y="12295"/>
                    <a:pt x="5925" y="11304"/>
                  </a:cubicBezTo>
                  <a:moveTo>
                    <a:pt x="7022" y="7677"/>
                  </a:moveTo>
                  <a:cubicBezTo>
                    <a:pt x="7235" y="7844"/>
                    <a:pt x="7477" y="7994"/>
                    <a:pt x="7737" y="8130"/>
                  </a:cubicBezTo>
                  <a:cubicBezTo>
                    <a:pt x="7540" y="8790"/>
                    <a:pt x="7411" y="9520"/>
                    <a:pt x="7372" y="10297"/>
                  </a:cubicBezTo>
                  <a:lnTo>
                    <a:pt x="5925" y="10297"/>
                  </a:lnTo>
                  <a:cubicBezTo>
                    <a:pt x="6026" y="9305"/>
                    <a:pt x="6423" y="8405"/>
                    <a:pt x="7022" y="7677"/>
                  </a:cubicBezTo>
                  <a:moveTo>
                    <a:pt x="8464" y="6480"/>
                  </a:moveTo>
                  <a:cubicBezTo>
                    <a:pt x="8321" y="6708"/>
                    <a:pt x="8190" y="6960"/>
                    <a:pt x="8071" y="7227"/>
                  </a:cubicBezTo>
                  <a:cubicBezTo>
                    <a:pt x="7941" y="7155"/>
                    <a:pt x="7819" y="7079"/>
                    <a:pt x="7707" y="6998"/>
                  </a:cubicBezTo>
                  <a:cubicBezTo>
                    <a:pt x="7944" y="6805"/>
                    <a:pt x="8193" y="6627"/>
                    <a:pt x="8464" y="6480"/>
                  </a:cubicBezTo>
                  <a:moveTo>
                    <a:pt x="10800" y="4909"/>
                  </a:moveTo>
                  <a:cubicBezTo>
                    <a:pt x="7546" y="4909"/>
                    <a:pt x="4909" y="7546"/>
                    <a:pt x="4909" y="10800"/>
                  </a:cubicBezTo>
                  <a:cubicBezTo>
                    <a:pt x="4909" y="14053"/>
                    <a:pt x="7546" y="16691"/>
                    <a:pt x="10800" y="16691"/>
                  </a:cubicBezTo>
                  <a:cubicBezTo>
                    <a:pt x="14053" y="16691"/>
                    <a:pt x="16691" y="14053"/>
                    <a:pt x="16691" y="10800"/>
                  </a:cubicBezTo>
                  <a:cubicBezTo>
                    <a:pt x="16691" y="7546"/>
                    <a:pt x="14053" y="4909"/>
                    <a:pt x="10800" y="4909"/>
                  </a:cubicBezTo>
                  <a:moveTo>
                    <a:pt x="3233" y="3927"/>
                  </a:moveTo>
                  <a:lnTo>
                    <a:pt x="1473" y="3927"/>
                  </a:lnTo>
                  <a:cubicBezTo>
                    <a:pt x="1202" y="3927"/>
                    <a:pt x="982" y="4147"/>
                    <a:pt x="982" y="4418"/>
                  </a:cubicBezTo>
                  <a:cubicBezTo>
                    <a:pt x="982" y="4690"/>
                    <a:pt x="1202" y="4909"/>
                    <a:pt x="1473" y="4909"/>
                  </a:cubicBezTo>
                  <a:lnTo>
                    <a:pt x="4418" y="4909"/>
                  </a:lnTo>
                  <a:cubicBezTo>
                    <a:pt x="4689" y="4909"/>
                    <a:pt x="4909" y="4690"/>
                    <a:pt x="4909" y="4418"/>
                  </a:cubicBezTo>
                  <a:lnTo>
                    <a:pt x="4909" y="1473"/>
                  </a:lnTo>
                  <a:cubicBezTo>
                    <a:pt x="4909" y="1201"/>
                    <a:pt x="4689" y="982"/>
                    <a:pt x="4418" y="982"/>
                  </a:cubicBezTo>
                  <a:cubicBezTo>
                    <a:pt x="4147" y="982"/>
                    <a:pt x="3927" y="1201"/>
                    <a:pt x="3927" y="1473"/>
                  </a:cubicBezTo>
                  <a:lnTo>
                    <a:pt x="3927" y="3233"/>
                  </a:lnTo>
                  <a:lnTo>
                    <a:pt x="838" y="144"/>
                  </a:lnTo>
                  <a:cubicBezTo>
                    <a:pt x="749" y="55"/>
                    <a:pt x="626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cubicBezTo>
                    <a:pt x="0" y="627"/>
                    <a:pt x="55" y="749"/>
                    <a:pt x="144" y="838"/>
                  </a:cubicBezTo>
                  <a:cubicBezTo>
                    <a:pt x="144" y="838"/>
                    <a:pt x="3233" y="3927"/>
                    <a:pt x="3233" y="3927"/>
                  </a:cubicBezTo>
                  <a:close/>
                  <a:moveTo>
                    <a:pt x="17182" y="4909"/>
                  </a:moveTo>
                  <a:lnTo>
                    <a:pt x="20127" y="4909"/>
                  </a:lnTo>
                  <a:cubicBezTo>
                    <a:pt x="20398" y="4909"/>
                    <a:pt x="20618" y="4690"/>
                    <a:pt x="20618" y="4418"/>
                  </a:cubicBezTo>
                  <a:cubicBezTo>
                    <a:pt x="20618" y="4147"/>
                    <a:pt x="20398" y="3927"/>
                    <a:pt x="20127" y="3927"/>
                  </a:cubicBezTo>
                  <a:lnTo>
                    <a:pt x="18367" y="3927"/>
                  </a:lnTo>
                  <a:lnTo>
                    <a:pt x="21456" y="838"/>
                  </a:lnTo>
                  <a:cubicBezTo>
                    <a:pt x="21545" y="749"/>
                    <a:pt x="21600" y="627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7673" y="3233"/>
                  </a:lnTo>
                  <a:lnTo>
                    <a:pt x="17673" y="1473"/>
                  </a:lnTo>
                  <a:cubicBezTo>
                    <a:pt x="17673" y="1201"/>
                    <a:pt x="17453" y="982"/>
                    <a:pt x="17182" y="982"/>
                  </a:cubicBezTo>
                  <a:cubicBezTo>
                    <a:pt x="16911" y="982"/>
                    <a:pt x="16691" y="1201"/>
                    <a:pt x="16691" y="1473"/>
                  </a:cubicBezTo>
                  <a:lnTo>
                    <a:pt x="16691" y="4418"/>
                  </a:lnTo>
                  <a:cubicBezTo>
                    <a:pt x="16691" y="4690"/>
                    <a:pt x="16911" y="4909"/>
                    <a:pt x="17182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948">
              <a:extLst>
                <a:ext uri="{FF2B5EF4-FFF2-40B4-BE49-F238E27FC236}">
                  <a16:creationId xmlns:a16="http://schemas.microsoft.com/office/drawing/2014/main" id="{508F9E13-7604-40D7-9BD4-46CF13AEE24B}"/>
                </a:ext>
              </a:extLst>
            </p:cNvPr>
            <p:cNvSpPr/>
            <p:nvPr/>
          </p:nvSpPr>
          <p:spPr bwMode="gray">
            <a:xfrm>
              <a:off x="2863302" y="2908303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75" y="6273"/>
                  </a:moveTo>
                  <a:cubicBezTo>
                    <a:pt x="6275" y="6273"/>
                    <a:pt x="6661" y="6914"/>
                    <a:pt x="8976" y="7703"/>
                  </a:cubicBezTo>
                  <a:cubicBezTo>
                    <a:pt x="8976" y="7703"/>
                    <a:pt x="9413" y="7721"/>
                    <a:pt x="8899" y="7354"/>
                  </a:cubicBezTo>
                  <a:cubicBezTo>
                    <a:pt x="8384" y="6987"/>
                    <a:pt x="7819" y="6529"/>
                    <a:pt x="8462" y="6291"/>
                  </a:cubicBezTo>
                  <a:cubicBezTo>
                    <a:pt x="9104" y="6052"/>
                    <a:pt x="9285" y="6071"/>
                    <a:pt x="9439" y="6511"/>
                  </a:cubicBezTo>
                  <a:cubicBezTo>
                    <a:pt x="9594" y="6950"/>
                    <a:pt x="10108" y="6694"/>
                    <a:pt x="10159" y="6273"/>
                  </a:cubicBezTo>
                  <a:cubicBezTo>
                    <a:pt x="10211" y="5851"/>
                    <a:pt x="11163" y="5411"/>
                    <a:pt x="11806" y="5209"/>
                  </a:cubicBezTo>
                  <a:cubicBezTo>
                    <a:pt x="12449" y="5007"/>
                    <a:pt x="13040" y="4934"/>
                    <a:pt x="12963" y="4585"/>
                  </a:cubicBezTo>
                  <a:cubicBezTo>
                    <a:pt x="12886" y="4237"/>
                    <a:pt x="12706" y="3980"/>
                    <a:pt x="11703" y="3980"/>
                  </a:cubicBezTo>
                  <a:cubicBezTo>
                    <a:pt x="10699" y="3980"/>
                    <a:pt x="11137" y="4934"/>
                    <a:pt x="10314" y="4365"/>
                  </a:cubicBezTo>
                  <a:cubicBezTo>
                    <a:pt x="9491" y="3797"/>
                    <a:pt x="10493" y="3944"/>
                    <a:pt x="10905" y="3816"/>
                  </a:cubicBezTo>
                  <a:cubicBezTo>
                    <a:pt x="11317" y="3687"/>
                    <a:pt x="11729" y="3155"/>
                    <a:pt x="11009" y="3119"/>
                  </a:cubicBezTo>
                  <a:cubicBezTo>
                    <a:pt x="10287" y="3082"/>
                    <a:pt x="10442" y="3339"/>
                    <a:pt x="9876" y="3192"/>
                  </a:cubicBezTo>
                  <a:cubicBezTo>
                    <a:pt x="9310" y="3045"/>
                    <a:pt x="9053" y="3706"/>
                    <a:pt x="8693" y="3614"/>
                  </a:cubicBezTo>
                  <a:cubicBezTo>
                    <a:pt x="8519" y="3570"/>
                    <a:pt x="8131" y="3374"/>
                    <a:pt x="7770" y="3142"/>
                  </a:cubicBezTo>
                  <a:cubicBezTo>
                    <a:pt x="6767" y="3765"/>
                    <a:pt x="6022" y="4597"/>
                    <a:pt x="5656" y="5546"/>
                  </a:cubicBezTo>
                  <a:cubicBezTo>
                    <a:pt x="5919" y="6021"/>
                    <a:pt x="6275" y="6273"/>
                    <a:pt x="6275" y="6273"/>
                  </a:cubicBezTo>
                  <a:moveTo>
                    <a:pt x="20588" y="12027"/>
                  </a:moveTo>
                  <a:cubicBezTo>
                    <a:pt x="20407" y="12027"/>
                    <a:pt x="20245" y="12080"/>
                    <a:pt x="20124" y="12164"/>
                  </a:cubicBezTo>
                  <a:lnTo>
                    <a:pt x="20119" y="12161"/>
                  </a:lnTo>
                  <a:cubicBezTo>
                    <a:pt x="18145" y="13734"/>
                    <a:pt x="15310" y="14727"/>
                    <a:pt x="12150" y="14727"/>
                  </a:cubicBezTo>
                  <a:cubicBezTo>
                    <a:pt x="6186" y="14727"/>
                    <a:pt x="1350" y="11211"/>
                    <a:pt x="1350" y="6873"/>
                  </a:cubicBezTo>
                  <a:cubicBezTo>
                    <a:pt x="1350" y="4606"/>
                    <a:pt x="2678" y="2571"/>
                    <a:pt x="4788" y="1137"/>
                  </a:cubicBezTo>
                  <a:lnTo>
                    <a:pt x="4777" y="1127"/>
                  </a:lnTo>
                  <a:cubicBezTo>
                    <a:pt x="4945" y="1037"/>
                    <a:pt x="5062" y="900"/>
                    <a:pt x="5062" y="736"/>
                  </a:cubicBezTo>
                  <a:cubicBezTo>
                    <a:pt x="5062" y="465"/>
                    <a:pt x="4760" y="245"/>
                    <a:pt x="4388" y="245"/>
                  </a:cubicBezTo>
                  <a:cubicBezTo>
                    <a:pt x="4192" y="245"/>
                    <a:pt x="4020" y="308"/>
                    <a:pt x="3897" y="405"/>
                  </a:cubicBezTo>
                  <a:lnTo>
                    <a:pt x="3895" y="403"/>
                  </a:lnTo>
                  <a:cubicBezTo>
                    <a:pt x="1505" y="2016"/>
                    <a:pt x="0" y="4314"/>
                    <a:pt x="0" y="6873"/>
                  </a:cubicBezTo>
                  <a:cubicBezTo>
                    <a:pt x="0" y="11587"/>
                    <a:pt x="5081" y="15428"/>
                    <a:pt x="11475" y="15684"/>
                  </a:cubicBezTo>
                  <a:lnTo>
                    <a:pt x="11475" y="20618"/>
                  </a:lnTo>
                  <a:lnTo>
                    <a:pt x="7425" y="20618"/>
                  </a:lnTo>
                  <a:cubicBezTo>
                    <a:pt x="7052" y="20618"/>
                    <a:pt x="6750" y="20838"/>
                    <a:pt x="6750" y="21109"/>
                  </a:cubicBezTo>
                  <a:cubicBezTo>
                    <a:pt x="6750" y="21380"/>
                    <a:pt x="7052" y="21600"/>
                    <a:pt x="7425" y="21600"/>
                  </a:cubicBezTo>
                  <a:lnTo>
                    <a:pt x="16875" y="21600"/>
                  </a:lnTo>
                  <a:cubicBezTo>
                    <a:pt x="17247" y="21600"/>
                    <a:pt x="17550" y="21380"/>
                    <a:pt x="17550" y="21109"/>
                  </a:cubicBezTo>
                  <a:cubicBezTo>
                    <a:pt x="17550" y="20838"/>
                    <a:pt x="17247" y="20618"/>
                    <a:pt x="16875" y="20618"/>
                  </a:cubicBezTo>
                  <a:lnTo>
                    <a:pt x="12825" y="20618"/>
                  </a:lnTo>
                  <a:lnTo>
                    <a:pt x="12825" y="15684"/>
                  </a:lnTo>
                  <a:cubicBezTo>
                    <a:pt x="16068" y="15554"/>
                    <a:pt x="18970" y="14500"/>
                    <a:pt x="21045" y="12880"/>
                  </a:cubicBezTo>
                  <a:lnTo>
                    <a:pt x="21041" y="12877"/>
                  </a:lnTo>
                  <a:cubicBezTo>
                    <a:pt x="21175" y="12788"/>
                    <a:pt x="21262" y="12661"/>
                    <a:pt x="21262" y="12518"/>
                  </a:cubicBezTo>
                  <a:cubicBezTo>
                    <a:pt x="21262" y="12247"/>
                    <a:pt x="20960" y="12027"/>
                    <a:pt x="20588" y="12027"/>
                  </a:cubicBezTo>
                  <a:moveTo>
                    <a:pt x="12150" y="982"/>
                  </a:moveTo>
                  <a:cubicBezTo>
                    <a:pt x="16623" y="982"/>
                    <a:pt x="20250" y="3619"/>
                    <a:pt x="20250" y="6873"/>
                  </a:cubicBezTo>
                  <a:cubicBezTo>
                    <a:pt x="20250" y="10127"/>
                    <a:pt x="16623" y="12764"/>
                    <a:pt x="12150" y="12764"/>
                  </a:cubicBezTo>
                  <a:cubicBezTo>
                    <a:pt x="7677" y="12764"/>
                    <a:pt x="4050" y="10127"/>
                    <a:pt x="4050" y="6873"/>
                  </a:cubicBezTo>
                  <a:cubicBezTo>
                    <a:pt x="4050" y="3619"/>
                    <a:pt x="7677" y="982"/>
                    <a:pt x="12150" y="982"/>
                  </a:cubicBezTo>
                  <a:moveTo>
                    <a:pt x="12150" y="13745"/>
                  </a:moveTo>
                  <a:cubicBezTo>
                    <a:pt x="17369" y="13745"/>
                    <a:pt x="21600" y="10669"/>
                    <a:pt x="21600" y="6873"/>
                  </a:cubicBezTo>
                  <a:cubicBezTo>
                    <a:pt x="21600" y="3077"/>
                    <a:pt x="17369" y="0"/>
                    <a:pt x="12150" y="0"/>
                  </a:cubicBezTo>
                  <a:cubicBezTo>
                    <a:pt x="6931" y="0"/>
                    <a:pt x="2700" y="3077"/>
                    <a:pt x="2700" y="6873"/>
                  </a:cubicBezTo>
                  <a:cubicBezTo>
                    <a:pt x="2700" y="10669"/>
                    <a:pt x="6931" y="13745"/>
                    <a:pt x="12150" y="13745"/>
                  </a:cubicBezTo>
                  <a:moveTo>
                    <a:pt x="16733" y="8152"/>
                  </a:moveTo>
                  <a:cubicBezTo>
                    <a:pt x="16437" y="8280"/>
                    <a:pt x="16449" y="8564"/>
                    <a:pt x="16693" y="8720"/>
                  </a:cubicBezTo>
                  <a:cubicBezTo>
                    <a:pt x="16938" y="8876"/>
                    <a:pt x="17427" y="9078"/>
                    <a:pt x="17581" y="8720"/>
                  </a:cubicBezTo>
                  <a:cubicBezTo>
                    <a:pt x="17736" y="8362"/>
                    <a:pt x="17028" y="8023"/>
                    <a:pt x="16733" y="8152"/>
                  </a:cubicBezTo>
                  <a:moveTo>
                    <a:pt x="11317" y="7428"/>
                  </a:moveTo>
                  <a:cubicBezTo>
                    <a:pt x="10211" y="7428"/>
                    <a:pt x="9516" y="7611"/>
                    <a:pt x="9800" y="8711"/>
                  </a:cubicBezTo>
                  <a:cubicBezTo>
                    <a:pt x="10082" y="9811"/>
                    <a:pt x="10905" y="9316"/>
                    <a:pt x="10828" y="10160"/>
                  </a:cubicBezTo>
                  <a:cubicBezTo>
                    <a:pt x="10751" y="11003"/>
                    <a:pt x="11034" y="11186"/>
                    <a:pt x="11214" y="11388"/>
                  </a:cubicBezTo>
                  <a:cubicBezTo>
                    <a:pt x="11315" y="11501"/>
                    <a:pt x="11532" y="11731"/>
                    <a:pt x="11738" y="11767"/>
                  </a:cubicBezTo>
                  <a:cubicBezTo>
                    <a:pt x="11768" y="11768"/>
                    <a:pt x="11798" y="11769"/>
                    <a:pt x="11828" y="11770"/>
                  </a:cubicBezTo>
                  <a:cubicBezTo>
                    <a:pt x="11954" y="11751"/>
                    <a:pt x="12068" y="11642"/>
                    <a:pt x="12140" y="11351"/>
                  </a:cubicBezTo>
                  <a:cubicBezTo>
                    <a:pt x="12346" y="10526"/>
                    <a:pt x="12732" y="10067"/>
                    <a:pt x="13169" y="9664"/>
                  </a:cubicBezTo>
                  <a:cubicBezTo>
                    <a:pt x="13606" y="9261"/>
                    <a:pt x="14070" y="8729"/>
                    <a:pt x="13195" y="8197"/>
                  </a:cubicBezTo>
                  <a:cubicBezTo>
                    <a:pt x="12320" y="7666"/>
                    <a:pt x="12423" y="7428"/>
                    <a:pt x="11317" y="7428"/>
                  </a:cubicBezTo>
                  <a:moveTo>
                    <a:pt x="14404" y="3284"/>
                  </a:moveTo>
                  <a:cubicBezTo>
                    <a:pt x="14404" y="3284"/>
                    <a:pt x="14198" y="3431"/>
                    <a:pt x="14404" y="3962"/>
                  </a:cubicBezTo>
                  <a:cubicBezTo>
                    <a:pt x="14610" y="4494"/>
                    <a:pt x="14955" y="4609"/>
                    <a:pt x="15974" y="4311"/>
                  </a:cubicBezTo>
                  <a:cubicBezTo>
                    <a:pt x="16411" y="4182"/>
                    <a:pt x="16742" y="4248"/>
                    <a:pt x="16693" y="4567"/>
                  </a:cubicBezTo>
                  <a:cubicBezTo>
                    <a:pt x="16591" y="5246"/>
                    <a:pt x="15858" y="5217"/>
                    <a:pt x="16411" y="6309"/>
                  </a:cubicBezTo>
                  <a:cubicBezTo>
                    <a:pt x="16745" y="6969"/>
                    <a:pt x="17568" y="7226"/>
                    <a:pt x="17877" y="7739"/>
                  </a:cubicBezTo>
                  <a:cubicBezTo>
                    <a:pt x="17984" y="7918"/>
                    <a:pt x="18288" y="8083"/>
                    <a:pt x="18633" y="8228"/>
                  </a:cubicBezTo>
                  <a:cubicBezTo>
                    <a:pt x="18803" y="7797"/>
                    <a:pt x="18900" y="7344"/>
                    <a:pt x="18900" y="6873"/>
                  </a:cubicBezTo>
                  <a:cubicBezTo>
                    <a:pt x="18900" y="4752"/>
                    <a:pt x="17047" y="2950"/>
                    <a:pt x="14457" y="2264"/>
                  </a:cubicBezTo>
                  <a:cubicBezTo>
                    <a:pt x="14328" y="2411"/>
                    <a:pt x="14192" y="2545"/>
                    <a:pt x="14044" y="2605"/>
                  </a:cubicBezTo>
                  <a:cubicBezTo>
                    <a:pt x="13684" y="2752"/>
                    <a:pt x="13710" y="3339"/>
                    <a:pt x="14404" y="328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950">
              <a:extLst>
                <a:ext uri="{FF2B5EF4-FFF2-40B4-BE49-F238E27FC236}">
                  <a16:creationId xmlns:a16="http://schemas.microsoft.com/office/drawing/2014/main" id="{3A4383B1-C1E7-438F-ACC9-B68AB14DE0D1}"/>
                </a:ext>
              </a:extLst>
            </p:cNvPr>
            <p:cNvSpPr/>
            <p:nvPr/>
          </p:nvSpPr>
          <p:spPr bwMode="gray">
            <a:xfrm>
              <a:off x="3394413" y="2908303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00" y="7855"/>
                  </a:moveTo>
                  <a:lnTo>
                    <a:pt x="7800" y="7855"/>
                  </a:lnTo>
                  <a:cubicBezTo>
                    <a:pt x="8132" y="7855"/>
                    <a:pt x="8400" y="7635"/>
                    <a:pt x="8400" y="7364"/>
                  </a:cubicBezTo>
                  <a:cubicBezTo>
                    <a:pt x="8400" y="7092"/>
                    <a:pt x="8132" y="6873"/>
                    <a:pt x="7800" y="6873"/>
                  </a:cubicBezTo>
                  <a:lnTo>
                    <a:pt x="4200" y="6873"/>
                  </a:lnTo>
                  <a:cubicBezTo>
                    <a:pt x="3868" y="6873"/>
                    <a:pt x="3600" y="7092"/>
                    <a:pt x="3600" y="7364"/>
                  </a:cubicBezTo>
                  <a:cubicBezTo>
                    <a:pt x="3600" y="7635"/>
                    <a:pt x="3868" y="7855"/>
                    <a:pt x="4200" y="7855"/>
                  </a:cubicBezTo>
                  <a:moveTo>
                    <a:pt x="4200" y="11782"/>
                  </a:moveTo>
                  <a:lnTo>
                    <a:pt x="16200" y="11782"/>
                  </a:lnTo>
                  <a:cubicBezTo>
                    <a:pt x="16532" y="11782"/>
                    <a:pt x="16800" y="11562"/>
                    <a:pt x="16800" y="11291"/>
                  </a:cubicBezTo>
                  <a:cubicBezTo>
                    <a:pt x="16800" y="11020"/>
                    <a:pt x="16532" y="10800"/>
                    <a:pt x="16200" y="10800"/>
                  </a:cubicBezTo>
                  <a:lnTo>
                    <a:pt x="4200" y="10800"/>
                  </a:lnTo>
                  <a:cubicBezTo>
                    <a:pt x="3868" y="10800"/>
                    <a:pt x="3600" y="11020"/>
                    <a:pt x="3600" y="11291"/>
                  </a:cubicBezTo>
                  <a:cubicBezTo>
                    <a:pt x="3600" y="11562"/>
                    <a:pt x="3868" y="11782"/>
                    <a:pt x="4200" y="11782"/>
                  </a:cubicBezTo>
                  <a:moveTo>
                    <a:pt x="4200" y="9818"/>
                  </a:moveTo>
                  <a:lnTo>
                    <a:pt x="11400" y="9818"/>
                  </a:lnTo>
                  <a:cubicBezTo>
                    <a:pt x="11732" y="9818"/>
                    <a:pt x="12000" y="9599"/>
                    <a:pt x="12000" y="9327"/>
                  </a:cubicBezTo>
                  <a:cubicBezTo>
                    <a:pt x="12000" y="9056"/>
                    <a:pt x="11732" y="8836"/>
                    <a:pt x="11400" y="8836"/>
                  </a:cubicBezTo>
                  <a:lnTo>
                    <a:pt x="4200" y="8836"/>
                  </a:lnTo>
                  <a:cubicBezTo>
                    <a:pt x="3868" y="8836"/>
                    <a:pt x="3600" y="9056"/>
                    <a:pt x="3600" y="9327"/>
                  </a:cubicBezTo>
                  <a:cubicBezTo>
                    <a:pt x="3600" y="9599"/>
                    <a:pt x="3868" y="9818"/>
                    <a:pt x="4200" y="9818"/>
                  </a:cubicBezTo>
                  <a:moveTo>
                    <a:pt x="4200" y="5891"/>
                  </a:moveTo>
                  <a:lnTo>
                    <a:pt x="15000" y="5891"/>
                  </a:lnTo>
                  <a:cubicBezTo>
                    <a:pt x="15332" y="5891"/>
                    <a:pt x="15600" y="5671"/>
                    <a:pt x="15600" y="5400"/>
                  </a:cubicBezTo>
                  <a:cubicBezTo>
                    <a:pt x="15600" y="5129"/>
                    <a:pt x="15332" y="4909"/>
                    <a:pt x="15000" y="4909"/>
                  </a:cubicBezTo>
                  <a:lnTo>
                    <a:pt x="4200" y="4909"/>
                  </a:lnTo>
                  <a:cubicBezTo>
                    <a:pt x="3868" y="4909"/>
                    <a:pt x="3600" y="5129"/>
                    <a:pt x="3600" y="5400"/>
                  </a:cubicBezTo>
                  <a:cubicBezTo>
                    <a:pt x="3600" y="5671"/>
                    <a:pt x="3868" y="5891"/>
                    <a:pt x="4200" y="5891"/>
                  </a:cubicBezTo>
                  <a:moveTo>
                    <a:pt x="20400" y="13745"/>
                  </a:moveTo>
                  <a:lnTo>
                    <a:pt x="1200" y="13745"/>
                  </a:lnTo>
                  <a:lnTo>
                    <a:pt x="1200" y="2945"/>
                  </a:lnTo>
                  <a:lnTo>
                    <a:pt x="20400" y="2945"/>
                  </a:lnTo>
                  <a:cubicBezTo>
                    <a:pt x="20400" y="2945"/>
                    <a:pt x="20400" y="13745"/>
                    <a:pt x="20400" y="13745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4727"/>
                  </a:lnTo>
                  <a:lnTo>
                    <a:pt x="11400" y="14727"/>
                  </a:lnTo>
                  <a:cubicBezTo>
                    <a:pt x="11400" y="14727"/>
                    <a:pt x="11400" y="20618"/>
                    <a:pt x="11400" y="20618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0400" y="1964"/>
                  </a:move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2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1200" y="1964"/>
                  </a:lnTo>
                  <a:cubicBezTo>
                    <a:pt x="537" y="1964"/>
                    <a:pt x="0" y="2404"/>
                    <a:pt x="0" y="2945"/>
                  </a:cubicBezTo>
                  <a:lnTo>
                    <a:pt x="0" y="13745"/>
                  </a:lnTo>
                  <a:cubicBezTo>
                    <a:pt x="0" y="14287"/>
                    <a:pt x="537" y="14727"/>
                    <a:pt x="1200" y="14727"/>
                  </a:cubicBezTo>
                  <a:lnTo>
                    <a:pt x="9000" y="14727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2" y="21600"/>
                    <a:pt x="12600" y="21160"/>
                    <a:pt x="12600" y="20618"/>
                  </a:cubicBezTo>
                  <a:lnTo>
                    <a:pt x="12600" y="14727"/>
                  </a:lnTo>
                  <a:lnTo>
                    <a:pt x="20400" y="14727"/>
                  </a:lnTo>
                  <a:cubicBezTo>
                    <a:pt x="21062" y="14727"/>
                    <a:pt x="21600" y="14287"/>
                    <a:pt x="21600" y="13745"/>
                  </a:cubicBezTo>
                  <a:lnTo>
                    <a:pt x="21600" y="2945"/>
                  </a:lnTo>
                  <a:cubicBezTo>
                    <a:pt x="21600" y="2404"/>
                    <a:pt x="21062" y="1964"/>
                    <a:pt x="20400" y="1964"/>
                  </a:cubicBezTo>
                  <a:moveTo>
                    <a:pt x="17400" y="8836"/>
                  </a:moveTo>
                  <a:lnTo>
                    <a:pt x="13800" y="8836"/>
                  </a:lnTo>
                  <a:cubicBezTo>
                    <a:pt x="13468" y="8836"/>
                    <a:pt x="13200" y="9056"/>
                    <a:pt x="13200" y="9327"/>
                  </a:cubicBezTo>
                  <a:cubicBezTo>
                    <a:pt x="13200" y="9599"/>
                    <a:pt x="13468" y="9818"/>
                    <a:pt x="13800" y="9818"/>
                  </a:cubicBezTo>
                  <a:lnTo>
                    <a:pt x="17400" y="9818"/>
                  </a:lnTo>
                  <a:cubicBezTo>
                    <a:pt x="17732" y="9818"/>
                    <a:pt x="18000" y="9599"/>
                    <a:pt x="18000" y="9327"/>
                  </a:cubicBezTo>
                  <a:cubicBezTo>
                    <a:pt x="18000" y="9056"/>
                    <a:pt x="17732" y="8836"/>
                    <a:pt x="17400" y="8836"/>
                  </a:cubicBezTo>
                  <a:moveTo>
                    <a:pt x="9600" y="7364"/>
                  </a:moveTo>
                  <a:cubicBezTo>
                    <a:pt x="9600" y="7635"/>
                    <a:pt x="9868" y="7855"/>
                    <a:pt x="10200" y="7855"/>
                  </a:cubicBezTo>
                  <a:lnTo>
                    <a:pt x="17400" y="7855"/>
                  </a:lnTo>
                  <a:cubicBezTo>
                    <a:pt x="17732" y="7855"/>
                    <a:pt x="18000" y="7635"/>
                    <a:pt x="18000" y="7364"/>
                  </a:cubicBezTo>
                  <a:cubicBezTo>
                    <a:pt x="18000" y="7092"/>
                    <a:pt x="17732" y="6873"/>
                    <a:pt x="17400" y="6873"/>
                  </a:cubicBezTo>
                  <a:lnTo>
                    <a:pt x="10200" y="6873"/>
                  </a:lnTo>
                  <a:cubicBezTo>
                    <a:pt x="9868" y="6873"/>
                    <a:pt x="9600" y="7092"/>
                    <a:pt x="9600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951">
              <a:extLst>
                <a:ext uri="{FF2B5EF4-FFF2-40B4-BE49-F238E27FC236}">
                  <a16:creationId xmlns:a16="http://schemas.microsoft.com/office/drawing/2014/main" id="{E0A565CC-DBC0-44C9-9348-4215B86BB059}"/>
                </a:ext>
              </a:extLst>
            </p:cNvPr>
            <p:cNvSpPr/>
            <p:nvPr/>
          </p:nvSpPr>
          <p:spPr bwMode="gray">
            <a:xfrm>
              <a:off x="3921605" y="2934662"/>
              <a:ext cx="289956" cy="2372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20400"/>
                  </a:move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cubicBezTo>
                    <a:pt x="982" y="18949"/>
                    <a:pt x="1026" y="18796"/>
                    <a:pt x="1048" y="18735"/>
                  </a:cubicBezTo>
                  <a:cubicBezTo>
                    <a:pt x="1065" y="18712"/>
                    <a:pt x="1048" y="18729"/>
                    <a:pt x="1078" y="18673"/>
                  </a:cubicBezTo>
                  <a:lnTo>
                    <a:pt x="9915" y="1873"/>
                  </a:lnTo>
                  <a:cubicBezTo>
                    <a:pt x="9929" y="1843"/>
                    <a:pt x="9944" y="1813"/>
                    <a:pt x="9957" y="1783"/>
                  </a:cubicBezTo>
                  <a:cubicBezTo>
                    <a:pt x="9960" y="1778"/>
                    <a:pt x="10234" y="1200"/>
                    <a:pt x="10800" y="1200"/>
                  </a:cubicBezTo>
                  <a:cubicBezTo>
                    <a:pt x="11366" y="1200"/>
                    <a:pt x="11588" y="1654"/>
                    <a:pt x="11617" y="1719"/>
                  </a:cubicBezTo>
                  <a:cubicBezTo>
                    <a:pt x="11641" y="1792"/>
                    <a:pt x="11650" y="1806"/>
                    <a:pt x="11685" y="1873"/>
                  </a:cubicBezTo>
                  <a:lnTo>
                    <a:pt x="20522" y="18673"/>
                  </a:lnTo>
                  <a:cubicBezTo>
                    <a:pt x="20535" y="18697"/>
                    <a:pt x="20548" y="18720"/>
                    <a:pt x="20562" y="18743"/>
                  </a:cubicBezTo>
                  <a:cubicBezTo>
                    <a:pt x="20576" y="18785"/>
                    <a:pt x="20618" y="18928"/>
                    <a:pt x="20618" y="19200"/>
                  </a:cubicBezTo>
                  <a:cubicBezTo>
                    <a:pt x="20618" y="19862"/>
                    <a:pt x="20178" y="20400"/>
                    <a:pt x="19636" y="20400"/>
                  </a:cubicBezTo>
                  <a:moveTo>
                    <a:pt x="21348" y="18023"/>
                  </a:moveTo>
                  <a:lnTo>
                    <a:pt x="12511" y="1223"/>
                  </a:lnTo>
                  <a:cubicBezTo>
                    <a:pt x="12511" y="1223"/>
                    <a:pt x="12057" y="0"/>
                    <a:pt x="10800" y="0"/>
                  </a:cubicBezTo>
                  <a:cubicBezTo>
                    <a:pt x="9616" y="0"/>
                    <a:pt x="9089" y="1223"/>
                    <a:pt x="9089" y="1223"/>
                  </a:cubicBezTo>
                  <a:lnTo>
                    <a:pt x="252" y="18023"/>
                  </a:lnTo>
                  <a:cubicBezTo>
                    <a:pt x="252" y="18023"/>
                    <a:pt x="0" y="18421"/>
                    <a:pt x="0" y="19200"/>
                  </a:cubicBez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cubicBezTo>
                    <a:pt x="21600" y="18362"/>
                    <a:pt x="21348" y="18023"/>
                    <a:pt x="21348" y="18023"/>
                  </a:cubicBezTo>
                  <a:moveTo>
                    <a:pt x="13255" y="8400"/>
                  </a:moveTo>
                  <a:lnTo>
                    <a:pt x="10309" y="8400"/>
                  </a:lnTo>
                  <a:cubicBezTo>
                    <a:pt x="10038" y="8400"/>
                    <a:pt x="9818" y="8668"/>
                    <a:pt x="9818" y="9000"/>
                  </a:cubicBezTo>
                  <a:cubicBezTo>
                    <a:pt x="9818" y="9332"/>
                    <a:pt x="10038" y="9600"/>
                    <a:pt x="10309" y="9600"/>
                  </a:cubicBezTo>
                  <a:lnTo>
                    <a:pt x="11821" y="9600"/>
                  </a:lnTo>
                  <a:cubicBezTo>
                    <a:pt x="10310" y="11177"/>
                    <a:pt x="7852" y="14224"/>
                    <a:pt x="7852" y="17384"/>
                  </a:cubicBezTo>
                  <a:lnTo>
                    <a:pt x="7857" y="17384"/>
                  </a:lnTo>
                  <a:cubicBezTo>
                    <a:pt x="7857" y="17389"/>
                    <a:pt x="7855" y="17394"/>
                    <a:pt x="7855" y="17400"/>
                  </a:cubicBezTo>
                  <a:cubicBezTo>
                    <a:pt x="7855" y="17732"/>
                    <a:pt x="8074" y="18000"/>
                    <a:pt x="8345" y="18000"/>
                  </a:cubicBezTo>
                  <a:cubicBezTo>
                    <a:pt x="8617" y="18000"/>
                    <a:pt x="8836" y="17732"/>
                    <a:pt x="8836" y="17400"/>
                  </a:cubicBezTo>
                  <a:cubicBezTo>
                    <a:pt x="8836" y="17394"/>
                    <a:pt x="8833" y="17389"/>
                    <a:pt x="8833" y="17384"/>
                  </a:cubicBezTo>
                  <a:cubicBezTo>
                    <a:pt x="8833" y="14516"/>
                    <a:pt x="11431" y="11542"/>
                    <a:pt x="12764" y="10204"/>
                  </a:cubicBezTo>
                  <a:lnTo>
                    <a:pt x="12764" y="12600"/>
                  </a:lnTo>
                  <a:cubicBezTo>
                    <a:pt x="12764" y="12932"/>
                    <a:pt x="12983" y="13200"/>
                    <a:pt x="13255" y="13200"/>
                  </a:cubicBezTo>
                  <a:cubicBezTo>
                    <a:pt x="13526" y="13200"/>
                    <a:pt x="13745" y="12932"/>
                    <a:pt x="13745" y="12600"/>
                  </a:cubicBezTo>
                  <a:lnTo>
                    <a:pt x="13745" y="9000"/>
                  </a:lnTo>
                  <a:cubicBezTo>
                    <a:pt x="13745" y="8668"/>
                    <a:pt x="13526" y="8400"/>
                    <a:pt x="13255" y="8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952">
              <a:extLst>
                <a:ext uri="{FF2B5EF4-FFF2-40B4-BE49-F238E27FC236}">
                  <a16:creationId xmlns:a16="http://schemas.microsoft.com/office/drawing/2014/main" id="{5D929789-2D92-44C4-B6CD-F5F7AD5AB0FE}"/>
                </a:ext>
              </a:extLst>
            </p:cNvPr>
            <p:cNvSpPr/>
            <p:nvPr/>
          </p:nvSpPr>
          <p:spPr bwMode="gray">
            <a:xfrm>
              <a:off x="44751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9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953">
              <a:extLst>
                <a:ext uri="{FF2B5EF4-FFF2-40B4-BE49-F238E27FC236}">
                  <a16:creationId xmlns:a16="http://schemas.microsoft.com/office/drawing/2014/main" id="{8B410DE5-0D19-4052-A447-D6245BB2C3F3}"/>
                </a:ext>
              </a:extLst>
            </p:cNvPr>
            <p:cNvSpPr/>
            <p:nvPr/>
          </p:nvSpPr>
          <p:spPr bwMode="gray">
            <a:xfrm>
              <a:off x="5028708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8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12620" y="4072"/>
                  </a:moveTo>
                  <a:cubicBezTo>
                    <a:pt x="12531" y="3982"/>
                    <a:pt x="12408" y="3927"/>
                    <a:pt x="12273" y="3927"/>
                  </a:cubicBezTo>
                  <a:cubicBezTo>
                    <a:pt x="12001" y="3927"/>
                    <a:pt x="11782" y="4147"/>
                    <a:pt x="11782" y="4418"/>
                  </a:cubicBezTo>
                  <a:cubicBezTo>
                    <a:pt x="11782" y="4554"/>
                    <a:pt x="11837" y="4677"/>
                    <a:pt x="11926" y="4765"/>
                  </a:cubicBezTo>
                  <a:lnTo>
                    <a:pt x="13542" y="6382"/>
                  </a:lnTo>
                  <a:lnTo>
                    <a:pt x="6873" y="6382"/>
                  </a:lnTo>
                  <a:cubicBezTo>
                    <a:pt x="6601" y="6382"/>
                    <a:pt x="6382" y="6602"/>
                    <a:pt x="6382" y="6873"/>
                  </a:cubicBezTo>
                  <a:cubicBezTo>
                    <a:pt x="6382" y="7144"/>
                    <a:pt x="6601" y="7364"/>
                    <a:pt x="6873" y="7364"/>
                  </a:cubicBezTo>
                  <a:lnTo>
                    <a:pt x="13542" y="7364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15074" y="7220"/>
                  </a:lnTo>
                  <a:cubicBezTo>
                    <a:pt x="15163" y="7131"/>
                    <a:pt x="15218" y="7008"/>
                    <a:pt x="15218" y="6873"/>
                  </a:cubicBezTo>
                  <a:cubicBezTo>
                    <a:pt x="15218" y="6738"/>
                    <a:pt x="15163" y="6614"/>
                    <a:pt x="15074" y="6526"/>
                  </a:cubicBezTo>
                  <a:cubicBezTo>
                    <a:pt x="15074" y="6526"/>
                    <a:pt x="12620" y="4072"/>
                    <a:pt x="12620" y="407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955">
              <a:extLst>
                <a:ext uri="{FF2B5EF4-FFF2-40B4-BE49-F238E27FC236}">
                  <a16:creationId xmlns:a16="http://schemas.microsoft.com/office/drawing/2014/main" id="{F40B160D-EB00-4D12-9E70-EA4A57AB5159}"/>
                </a:ext>
              </a:extLst>
            </p:cNvPr>
            <p:cNvSpPr/>
            <p:nvPr/>
          </p:nvSpPr>
          <p:spPr bwMode="gray">
            <a:xfrm>
              <a:off x="5555613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7673"/>
                  </a:moveTo>
                  <a:cubicBezTo>
                    <a:pt x="10529" y="17673"/>
                    <a:pt x="10309" y="17892"/>
                    <a:pt x="10309" y="18164"/>
                  </a:cubicBezTo>
                  <a:lnTo>
                    <a:pt x="10309" y="21109"/>
                  </a:lnTo>
                  <a:cubicBezTo>
                    <a:pt x="10309" y="21380"/>
                    <a:pt x="10529" y="21600"/>
                    <a:pt x="10800" y="21600"/>
                  </a:cubicBezTo>
                  <a:cubicBezTo>
                    <a:pt x="11071" y="21600"/>
                    <a:pt x="11291" y="21380"/>
                    <a:pt x="11291" y="21109"/>
                  </a:cubicBezTo>
                  <a:lnTo>
                    <a:pt x="11291" y="18164"/>
                  </a:lnTo>
                  <a:cubicBezTo>
                    <a:pt x="11291" y="17892"/>
                    <a:pt x="11071" y="17673"/>
                    <a:pt x="10800" y="17673"/>
                  </a:cubicBezTo>
                  <a:moveTo>
                    <a:pt x="10800" y="15709"/>
                  </a:moveTo>
                  <a:cubicBezTo>
                    <a:pt x="8089" y="15709"/>
                    <a:pt x="5891" y="13511"/>
                    <a:pt x="5891" y="10800"/>
                  </a:cubicBez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3511"/>
                    <a:pt x="13511" y="15709"/>
                    <a:pt x="10800" y="15709"/>
                  </a:cubicBezTo>
                  <a:moveTo>
                    <a:pt x="10800" y="4909"/>
                  </a:moveTo>
                  <a:cubicBezTo>
                    <a:pt x="7547" y="4909"/>
                    <a:pt x="4909" y="7547"/>
                    <a:pt x="4909" y="10800"/>
                  </a:cubicBezTo>
                  <a:cubicBezTo>
                    <a:pt x="4909" y="14054"/>
                    <a:pt x="7547" y="16691"/>
                    <a:pt x="10800" y="16691"/>
                  </a:cubicBezTo>
                  <a:cubicBezTo>
                    <a:pt x="14053" y="16691"/>
                    <a:pt x="16691" y="14054"/>
                    <a:pt x="16691" y="10800"/>
                  </a:cubicBezTo>
                  <a:cubicBezTo>
                    <a:pt x="16691" y="7547"/>
                    <a:pt x="14053" y="4909"/>
                    <a:pt x="10800" y="4909"/>
                  </a:cubicBezTo>
                  <a:moveTo>
                    <a:pt x="16354" y="15660"/>
                  </a:moveTo>
                  <a:cubicBezTo>
                    <a:pt x="16162" y="15468"/>
                    <a:pt x="15851" y="15468"/>
                    <a:pt x="15659" y="15660"/>
                  </a:cubicBezTo>
                  <a:cubicBezTo>
                    <a:pt x="15468" y="15851"/>
                    <a:pt x="15468" y="16163"/>
                    <a:pt x="15659" y="16354"/>
                  </a:cubicBezTo>
                  <a:lnTo>
                    <a:pt x="17742" y="18437"/>
                  </a:lnTo>
                  <a:cubicBezTo>
                    <a:pt x="17934" y="18629"/>
                    <a:pt x="18245" y="18629"/>
                    <a:pt x="18437" y="18437"/>
                  </a:cubicBezTo>
                  <a:cubicBezTo>
                    <a:pt x="18628" y="18245"/>
                    <a:pt x="18628" y="17934"/>
                    <a:pt x="18437" y="17743"/>
                  </a:cubicBezTo>
                  <a:cubicBezTo>
                    <a:pt x="18437" y="17743"/>
                    <a:pt x="16354" y="15660"/>
                    <a:pt x="16354" y="15660"/>
                  </a:cubicBezTo>
                  <a:close/>
                  <a:moveTo>
                    <a:pt x="21109" y="10309"/>
                  </a:moveTo>
                  <a:lnTo>
                    <a:pt x="18164" y="10309"/>
                  </a:lnTo>
                  <a:cubicBezTo>
                    <a:pt x="17893" y="10309"/>
                    <a:pt x="17673" y="10529"/>
                    <a:pt x="17673" y="10800"/>
                  </a:cubicBezTo>
                  <a:cubicBezTo>
                    <a:pt x="17673" y="11071"/>
                    <a:pt x="17893" y="11291"/>
                    <a:pt x="18164" y="11291"/>
                  </a:cubicBez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5246" y="15660"/>
                  </a:moveTo>
                  <a:lnTo>
                    <a:pt x="3163" y="17743"/>
                  </a:lnTo>
                  <a:cubicBezTo>
                    <a:pt x="2972" y="17934"/>
                    <a:pt x="2972" y="18245"/>
                    <a:pt x="3163" y="18437"/>
                  </a:cubicBezTo>
                  <a:cubicBezTo>
                    <a:pt x="3355" y="18629"/>
                    <a:pt x="3666" y="18629"/>
                    <a:pt x="3858" y="18437"/>
                  </a:cubicBezTo>
                  <a:lnTo>
                    <a:pt x="5941" y="16354"/>
                  </a:lnTo>
                  <a:cubicBezTo>
                    <a:pt x="6132" y="16163"/>
                    <a:pt x="6132" y="15851"/>
                    <a:pt x="5941" y="15660"/>
                  </a:cubicBezTo>
                  <a:cubicBezTo>
                    <a:pt x="5749" y="15468"/>
                    <a:pt x="5438" y="15468"/>
                    <a:pt x="5246" y="15660"/>
                  </a:cubicBezTo>
                  <a:moveTo>
                    <a:pt x="16354" y="5941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1"/>
                  </a:cubicBezTo>
                  <a:cubicBezTo>
                    <a:pt x="15851" y="6132"/>
                    <a:pt x="16162" y="6132"/>
                    <a:pt x="16354" y="5941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3927" y="10800"/>
                  </a:moveTo>
                  <a:cubicBezTo>
                    <a:pt x="3927" y="10529"/>
                    <a:pt x="3707" y="10309"/>
                    <a:pt x="3436" y="10309"/>
                  </a:cubicBez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3436" y="11291"/>
                  </a:lnTo>
                  <a:cubicBezTo>
                    <a:pt x="3707" y="11291"/>
                    <a:pt x="3927" y="11071"/>
                    <a:pt x="3927" y="10800"/>
                  </a:cubicBezTo>
                  <a:moveTo>
                    <a:pt x="5246" y="5941"/>
                  </a:moveTo>
                  <a:cubicBezTo>
                    <a:pt x="5438" y="6132"/>
                    <a:pt x="5749" y="6132"/>
                    <a:pt x="5941" y="5941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1"/>
                    <a:pt x="5246" y="594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956">
              <a:extLst>
                <a:ext uri="{FF2B5EF4-FFF2-40B4-BE49-F238E27FC236}">
                  <a16:creationId xmlns:a16="http://schemas.microsoft.com/office/drawing/2014/main" id="{B39D09EA-0139-4EC6-8EB1-D8CBF2732D94}"/>
                </a:ext>
              </a:extLst>
            </p:cNvPr>
            <p:cNvSpPr/>
            <p:nvPr/>
          </p:nvSpPr>
          <p:spPr bwMode="gray">
            <a:xfrm>
              <a:off x="610916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9040" y="18655"/>
                  </a:lnTo>
                  <a:lnTo>
                    <a:pt x="9327" y="18655"/>
                  </a:lnTo>
                  <a:cubicBezTo>
                    <a:pt x="9598" y="18655"/>
                    <a:pt x="9818" y="18435"/>
                    <a:pt x="9818" y="18164"/>
                  </a:cubicBezTo>
                  <a:lnTo>
                    <a:pt x="9818" y="15709"/>
                  </a:lnTo>
                  <a:lnTo>
                    <a:pt x="11782" y="15709"/>
                  </a:lnTo>
                  <a:lnTo>
                    <a:pt x="11782" y="18164"/>
                  </a:lnTo>
                  <a:cubicBezTo>
                    <a:pt x="11782" y="18435"/>
                    <a:pt x="12002" y="18655"/>
                    <a:pt x="12273" y="18655"/>
                  </a:cubicBezTo>
                  <a:lnTo>
                    <a:pt x="12560" y="18655"/>
                  </a:lnTo>
                  <a:cubicBezTo>
                    <a:pt x="12560" y="18655"/>
                    <a:pt x="10800" y="20415"/>
                    <a:pt x="10800" y="20415"/>
                  </a:cubicBezTo>
                  <a:close/>
                  <a:moveTo>
                    <a:pt x="13745" y="17673"/>
                  </a:moveTo>
                  <a:lnTo>
                    <a:pt x="12764" y="17673"/>
                  </a:lnTo>
                  <a:lnTo>
                    <a:pt x="12764" y="15218"/>
                  </a:lnTo>
                  <a:cubicBezTo>
                    <a:pt x="12764" y="14947"/>
                    <a:pt x="12544" y="14727"/>
                    <a:pt x="12273" y="14727"/>
                  </a:cubicBezTo>
                  <a:lnTo>
                    <a:pt x="9327" y="14727"/>
                  </a:lnTo>
                  <a:cubicBezTo>
                    <a:pt x="9056" y="14727"/>
                    <a:pt x="8836" y="14947"/>
                    <a:pt x="8836" y="15218"/>
                  </a:cubicBezTo>
                  <a:lnTo>
                    <a:pt x="8836" y="17673"/>
                  </a:lnTo>
                  <a:lnTo>
                    <a:pt x="7855" y="17673"/>
                  </a:lnTo>
                  <a:cubicBezTo>
                    <a:pt x="7584" y="17673"/>
                    <a:pt x="7364" y="17892"/>
                    <a:pt x="7364" y="18164"/>
                  </a:cubicBezTo>
                  <a:cubicBezTo>
                    <a:pt x="7364" y="18299"/>
                    <a:pt x="7419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5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1" y="18422"/>
                    <a:pt x="14236" y="18299"/>
                    <a:pt x="14236" y="18164"/>
                  </a:cubicBezTo>
                  <a:cubicBezTo>
                    <a:pt x="14236" y="17892"/>
                    <a:pt x="14016" y="17673"/>
                    <a:pt x="13745" y="17673"/>
                  </a:cubicBezTo>
                  <a:moveTo>
                    <a:pt x="5891" y="10800"/>
                  </a:move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0800"/>
                    <a:pt x="5891" y="10800"/>
                    <a:pt x="5891" y="10800"/>
                  </a:cubicBezTo>
                  <a:close/>
                  <a:moveTo>
                    <a:pt x="21109" y="10800"/>
                  </a:moveTo>
                  <a:lnTo>
                    <a:pt x="16691" y="10800"/>
                  </a:lnTo>
                  <a:cubicBezTo>
                    <a:pt x="16691" y="7547"/>
                    <a:pt x="14053" y="4909"/>
                    <a:pt x="10800" y="4909"/>
                  </a:cubicBezTo>
                  <a:cubicBezTo>
                    <a:pt x="7547" y="4909"/>
                    <a:pt x="4909" y="7547"/>
                    <a:pt x="4909" y="10800"/>
                  </a:cubicBezTo>
                  <a:lnTo>
                    <a:pt x="491" y="10800"/>
                  </a:lnTo>
                  <a:cubicBezTo>
                    <a:pt x="220" y="10800"/>
                    <a:pt x="0" y="11020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11020"/>
                    <a:pt x="21380" y="10800"/>
                    <a:pt x="21109" y="10800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16354" y="5940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0"/>
                  </a:cubicBezTo>
                  <a:cubicBezTo>
                    <a:pt x="15851" y="6132"/>
                    <a:pt x="16162" y="6132"/>
                    <a:pt x="16354" y="5940"/>
                  </a:cubicBezTo>
                  <a:moveTo>
                    <a:pt x="5246" y="5940"/>
                  </a:moveTo>
                  <a:cubicBezTo>
                    <a:pt x="5438" y="6132"/>
                    <a:pt x="5749" y="6132"/>
                    <a:pt x="5941" y="5940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0"/>
                    <a:pt x="5246" y="594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957">
              <a:extLst>
                <a:ext uri="{FF2B5EF4-FFF2-40B4-BE49-F238E27FC236}">
                  <a16:creationId xmlns:a16="http://schemas.microsoft.com/office/drawing/2014/main" id="{03104164-B5FC-41DE-82D5-B39930261B9A}"/>
                </a:ext>
              </a:extLst>
            </p:cNvPr>
            <p:cNvSpPr/>
            <p:nvPr/>
          </p:nvSpPr>
          <p:spPr bwMode="gray">
            <a:xfrm>
              <a:off x="6662716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185"/>
                  </a:moveTo>
                  <a:lnTo>
                    <a:pt x="12560" y="2945"/>
                  </a:lnTo>
                  <a:lnTo>
                    <a:pt x="12273" y="2945"/>
                  </a:lnTo>
                  <a:cubicBezTo>
                    <a:pt x="12002" y="2945"/>
                    <a:pt x="11782" y="3165"/>
                    <a:pt x="11782" y="3436"/>
                  </a:cubicBezTo>
                  <a:lnTo>
                    <a:pt x="11782" y="5891"/>
                  </a:lnTo>
                  <a:lnTo>
                    <a:pt x="9818" y="5891"/>
                  </a:lnTo>
                  <a:lnTo>
                    <a:pt x="9818" y="3436"/>
                  </a:lnTo>
                  <a:cubicBezTo>
                    <a:pt x="9818" y="3165"/>
                    <a:pt x="9598" y="2945"/>
                    <a:pt x="9327" y="2945"/>
                  </a:cubicBezTo>
                  <a:lnTo>
                    <a:pt x="9040" y="2945"/>
                  </a:lnTo>
                  <a:cubicBezTo>
                    <a:pt x="9040" y="2945"/>
                    <a:pt x="10800" y="1185"/>
                    <a:pt x="10800" y="1185"/>
                  </a:cubicBezTo>
                  <a:close/>
                  <a:moveTo>
                    <a:pt x="7855" y="3927"/>
                  </a:moveTo>
                  <a:lnTo>
                    <a:pt x="8836" y="3927"/>
                  </a:lnTo>
                  <a:lnTo>
                    <a:pt x="8836" y="6382"/>
                  </a:lnTo>
                  <a:cubicBezTo>
                    <a:pt x="8836" y="6653"/>
                    <a:pt x="9056" y="6873"/>
                    <a:pt x="9327" y="6873"/>
                  </a:cubicBezTo>
                  <a:lnTo>
                    <a:pt x="12273" y="6873"/>
                  </a:lnTo>
                  <a:cubicBezTo>
                    <a:pt x="12544" y="6873"/>
                    <a:pt x="12764" y="6653"/>
                    <a:pt x="12764" y="6382"/>
                  </a:cubicBezTo>
                  <a:lnTo>
                    <a:pt x="12764" y="3927"/>
                  </a:lnTo>
                  <a:lnTo>
                    <a:pt x="13745" y="3927"/>
                  </a:lnTo>
                  <a:cubicBezTo>
                    <a:pt x="14016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9" y="55"/>
                    <a:pt x="10935" y="0"/>
                    <a:pt x="10800" y="0"/>
                  </a:cubicBezTo>
                  <a:cubicBezTo>
                    <a:pt x="10665" y="0"/>
                    <a:pt x="10542" y="55"/>
                    <a:pt x="10452" y="144"/>
                  </a:cubicBezTo>
                  <a:lnTo>
                    <a:pt x="7507" y="3089"/>
                  </a:lnTo>
                  <a:cubicBezTo>
                    <a:pt x="7419" y="3178"/>
                    <a:pt x="7364" y="3301"/>
                    <a:pt x="7364" y="3436"/>
                  </a:cubicBezTo>
                  <a:cubicBezTo>
                    <a:pt x="7364" y="3708"/>
                    <a:pt x="7584" y="3927"/>
                    <a:pt x="7855" y="3927"/>
                  </a:cubicBezTo>
                  <a:moveTo>
                    <a:pt x="5246" y="15759"/>
                  </a:moveTo>
                  <a:cubicBezTo>
                    <a:pt x="5438" y="15950"/>
                    <a:pt x="5749" y="15950"/>
                    <a:pt x="5941" y="15759"/>
                  </a:cubicBezTo>
                  <a:cubicBezTo>
                    <a:pt x="6132" y="15567"/>
                    <a:pt x="6132" y="15256"/>
                    <a:pt x="5941" y="15064"/>
                  </a:cubicBezTo>
                  <a:lnTo>
                    <a:pt x="3858" y="12981"/>
                  </a:lnTo>
                  <a:cubicBezTo>
                    <a:pt x="3666" y="12790"/>
                    <a:pt x="3355" y="12790"/>
                    <a:pt x="3163" y="12981"/>
                  </a:cubicBezTo>
                  <a:cubicBezTo>
                    <a:pt x="2971" y="13173"/>
                    <a:pt x="2971" y="13484"/>
                    <a:pt x="3163" y="13675"/>
                  </a:cubicBezTo>
                  <a:cubicBezTo>
                    <a:pt x="3163" y="13675"/>
                    <a:pt x="5246" y="15759"/>
                    <a:pt x="5246" y="15759"/>
                  </a:cubicBezTo>
                  <a:close/>
                  <a:moveTo>
                    <a:pt x="10309" y="10309"/>
                  </a:moveTo>
                  <a:lnTo>
                    <a:pt x="10309" y="13255"/>
                  </a:lnTo>
                  <a:cubicBezTo>
                    <a:pt x="10309" y="13526"/>
                    <a:pt x="10529" y="13745"/>
                    <a:pt x="10800" y="13745"/>
                  </a:cubicBezTo>
                  <a:cubicBezTo>
                    <a:pt x="11071" y="13745"/>
                    <a:pt x="11291" y="13526"/>
                    <a:pt x="11291" y="13255"/>
                  </a:cubicBezTo>
                  <a:lnTo>
                    <a:pt x="11291" y="10309"/>
                  </a:lnTo>
                  <a:cubicBezTo>
                    <a:pt x="11291" y="10038"/>
                    <a:pt x="11071" y="9818"/>
                    <a:pt x="10800" y="9818"/>
                  </a:cubicBezTo>
                  <a:cubicBezTo>
                    <a:pt x="10529" y="9818"/>
                    <a:pt x="10309" y="10038"/>
                    <a:pt x="10309" y="10309"/>
                  </a:cubicBezTo>
                  <a:moveTo>
                    <a:pt x="16354" y="15759"/>
                  </a:moveTo>
                  <a:lnTo>
                    <a:pt x="18437" y="13675"/>
                  </a:lnTo>
                  <a:cubicBezTo>
                    <a:pt x="18628" y="13484"/>
                    <a:pt x="18628" y="13173"/>
                    <a:pt x="18437" y="12981"/>
                  </a:cubicBezTo>
                  <a:cubicBezTo>
                    <a:pt x="18245" y="12790"/>
                    <a:pt x="17934" y="12790"/>
                    <a:pt x="17742" y="12981"/>
                  </a:cubicBezTo>
                  <a:lnTo>
                    <a:pt x="15659" y="15064"/>
                  </a:lnTo>
                  <a:cubicBezTo>
                    <a:pt x="15468" y="15256"/>
                    <a:pt x="15468" y="15567"/>
                    <a:pt x="15659" y="15759"/>
                  </a:cubicBezTo>
                  <a:cubicBezTo>
                    <a:pt x="15851" y="15950"/>
                    <a:pt x="16162" y="15950"/>
                    <a:pt x="16354" y="15759"/>
                  </a:cubicBezTo>
                  <a:moveTo>
                    <a:pt x="5891" y="20618"/>
                  </a:moveTo>
                  <a:cubicBezTo>
                    <a:pt x="5891" y="17907"/>
                    <a:pt x="8089" y="15709"/>
                    <a:pt x="10800" y="15709"/>
                  </a:cubicBezTo>
                  <a:cubicBezTo>
                    <a:pt x="13511" y="15709"/>
                    <a:pt x="15709" y="17907"/>
                    <a:pt x="15709" y="20618"/>
                  </a:cubicBezTo>
                  <a:cubicBezTo>
                    <a:pt x="15709" y="20618"/>
                    <a:pt x="5891" y="20618"/>
                    <a:pt x="5891" y="20618"/>
                  </a:cubicBezTo>
                  <a:close/>
                  <a:moveTo>
                    <a:pt x="21109" y="20618"/>
                  </a:moveTo>
                  <a:lnTo>
                    <a:pt x="16691" y="20618"/>
                  </a:lnTo>
                  <a:cubicBezTo>
                    <a:pt x="16691" y="17365"/>
                    <a:pt x="14053" y="14727"/>
                    <a:pt x="10800" y="14727"/>
                  </a:cubicBezTo>
                  <a:cubicBezTo>
                    <a:pt x="7547" y="14727"/>
                    <a:pt x="4909" y="17365"/>
                    <a:pt x="4909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838"/>
                    <a:pt x="21380" y="20618"/>
                    <a:pt x="21109" y="206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958">
              <a:extLst>
                <a:ext uri="{FF2B5EF4-FFF2-40B4-BE49-F238E27FC236}">
                  <a16:creationId xmlns:a16="http://schemas.microsoft.com/office/drawing/2014/main" id="{87702E07-A93A-4F73-913F-0D3EDE674F6F}"/>
                </a:ext>
              </a:extLst>
            </p:cNvPr>
            <p:cNvSpPr/>
            <p:nvPr/>
          </p:nvSpPr>
          <p:spPr bwMode="gray">
            <a:xfrm>
              <a:off x="7216268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4"/>
                  </a:moveTo>
                  <a:lnTo>
                    <a:pt x="19636" y="1964"/>
                  </a:lnTo>
                  <a:lnTo>
                    <a:pt x="18900" y="0"/>
                  </a:lnTo>
                  <a:lnTo>
                    <a:pt x="18164" y="1964"/>
                  </a:lnTo>
                  <a:lnTo>
                    <a:pt x="16200" y="1964"/>
                  </a:lnTo>
                  <a:lnTo>
                    <a:pt x="17795" y="3191"/>
                  </a:lnTo>
                  <a:lnTo>
                    <a:pt x="17059" y="5400"/>
                  </a:lnTo>
                  <a:lnTo>
                    <a:pt x="18900" y="4050"/>
                  </a:lnTo>
                  <a:lnTo>
                    <a:pt x="20741" y="5400"/>
                  </a:lnTo>
                  <a:lnTo>
                    <a:pt x="20005" y="3191"/>
                  </a:lnTo>
                  <a:cubicBezTo>
                    <a:pt x="20005" y="3191"/>
                    <a:pt x="21600" y="1964"/>
                    <a:pt x="21600" y="1964"/>
                  </a:cubicBezTo>
                  <a:close/>
                  <a:moveTo>
                    <a:pt x="10800" y="20616"/>
                  </a:moveTo>
                  <a:cubicBezTo>
                    <a:pt x="5386" y="20616"/>
                    <a:pt x="982" y="16203"/>
                    <a:pt x="982" y="10777"/>
                  </a:cubicBezTo>
                  <a:cubicBezTo>
                    <a:pt x="982" y="6434"/>
                    <a:pt x="3745" y="2741"/>
                    <a:pt x="7690" y="1441"/>
                  </a:cubicBezTo>
                  <a:cubicBezTo>
                    <a:pt x="6837" y="3102"/>
                    <a:pt x="6382" y="4957"/>
                    <a:pt x="6382" y="6841"/>
                  </a:cubicBezTo>
                  <a:cubicBezTo>
                    <a:pt x="6382" y="13004"/>
                    <a:pt x="11118" y="18079"/>
                    <a:pt x="17134" y="18604"/>
                  </a:cubicBezTo>
                  <a:cubicBezTo>
                    <a:pt x="15361" y="19863"/>
                    <a:pt x="13065" y="20616"/>
                    <a:pt x="10800" y="20616"/>
                  </a:cubicBezTo>
                  <a:moveTo>
                    <a:pt x="7364" y="6841"/>
                  </a:moveTo>
                  <a:cubicBezTo>
                    <a:pt x="7364" y="4248"/>
                    <a:pt x="8276" y="1870"/>
                    <a:pt x="9794" y="5"/>
                  </a:cubicBezTo>
                  <a:cubicBezTo>
                    <a:pt x="4302" y="514"/>
                    <a:pt x="0" y="5140"/>
                    <a:pt x="0" y="10777"/>
                  </a:cubicBezTo>
                  <a:cubicBezTo>
                    <a:pt x="0" y="16755"/>
                    <a:pt x="4836" y="21600"/>
                    <a:pt x="10800" y="21600"/>
                  </a:cubicBezTo>
                  <a:cubicBezTo>
                    <a:pt x="14176" y="21600"/>
                    <a:pt x="17656" y="20045"/>
                    <a:pt x="19636" y="17613"/>
                  </a:cubicBezTo>
                  <a:cubicBezTo>
                    <a:pt x="19305" y="17644"/>
                    <a:pt x="18503" y="17665"/>
                    <a:pt x="18164" y="17665"/>
                  </a:cubicBezTo>
                  <a:cubicBezTo>
                    <a:pt x="12199" y="17665"/>
                    <a:pt x="7364" y="12819"/>
                    <a:pt x="7364" y="6841"/>
                  </a:cubicBezTo>
                  <a:moveTo>
                    <a:pt x="17673" y="10309"/>
                  </a:moveTo>
                  <a:lnTo>
                    <a:pt x="17137" y="11737"/>
                  </a:lnTo>
                  <a:lnTo>
                    <a:pt x="15709" y="11737"/>
                  </a:lnTo>
                  <a:lnTo>
                    <a:pt x="16869" y="12629"/>
                  </a:lnTo>
                  <a:lnTo>
                    <a:pt x="16334" y="14236"/>
                  </a:lnTo>
                  <a:lnTo>
                    <a:pt x="17673" y="13255"/>
                  </a:lnTo>
                  <a:lnTo>
                    <a:pt x="19011" y="14236"/>
                  </a:lnTo>
                  <a:lnTo>
                    <a:pt x="18476" y="12629"/>
                  </a:lnTo>
                  <a:lnTo>
                    <a:pt x="19636" y="11737"/>
                  </a:lnTo>
                  <a:lnTo>
                    <a:pt x="18208" y="11737"/>
                  </a:lnTo>
                  <a:cubicBezTo>
                    <a:pt x="18208" y="11737"/>
                    <a:pt x="17673" y="10309"/>
                    <a:pt x="17673" y="10309"/>
                  </a:cubicBezTo>
                  <a:close/>
                  <a:moveTo>
                    <a:pt x="11425" y="9327"/>
                  </a:moveTo>
                  <a:lnTo>
                    <a:pt x="12764" y="8345"/>
                  </a:lnTo>
                  <a:lnTo>
                    <a:pt x="14102" y="9327"/>
                  </a:lnTo>
                  <a:lnTo>
                    <a:pt x="13567" y="7721"/>
                  </a:lnTo>
                  <a:lnTo>
                    <a:pt x="14727" y="6828"/>
                  </a:lnTo>
                  <a:lnTo>
                    <a:pt x="13299" y="6828"/>
                  </a:lnTo>
                  <a:lnTo>
                    <a:pt x="12764" y="5400"/>
                  </a:lnTo>
                  <a:lnTo>
                    <a:pt x="12228" y="6828"/>
                  </a:lnTo>
                  <a:lnTo>
                    <a:pt x="10800" y="6828"/>
                  </a:lnTo>
                  <a:lnTo>
                    <a:pt x="11960" y="7721"/>
                  </a:lnTo>
                  <a:cubicBezTo>
                    <a:pt x="11960" y="7721"/>
                    <a:pt x="11425" y="9327"/>
                    <a:pt x="11425" y="93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959">
              <a:extLst>
                <a:ext uri="{FF2B5EF4-FFF2-40B4-BE49-F238E27FC236}">
                  <a16:creationId xmlns:a16="http://schemas.microsoft.com/office/drawing/2014/main" id="{756213E0-AC86-4014-834B-9E7B6F59C505}"/>
                </a:ext>
              </a:extLst>
            </p:cNvPr>
            <p:cNvSpPr/>
            <p:nvPr/>
          </p:nvSpPr>
          <p:spPr bwMode="gray">
            <a:xfrm>
              <a:off x="7769819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55" y="8836"/>
                  </a:moveTo>
                  <a:cubicBezTo>
                    <a:pt x="6770" y="8836"/>
                    <a:pt x="5891" y="7957"/>
                    <a:pt x="5891" y="6873"/>
                  </a:cubicBezTo>
                  <a:cubicBezTo>
                    <a:pt x="5891" y="5788"/>
                    <a:pt x="6770" y="4909"/>
                    <a:pt x="7855" y="4909"/>
                  </a:cubicBezTo>
                  <a:cubicBezTo>
                    <a:pt x="8939" y="4909"/>
                    <a:pt x="9818" y="5788"/>
                    <a:pt x="9818" y="6873"/>
                  </a:cubicBezTo>
                  <a:cubicBezTo>
                    <a:pt x="9818" y="7957"/>
                    <a:pt x="8939" y="8836"/>
                    <a:pt x="7855" y="8836"/>
                  </a:cubicBezTo>
                  <a:moveTo>
                    <a:pt x="7855" y="3927"/>
                  </a:moveTo>
                  <a:cubicBezTo>
                    <a:pt x="6228" y="3927"/>
                    <a:pt x="4909" y="5247"/>
                    <a:pt x="4909" y="6873"/>
                  </a:cubicBezTo>
                  <a:cubicBezTo>
                    <a:pt x="4909" y="8500"/>
                    <a:pt x="6228" y="9818"/>
                    <a:pt x="7855" y="9818"/>
                  </a:cubicBezTo>
                  <a:cubicBezTo>
                    <a:pt x="9481" y="9818"/>
                    <a:pt x="10800" y="8500"/>
                    <a:pt x="10800" y="6873"/>
                  </a:cubicBezTo>
                  <a:cubicBezTo>
                    <a:pt x="10800" y="5247"/>
                    <a:pt x="9481" y="3927"/>
                    <a:pt x="7855" y="3927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273" y="10800"/>
                  </a:moveTo>
                  <a:cubicBezTo>
                    <a:pt x="12002" y="10800"/>
                    <a:pt x="11782" y="11020"/>
                    <a:pt x="11782" y="11291"/>
                  </a:cubicBezTo>
                  <a:cubicBezTo>
                    <a:pt x="11782" y="11562"/>
                    <a:pt x="12002" y="11782"/>
                    <a:pt x="12273" y="11782"/>
                  </a:cubicBezTo>
                  <a:cubicBezTo>
                    <a:pt x="12544" y="11782"/>
                    <a:pt x="12764" y="11562"/>
                    <a:pt x="12764" y="11291"/>
                  </a:cubicBezTo>
                  <a:cubicBezTo>
                    <a:pt x="12764" y="11020"/>
                    <a:pt x="12544" y="10800"/>
                    <a:pt x="12273" y="10800"/>
                  </a:cubicBezTo>
                  <a:moveTo>
                    <a:pt x="9327" y="15709"/>
                  </a:moveTo>
                  <a:cubicBezTo>
                    <a:pt x="9056" y="15709"/>
                    <a:pt x="8836" y="15490"/>
                    <a:pt x="8836" y="15218"/>
                  </a:cubicBezTo>
                  <a:cubicBezTo>
                    <a:pt x="8836" y="14947"/>
                    <a:pt x="9056" y="14727"/>
                    <a:pt x="9327" y="14727"/>
                  </a:cubicBezTo>
                  <a:cubicBezTo>
                    <a:pt x="9598" y="14727"/>
                    <a:pt x="9818" y="14947"/>
                    <a:pt x="9818" y="15218"/>
                  </a:cubicBezTo>
                  <a:cubicBezTo>
                    <a:pt x="9818" y="15490"/>
                    <a:pt x="9598" y="15709"/>
                    <a:pt x="9327" y="15709"/>
                  </a:cubicBezTo>
                  <a:moveTo>
                    <a:pt x="9327" y="13745"/>
                  </a:moveTo>
                  <a:cubicBezTo>
                    <a:pt x="8514" y="13745"/>
                    <a:pt x="7855" y="14405"/>
                    <a:pt x="7855" y="15218"/>
                  </a:cubicBezTo>
                  <a:cubicBezTo>
                    <a:pt x="7855" y="16032"/>
                    <a:pt x="8514" y="16691"/>
                    <a:pt x="9327" y="16691"/>
                  </a:cubicBezTo>
                  <a:cubicBezTo>
                    <a:pt x="10141" y="16691"/>
                    <a:pt x="10800" y="16032"/>
                    <a:pt x="10800" y="15218"/>
                  </a:cubicBezTo>
                  <a:cubicBezTo>
                    <a:pt x="10800" y="14405"/>
                    <a:pt x="10141" y="13745"/>
                    <a:pt x="9327" y="13745"/>
                  </a:cubicBezTo>
                  <a:moveTo>
                    <a:pt x="4909" y="11782"/>
                  </a:moveTo>
                  <a:cubicBezTo>
                    <a:pt x="4367" y="11782"/>
                    <a:pt x="3927" y="12222"/>
                    <a:pt x="3927" y="12764"/>
                  </a:cubicBezTo>
                  <a:cubicBezTo>
                    <a:pt x="3927" y="13305"/>
                    <a:pt x="4367" y="13745"/>
                    <a:pt x="4909" y="13745"/>
                  </a:cubicBezTo>
                  <a:cubicBezTo>
                    <a:pt x="5451" y="13745"/>
                    <a:pt x="5891" y="13305"/>
                    <a:pt x="5891" y="12764"/>
                  </a:cubicBezTo>
                  <a:cubicBezTo>
                    <a:pt x="5891" y="12222"/>
                    <a:pt x="5451" y="11782"/>
                    <a:pt x="4909" y="11782"/>
                  </a:cubicBezTo>
                  <a:moveTo>
                    <a:pt x="14236" y="16691"/>
                  </a:moveTo>
                  <a:cubicBezTo>
                    <a:pt x="13966" y="16691"/>
                    <a:pt x="13745" y="16911"/>
                    <a:pt x="13745" y="17182"/>
                  </a:cubicBezTo>
                  <a:cubicBezTo>
                    <a:pt x="13745" y="17453"/>
                    <a:pt x="13966" y="17673"/>
                    <a:pt x="14236" y="17673"/>
                  </a:cubicBezTo>
                  <a:cubicBezTo>
                    <a:pt x="14507" y="17673"/>
                    <a:pt x="14727" y="17453"/>
                    <a:pt x="14727" y="17182"/>
                  </a:cubicBezTo>
                  <a:cubicBezTo>
                    <a:pt x="14727" y="16911"/>
                    <a:pt x="14507" y="16691"/>
                    <a:pt x="14236" y="16691"/>
                  </a:cubicBezTo>
                  <a:moveTo>
                    <a:pt x="16691" y="11782"/>
                  </a:moveTo>
                  <a:cubicBezTo>
                    <a:pt x="16149" y="11782"/>
                    <a:pt x="15709" y="11342"/>
                    <a:pt x="15709" y="10800"/>
                  </a:cubicBezTo>
                  <a:cubicBezTo>
                    <a:pt x="15709" y="10258"/>
                    <a:pt x="16149" y="9818"/>
                    <a:pt x="16691" y="9818"/>
                  </a:cubicBezTo>
                  <a:cubicBezTo>
                    <a:pt x="17233" y="9818"/>
                    <a:pt x="17673" y="10258"/>
                    <a:pt x="17673" y="10800"/>
                  </a:cubicBezTo>
                  <a:cubicBezTo>
                    <a:pt x="17673" y="11342"/>
                    <a:pt x="17233" y="11782"/>
                    <a:pt x="16691" y="11782"/>
                  </a:cubicBezTo>
                  <a:moveTo>
                    <a:pt x="16691" y="8836"/>
                  </a:moveTo>
                  <a:cubicBezTo>
                    <a:pt x="15606" y="8836"/>
                    <a:pt x="14727" y="9716"/>
                    <a:pt x="14727" y="10800"/>
                  </a:cubicBezTo>
                  <a:cubicBezTo>
                    <a:pt x="14727" y="11884"/>
                    <a:pt x="15606" y="12764"/>
                    <a:pt x="16691" y="12764"/>
                  </a:cubicBezTo>
                  <a:cubicBezTo>
                    <a:pt x="17775" y="12764"/>
                    <a:pt x="18655" y="11884"/>
                    <a:pt x="18655" y="10800"/>
                  </a:cubicBezTo>
                  <a:cubicBezTo>
                    <a:pt x="18655" y="9716"/>
                    <a:pt x="17775" y="8836"/>
                    <a:pt x="16691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960">
              <a:extLst>
                <a:ext uri="{FF2B5EF4-FFF2-40B4-BE49-F238E27FC236}">
                  <a16:creationId xmlns:a16="http://schemas.microsoft.com/office/drawing/2014/main" id="{400CB6B9-6791-4659-AFC5-D8FBEE60CAE7}"/>
                </a:ext>
              </a:extLst>
            </p:cNvPr>
            <p:cNvSpPr/>
            <p:nvPr/>
          </p:nvSpPr>
          <p:spPr bwMode="gray">
            <a:xfrm>
              <a:off x="8323371" y="2930060"/>
              <a:ext cx="289992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6" h="21600" extrusionOk="0">
                  <a:moveTo>
                    <a:pt x="17140" y="11946"/>
                  </a:moveTo>
                  <a:cubicBezTo>
                    <a:pt x="15736" y="13192"/>
                    <a:pt x="13853" y="14375"/>
                    <a:pt x="11542" y="15211"/>
                  </a:cubicBezTo>
                  <a:cubicBezTo>
                    <a:pt x="9755" y="15857"/>
                    <a:pt x="7947" y="16197"/>
                    <a:pt x="6315" y="16197"/>
                  </a:cubicBezTo>
                  <a:cubicBezTo>
                    <a:pt x="5843" y="16197"/>
                    <a:pt x="5401" y="16158"/>
                    <a:pt x="4974" y="16102"/>
                  </a:cubicBezTo>
                  <a:cubicBezTo>
                    <a:pt x="4247" y="14590"/>
                    <a:pt x="3822" y="12766"/>
                    <a:pt x="3822" y="10800"/>
                  </a:cubicBezTo>
                  <a:cubicBezTo>
                    <a:pt x="3822" y="5581"/>
                    <a:pt x="6815" y="1350"/>
                    <a:pt x="10508" y="1350"/>
                  </a:cubicBezTo>
                  <a:cubicBezTo>
                    <a:pt x="14201" y="1350"/>
                    <a:pt x="17194" y="5581"/>
                    <a:pt x="17194" y="10800"/>
                  </a:cubicBezTo>
                  <a:cubicBezTo>
                    <a:pt x="17194" y="11189"/>
                    <a:pt x="17172" y="11570"/>
                    <a:pt x="17140" y="11946"/>
                  </a:cubicBezTo>
                  <a:moveTo>
                    <a:pt x="10508" y="20250"/>
                  </a:moveTo>
                  <a:cubicBezTo>
                    <a:pt x="8681" y="20250"/>
                    <a:pt x="7028" y="19212"/>
                    <a:pt x="5821" y="17534"/>
                  </a:cubicBezTo>
                  <a:cubicBezTo>
                    <a:pt x="5984" y="17541"/>
                    <a:pt x="6147" y="17547"/>
                    <a:pt x="6315" y="17547"/>
                  </a:cubicBezTo>
                  <a:cubicBezTo>
                    <a:pt x="7976" y="17547"/>
                    <a:pt x="9848" y="17215"/>
                    <a:pt x="11778" y="16518"/>
                  </a:cubicBezTo>
                  <a:cubicBezTo>
                    <a:pt x="13697" y="15824"/>
                    <a:pt x="15425" y="14854"/>
                    <a:pt x="16859" y="13742"/>
                  </a:cubicBezTo>
                  <a:cubicBezTo>
                    <a:pt x="15984" y="17519"/>
                    <a:pt x="13473" y="20250"/>
                    <a:pt x="10508" y="20250"/>
                  </a:cubicBezTo>
                  <a:moveTo>
                    <a:pt x="20938" y="6356"/>
                  </a:moveTo>
                  <a:cubicBezTo>
                    <a:pt x="20592" y="4617"/>
                    <a:pt x="19141" y="3452"/>
                    <a:pt x="17072" y="2964"/>
                  </a:cubicBezTo>
                  <a:cubicBezTo>
                    <a:pt x="17380" y="3481"/>
                    <a:pt x="17660" y="4034"/>
                    <a:pt x="17905" y="4620"/>
                  </a:cubicBezTo>
                  <a:cubicBezTo>
                    <a:pt x="19058" y="5088"/>
                    <a:pt x="19838" y="5815"/>
                    <a:pt x="20018" y="6721"/>
                  </a:cubicBezTo>
                  <a:cubicBezTo>
                    <a:pt x="20123" y="7246"/>
                    <a:pt x="20033" y="7861"/>
                    <a:pt x="19752" y="8549"/>
                  </a:cubicBezTo>
                  <a:cubicBezTo>
                    <a:pt x="19449" y="9292"/>
                    <a:pt x="18904" y="10122"/>
                    <a:pt x="18143" y="10958"/>
                  </a:cubicBezTo>
                  <a:cubicBezTo>
                    <a:pt x="18144" y="10905"/>
                    <a:pt x="18149" y="10853"/>
                    <a:pt x="18149" y="10800"/>
                  </a:cubicBezTo>
                  <a:cubicBezTo>
                    <a:pt x="18149" y="4835"/>
                    <a:pt x="14728" y="0"/>
                    <a:pt x="10508" y="0"/>
                  </a:cubicBezTo>
                  <a:cubicBezTo>
                    <a:pt x="6288" y="0"/>
                    <a:pt x="2867" y="4835"/>
                    <a:pt x="2867" y="10800"/>
                  </a:cubicBezTo>
                  <a:cubicBezTo>
                    <a:pt x="2867" y="12627"/>
                    <a:pt x="3190" y="14345"/>
                    <a:pt x="3756" y="15853"/>
                  </a:cubicBezTo>
                  <a:cubicBezTo>
                    <a:pt x="2245" y="15418"/>
                    <a:pt x="1209" y="14595"/>
                    <a:pt x="997" y="13528"/>
                  </a:cubicBezTo>
                  <a:cubicBezTo>
                    <a:pt x="893" y="13003"/>
                    <a:pt x="982" y="12389"/>
                    <a:pt x="1263" y="11700"/>
                  </a:cubicBezTo>
                  <a:cubicBezTo>
                    <a:pt x="1416" y="11327"/>
                    <a:pt x="1650" y="10926"/>
                    <a:pt x="1922" y="10518"/>
                  </a:cubicBezTo>
                  <a:cubicBezTo>
                    <a:pt x="1933" y="9817"/>
                    <a:pt x="1982" y="9128"/>
                    <a:pt x="2074" y="8461"/>
                  </a:cubicBezTo>
                  <a:cubicBezTo>
                    <a:pt x="528" y="10248"/>
                    <a:pt x="-261" y="12188"/>
                    <a:pt x="78" y="13893"/>
                  </a:cubicBezTo>
                  <a:cubicBezTo>
                    <a:pt x="452" y="15777"/>
                    <a:pt x="2118" y="16988"/>
                    <a:pt x="4465" y="17394"/>
                  </a:cubicBezTo>
                  <a:cubicBezTo>
                    <a:pt x="5863" y="19948"/>
                    <a:pt x="8046" y="21600"/>
                    <a:pt x="10508" y="21600"/>
                  </a:cubicBezTo>
                  <a:cubicBezTo>
                    <a:pt x="14255" y="21600"/>
                    <a:pt x="17365" y="17785"/>
                    <a:pt x="18017" y="12755"/>
                  </a:cubicBezTo>
                  <a:cubicBezTo>
                    <a:pt x="20167" y="10724"/>
                    <a:pt x="21339" y="8374"/>
                    <a:pt x="20938" y="63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961">
              <a:extLst>
                <a:ext uri="{FF2B5EF4-FFF2-40B4-BE49-F238E27FC236}">
                  <a16:creationId xmlns:a16="http://schemas.microsoft.com/office/drawing/2014/main" id="{E2040A8D-AD60-4852-85B5-33EE226C5C2F}"/>
                </a:ext>
              </a:extLst>
            </p:cNvPr>
            <p:cNvSpPr/>
            <p:nvPr/>
          </p:nvSpPr>
          <p:spPr bwMode="gray">
            <a:xfrm>
              <a:off x="8916462" y="2890520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581" y="20618"/>
                    <a:pt x="1350" y="17422"/>
                    <a:pt x="1350" y="13478"/>
                  </a:cubicBezTo>
                  <a:cubicBezTo>
                    <a:pt x="1350" y="8836"/>
                    <a:pt x="10125" y="1166"/>
                    <a:pt x="10800" y="1166"/>
                  </a:cubicBezTo>
                  <a:cubicBezTo>
                    <a:pt x="11475" y="1166"/>
                    <a:pt x="20250" y="8836"/>
                    <a:pt x="20250" y="13478"/>
                  </a:cubicBezTo>
                  <a:cubicBezTo>
                    <a:pt x="20250" y="17422"/>
                    <a:pt x="16019" y="20618"/>
                    <a:pt x="10800" y="20618"/>
                  </a:cubicBezTo>
                  <a:moveTo>
                    <a:pt x="10800" y="0"/>
                  </a:moveTo>
                  <a:cubicBezTo>
                    <a:pt x="9450" y="0"/>
                    <a:pt x="0" y="8345"/>
                    <a:pt x="0" y="13745"/>
                  </a:cubicBezTo>
                  <a:cubicBezTo>
                    <a:pt x="0" y="18083"/>
                    <a:pt x="4836" y="21600"/>
                    <a:pt x="10800" y="21600"/>
                  </a:cubicBezTo>
                  <a:cubicBezTo>
                    <a:pt x="16765" y="21600"/>
                    <a:pt x="21600" y="18083"/>
                    <a:pt x="21600" y="13745"/>
                  </a:cubicBezTo>
                  <a:cubicBezTo>
                    <a:pt x="21600" y="8345"/>
                    <a:pt x="12150" y="0"/>
                    <a:pt x="10800" y="0"/>
                  </a:cubicBezTo>
                  <a:moveTo>
                    <a:pt x="10800" y="18655"/>
                  </a:moveTo>
                  <a:cubicBezTo>
                    <a:pt x="7072" y="18655"/>
                    <a:pt x="4050" y="16456"/>
                    <a:pt x="4050" y="13745"/>
                  </a:cubicBezTo>
                  <a:cubicBezTo>
                    <a:pt x="4050" y="13474"/>
                    <a:pt x="3748" y="13255"/>
                    <a:pt x="3375" y="13255"/>
                  </a:cubicBezTo>
                  <a:cubicBezTo>
                    <a:pt x="3002" y="13255"/>
                    <a:pt x="2700" y="13474"/>
                    <a:pt x="2700" y="13745"/>
                  </a:cubicBezTo>
                  <a:cubicBezTo>
                    <a:pt x="2700" y="16999"/>
                    <a:pt x="6327" y="19636"/>
                    <a:pt x="10800" y="19636"/>
                  </a:cubicBezTo>
                  <a:cubicBezTo>
                    <a:pt x="11173" y="19636"/>
                    <a:pt x="11475" y="19417"/>
                    <a:pt x="11475" y="19145"/>
                  </a:cubicBezTo>
                  <a:cubicBezTo>
                    <a:pt x="11475" y="18875"/>
                    <a:pt x="11173" y="18655"/>
                    <a:pt x="10800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962">
              <a:extLst>
                <a:ext uri="{FF2B5EF4-FFF2-40B4-BE49-F238E27FC236}">
                  <a16:creationId xmlns:a16="http://schemas.microsoft.com/office/drawing/2014/main" id="{F8F432F1-2D4D-42E3-BEEC-F31985272239}"/>
                </a:ext>
              </a:extLst>
            </p:cNvPr>
            <p:cNvSpPr/>
            <p:nvPr/>
          </p:nvSpPr>
          <p:spPr bwMode="gray">
            <a:xfrm>
              <a:off x="9430474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3927"/>
                  </a:moveTo>
                  <a:cubicBezTo>
                    <a:pt x="13204" y="3927"/>
                    <a:pt x="12764" y="4367"/>
                    <a:pt x="12764" y="4909"/>
                  </a:cubicBezTo>
                  <a:cubicBezTo>
                    <a:pt x="12764" y="5451"/>
                    <a:pt x="13204" y="5891"/>
                    <a:pt x="13745" y="5891"/>
                  </a:cubicBezTo>
                  <a:cubicBezTo>
                    <a:pt x="14287" y="5891"/>
                    <a:pt x="14727" y="5451"/>
                    <a:pt x="14727" y="4909"/>
                  </a:cubicBezTo>
                  <a:cubicBezTo>
                    <a:pt x="14727" y="4367"/>
                    <a:pt x="14287" y="3927"/>
                    <a:pt x="13745" y="3927"/>
                  </a:cubicBezTo>
                  <a:moveTo>
                    <a:pt x="16691" y="7855"/>
                  </a:moveTo>
                  <a:cubicBezTo>
                    <a:pt x="16149" y="7855"/>
                    <a:pt x="15709" y="8295"/>
                    <a:pt x="15709" y="8836"/>
                  </a:cubicBezTo>
                  <a:cubicBezTo>
                    <a:pt x="15709" y="9378"/>
                    <a:pt x="16149" y="9818"/>
                    <a:pt x="16691" y="9818"/>
                  </a:cubicBezTo>
                  <a:cubicBezTo>
                    <a:pt x="17233" y="9818"/>
                    <a:pt x="17673" y="9378"/>
                    <a:pt x="17673" y="8836"/>
                  </a:cubicBezTo>
                  <a:cubicBezTo>
                    <a:pt x="17673" y="8295"/>
                    <a:pt x="17233" y="7855"/>
                    <a:pt x="16691" y="7855"/>
                  </a:cubicBezTo>
                  <a:moveTo>
                    <a:pt x="7855" y="4909"/>
                  </a:moveTo>
                  <a:cubicBezTo>
                    <a:pt x="7313" y="4909"/>
                    <a:pt x="6873" y="5349"/>
                    <a:pt x="6873" y="5891"/>
                  </a:cubicBezTo>
                  <a:cubicBezTo>
                    <a:pt x="6873" y="6433"/>
                    <a:pt x="7313" y="6873"/>
                    <a:pt x="7855" y="6873"/>
                  </a:cubicBezTo>
                  <a:cubicBezTo>
                    <a:pt x="8396" y="6873"/>
                    <a:pt x="8836" y="6433"/>
                    <a:pt x="8836" y="5891"/>
                  </a:cubicBezTo>
                  <a:cubicBezTo>
                    <a:pt x="8836" y="5349"/>
                    <a:pt x="8396" y="4909"/>
                    <a:pt x="7855" y="4909"/>
                  </a:cubicBezTo>
                  <a:moveTo>
                    <a:pt x="3927" y="7855"/>
                  </a:moveTo>
                  <a:cubicBezTo>
                    <a:pt x="3385" y="7855"/>
                    <a:pt x="2945" y="8295"/>
                    <a:pt x="2945" y="8836"/>
                  </a:cubicBezTo>
                  <a:cubicBezTo>
                    <a:pt x="2945" y="9378"/>
                    <a:pt x="3385" y="9818"/>
                    <a:pt x="3927" y="9818"/>
                  </a:cubicBezTo>
                  <a:cubicBezTo>
                    <a:pt x="4469" y="9818"/>
                    <a:pt x="4909" y="9378"/>
                    <a:pt x="4909" y="8836"/>
                  </a:cubicBezTo>
                  <a:cubicBezTo>
                    <a:pt x="4909" y="8295"/>
                    <a:pt x="4469" y="7855"/>
                    <a:pt x="3927" y="7855"/>
                  </a:cubicBezTo>
                  <a:moveTo>
                    <a:pt x="1008" y="10800"/>
                  </a:moveTo>
                  <a:cubicBezTo>
                    <a:pt x="1278" y="5878"/>
                    <a:pt x="5552" y="1964"/>
                    <a:pt x="10800" y="1964"/>
                  </a:cubicBezTo>
                  <a:cubicBezTo>
                    <a:pt x="16048" y="1964"/>
                    <a:pt x="20322" y="5878"/>
                    <a:pt x="20592" y="10800"/>
                  </a:cubicBezTo>
                  <a:cubicBezTo>
                    <a:pt x="20592" y="10800"/>
                    <a:pt x="1008" y="10800"/>
                    <a:pt x="1008" y="10800"/>
                  </a:cubicBezTo>
                  <a:close/>
                  <a:moveTo>
                    <a:pt x="11291" y="1005"/>
                  </a:move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005"/>
                  </a:lnTo>
                  <a:cubicBezTo>
                    <a:pt x="4574" y="1252"/>
                    <a:pt x="0" y="5756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10309" y="11782"/>
                  </a:lnTo>
                  <a:lnTo>
                    <a:pt x="10309" y="18655"/>
                  </a:lnTo>
                  <a:cubicBezTo>
                    <a:pt x="10309" y="19739"/>
                    <a:pt x="9430" y="20618"/>
                    <a:pt x="8345" y="20618"/>
                  </a:cubicBezTo>
                  <a:cubicBezTo>
                    <a:pt x="7261" y="20618"/>
                    <a:pt x="6382" y="19739"/>
                    <a:pt x="6382" y="18655"/>
                  </a:cubicBezTo>
                  <a:cubicBezTo>
                    <a:pt x="6382" y="18383"/>
                    <a:pt x="6162" y="18164"/>
                    <a:pt x="5891" y="18164"/>
                  </a:cubicBezTo>
                  <a:cubicBezTo>
                    <a:pt x="5620" y="18164"/>
                    <a:pt x="5400" y="18383"/>
                    <a:pt x="5400" y="18655"/>
                  </a:cubicBezTo>
                  <a:cubicBezTo>
                    <a:pt x="5400" y="20281"/>
                    <a:pt x="6719" y="21600"/>
                    <a:pt x="8345" y="21600"/>
                  </a:cubicBezTo>
                  <a:cubicBezTo>
                    <a:pt x="9804" y="21600"/>
                    <a:pt x="11007" y="20537"/>
                    <a:pt x="11242" y="19145"/>
                  </a:cubicBezTo>
                  <a:lnTo>
                    <a:pt x="11291" y="19145"/>
                  </a:lnTo>
                  <a:lnTo>
                    <a:pt x="11291" y="11782"/>
                  </a:ln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5756"/>
                    <a:pt x="17026" y="1252"/>
                    <a:pt x="11291" y="1005"/>
                  </a:cubicBezTo>
                  <a:moveTo>
                    <a:pt x="10800" y="6873"/>
                  </a:moveTo>
                  <a:cubicBezTo>
                    <a:pt x="10258" y="6873"/>
                    <a:pt x="9818" y="7313"/>
                    <a:pt x="9818" y="7855"/>
                  </a:cubicBezTo>
                  <a:cubicBezTo>
                    <a:pt x="9818" y="8396"/>
                    <a:pt x="10258" y="8836"/>
                    <a:pt x="10800" y="8836"/>
                  </a:cubicBezTo>
                  <a:cubicBezTo>
                    <a:pt x="11342" y="8836"/>
                    <a:pt x="11782" y="8396"/>
                    <a:pt x="11782" y="7855"/>
                  </a:cubicBezTo>
                  <a:cubicBezTo>
                    <a:pt x="11782" y="7313"/>
                    <a:pt x="11342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963">
              <a:extLst>
                <a:ext uri="{FF2B5EF4-FFF2-40B4-BE49-F238E27FC236}">
                  <a16:creationId xmlns:a16="http://schemas.microsoft.com/office/drawing/2014/main" id="{86CF99F9-9725-45FD-91AE-64F83CCAE818}"/>
                </a:ext>
              </a:extLst>
            </p:cNvPr>
            <p:cNvSpPr/>
            <p:nvPr/>
          </p:nvSpPr>
          <p:spPr bwMode="gray">
            <a:xfrm>
              <a:off x="9984025" y="2956419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32" y="19800"/>
                  </a:moveTo>
                  <a:cubicBezTo>
                    <a:pt x="18391" y="11772"/>
                    <a:pt x="14982" y="5400"/>
                    <a:pt x="10800" y="5400"/>
                  </a:cubicBezTo>
                  <a:cubicBezTo>
                    <a:pt x="6618" y="5400"/>
                    <a:pt x="3209" y="11772"/>
                    <a:pt x="2968" y="19800"/>
                  </a:cubicBezTo>
                  <a:lnTo>
                    <a:pt x="1005" y="19800"/>
                  </a:lnTo>
                  <a:cubicBezTo>
                    <a:pt x="1251" y="9783"/>
                    <a:pt x="5535" y="1800"/>
                    <a:pt x="10800" y="1800"/>
                  </a:cubicBezTo>
                  <a:cubicBezTo>
                    <a:pt x="16065" y="1800"/>
                    <a:pt x="20349" y="9783"/>
                    <a:pt x="20595" y="19800"/>
                  </a:cubicBezTo>
                  <a:cubicBezTo>
                    <a:pt x="20595" y="19800"/>
                    <a:pt x="18632" y="19800"/>
                    <a:pt x="18632" y="19800"/>
                  </a:cubicBezTo>
                  <a:close/>
                  <a:moveTo>
                    <a:pt x="15687" y="19800"/>
                  </a:moveTo>
                  <a:cubicBezTo>
                    <a:pt x="15461" y="14755"/>
                    <a:pt x="13360" y="10800"/>
                    <a:pt x="10800" y="10800"/>
                  </a:cubicBezTo>
                  <a:cubicBezTo>
                    <a:pt x="8240" y="10800"/>
                    <a:pt x="6139" y="14755"/>
                    <a:pt x="5913" y="19800"/>
                  </a:cubicBezTo>
                  <a:lnTo>
                    <a:pt x="3950" y="19800"/>
                  </a:lnTo>
                  <a:cubicBezTo>
                    <a:pt x="4187" y="12767"/>
                    <a:pt x="7159" y="7200"/>
                    <a:pt x="10800" y="7200"/>
                  </a:cubicBezTo>
                  <a:cubicBezTo>
                    <a:pt x="14441" y="7200"/>
                    <a:pt x="17413" y="12767"/>
                    <a:pt x="17650" y="19800"/>
                  </a:cubicBezTo>
                  <a:cubicBezTo>
                    <a:pt x="17650" y="19800"/>
                    <a:pt x="15687" y="19800"/>
                    <a:pt x="15687" y="19800"/>
                  </a:cubicBezTo>
                  <a:close/>
                  <a:moveTo>
                    <a:pt x="12724" y="19800"/>
                  </a:moveTo>
                  <a:cubicBezTo>
                    <a:pt x="12542" y="17747"/>
                    <a:pt x="11750" y="16200"/>
                    <a:pt x="10800" y="16200"/>
                  </a:cubicBezTo>
                  <a:cubicBezTo>
                    <a:pt x="9850" y="16200"/>
                    <a:pt x="9058" y="17747"/>
                    <a:pt x="8876" y="19800"/>
                  </a:cubicBezTo>
                  <a:lnTo>
                    <a:pt x="6899" y="19800"/>
                  </a:lnTo>
                  <a:cubicBezTo>
                    <a:pt x="7115" y="15751"/>
                    <a:pt x="8779" y="12600"/>
                    <a:pt x="10800" y="12600"/>
                  </a:cubicBezTo>
                  <a:cubicBezTo>
                    <a:pt x="12821" y="12600"/>
                    <a:pt x="14485" y="15751"/>
                    <a:pt x="14701" y="19800"/>
                  </a:cubicBezTo>
                  <a:cubicBezTo>
                    <a:pt x="14701" y="19800"/>
                    <a:pt x="12724" y="19800"/>
                    <a:pt x="12724" y="19800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9268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9327" y="21600"/>
                  </a:lnTo>
                  <a:cubicBezTo>
                    <a:pt x="9599" y="21600"/>
                    <a:pt x="9818" y="21197"/>
                    <a:pt x="9818" y="20700"/>
                  </a:cubicBezTo>
                  <a:cubicBezTo>
                    <a:pt x="9818" y="19209"/>
                    <a:pt x="10258" y="18000"/>
                    <a:pt x="10800" y="18000"/>
                  </a:cubicBezTo>
                  <a:cubicBezTo>
                    <a:pt x="11342" y="18000"/>
                    <a:pt x="11782" y="19209"/>
                    <a:pt x="11782" y="20700"/>
                  </a:cubicBezTo>
                  <a:cubicBezTo>
                    <a:pt x="11782" y="21197"/>
                    <a:pt x="12001" y="21600"/>
                    <a:pt x="12273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9268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964">
              <a:extLst>
                <a:ext uri="{FF2B5EF4-FFF2-40B4-BE49-F238E27FC236}">
                  <a16:creationId xmlns:a16="http://schemas.microsoft.com/office/drawing/2014/main" id="{A5A9FA1F-D69E-4124-8066-7E4EE9555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37577" y="2930060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250"/>
                  </a:moveTo>
                  <a:lnTo>
                    <a:pt x="4418" y="20250"/>
                  </a:lnTo>
                  <a:cubicBezTo>
                    <a:pt x="2524" y="20250"/>
                    <a:pt x="982" y="18130"/>
                    <a:pt x="982" y="15525"/>
                  </a:cubicBezTo>
                  <a:cubicBezTo>
                    <a:pt x="982" y="13489"/>
                    <a:pt x="1926" y="11690"/>
                    <a:pt x="3333" y="11045"/>
                  </a:cubicBezTo>
                  <a:lnTo>
                    <a:pt x="4165" y="10664"/>
                  </a:lnTo>
                  <a:lnTo>
                    <a:pt x="3982" y="9484"/>
                  </a:lnTo>
                  <a:cubicBezTo>
                    <a:pt x="3946" y="9247"/>
                    <a:pt x="3927" y="9008"/>
                    <a:pt x="3927" y="8775"/>
                  </a:cubicBezTo>
                  <a:cubicBezTo>
                    <a:pt x="3927" y="6914"/>
                    <a:pt x="5028" y="5400"/>
                    <a:pt x="6382" y="5400"/>
                  </a:cubicBezTo>
                  <a:cubicBezTo>
                    <a:pt x="6662" y="5400"/>
                    <a:pt x="6942" y="5470"/>
                    <a:pt x="7215" y="5605"/>
                  </a:cubicBezTo>
                  <a:lnTo>
                    <a:pt x="8019" y="6006"/>
                  </a:lnTo>
                  <a:lnTo>
                    <a:pt x="8418" y="4965"/>
                  </a:lnTo>
                  <a:cubicBezTo>
                    <a:pt x="9272" y="2735"/>
                    <a:pt x="10937" y="1350"/>
                    <a:pt x="12764" y="1350"/>
                  </a:cubicBezTo>
                  <a:cubicBezTo>
                    <a:pt x="15470" y="1350"/>
                    <a:pt x="17673" y="4378"/>
                    <a:pt x="17673" y="8100"/>
                  </a:cubicBezTo>
                  <a:cubicBezTo>
                    <a:pt x="17673" y="8218"/>
                    <a:pt x="17666" y="8333"/>
                    <a:pt x="17660" y="8449"/>
                  </a:cubicBezTo>
                  <a:lnTo>
                    <a:pt x="17655" y="8565"/>
                  </a:lnTo>
                  <a:lnTo>
                    <a:pt x="17610" y="9515"/>
                  </a:lnTo>
                  <a:lnTo>
                    <a:pt x="18245" y="9892"/>
                  </a:lnTo>
                  <a:cubicBezTo>
                    <a:pt x="19687" y="10747"/>
                    <a:pt x="20618" y="12693"/>
                    <a:pt x="20618" y="14850"/>
                  </a:cubicBezTo>
                  <a:cubicBezTo>
                    <a:pt x="20618" y="17828"/>
                    <a:pt x="18856" y="20250"/>
                    <a:pt x="16691" y="20250"/>
                  </a:cubicBezTo>
                  <a:moveTo>
                    <a:pt x="18634" y="8652"/>
                  </a:moveTo>
                  <a:cubicBezTo>
                    <a:pt x="18643" y="8469"/>
                    <a:pt x="18655" y="8287"/>
                    <a:pt x="18655" y="8100"/>
                  </a:cubicBezTo>
                  <a:cubicBezTo>
                    <a:pt x="18655" y="3627"/>
                    <a:pt x="16017" y="0"/>
                    <a:pt x="12764" y="0"/>
                  </a:cubicBezTo>
                  <a:cubicBezTo>
                    <a:pt x="10499" y="0"/>
                    <a:pt x="8536" y="1759"/>
                    <a:pt x="7550" y="4336"/>
                  </a:cubicBezTo>
                  <a:cubicBezTo>
                    <a:pt x="7185" y="4154"/>
                    <a:pt x="6793" y="4050"/>
                    <a:pt x="6382" y="4050"/>
                  </a:cubicBezTo>
                  <a:cubicBezTo>
                    <a:pt x="4484" y="4050"/>
                    <a:pt x="2945" y="6165"/>
                    <a:pt x="2945" y="8775"/>
                  </a:cubicBezTo>
                  <a:cubicBezTo>
                    <a:pt x="2945" y="9114"/>
                    <a:pt x="2973" y="9445"/>
                    <a:pt x="3022" y="9764"/>
                  </a:cubicBezTo>
                  <a:cubicBezTo>
                    <a:pt x="1267" y="10569"/>
                    <a:pt x="0" y="12841"/>
                    <a:pt x="0" y="15525"/>
                  </a:cubicBezTo>
                  <a:cubicBezTo>
                    <a:pt x="0" y="18880"/>
                    <a:pt x="1978" y="21600"/>
                    <a:pt x="4418" y="21600"/>
                  </a:cubicBezTo>
                  <a:lnTo>
                    <a:pt x="16691" y="21600"/>
                  </a:lnTo>
                  <a:cubicBezTo>
                    <a:pt x="19401" y="21600"/>
                    <a:pt x="21600" y="18578"/>
                    <a:pt x="21600" y="14850"/>
                  </a:cubicBezTo>
                  <a:cubicBezTo>
                    <a:pt x="21600" y="12072"/>
                    <a:pt x="20378" y="9687"/>
                    <a:pt x="18634" y="86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965">
              <a:extLst>
                <a:ext uri="{FF2B5EF4-FFF2-40B4-BE49-F238E27FC236}">
                  <a16:creationId xmlns:a16="http://schemas.microsoft.com/office/drawing/2014/main" id="{B507CFD1-AB02-4167-AEEB-A9D481B887DF}"/>
                </a:ext>
              </a:extLst>
            </p:cNvPr>
            <p:cNvSpPr/>
            <p:nvPr/>
          </p:nvSpPr>
          <p:spPr bwMode="gray">
            <a:xfrm>
              <a:off x="5555613" y="3586633"/>
              <a:ext cx="289956" cy="171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9938"/>
                  </a:moveTo>
                  <a:lnTo>
                    <a:pt x="3927" y="19938"/>
                  </a:lnTo>
                  <a:cubicBezTo>
                    <a:pt x="2303" y="19938"/>
                    <a:pt x="982" y="17703"/>
                    <a:pt x="982" y="14954"/>
                  </a:cubicBezTo>
                  <a:cubicBezTo>
                    <a:pt x="982" y="12638"/>
                    <a:pt x="1912" y="10647"/>
                    <a:pt x="3244" y="10110"/>
                  </a:cubicBezTo>
                  <a:cubicBezTo>
                    <a:pt x="3634" y="9954"/>
                    <a:pt x="3929" y="9410"/>
                    <a:pt x="3988" y="8739"/>
                  </a:cubicBezTo>
                  <a:cubicBezTo>
                    <a:pt x="4343" y="4704"/>
                    <a:pt x="6427" y="1662"/>
                    <a:pt x="8836" y="1662"/>
                  </a:cubicBezTo>
                  <a:cubicBezTo>
                    <a:pt x="10501" y="1662"/>
                    <a:pt x="12038" y="3081"/>
                    <a:pt x="12948" y="5461"/>
                  </a:cubicBezTo>
                  <a:cubicBezTo>
                    <a:pt x="13103" y="5866"/>
                    <a:pt x="13354" y="6137"/>
                    <a:pt x="13636" y="6203"/>
                  </a:cubicBezTo>
                  <a:cubicBezTo>
                    <a:pt x="13682" y="6215"/>
                    <a:pt x="13727" y="6219"/>
                    <a:pt x="13773" y="6219"/>
                  </a:cubicBezTo>
                  <a:cubicBezTo>
                    <a:pt x="14009" y="6219"/>
                    <a:pt x="14238" y="6076"/>
                    <a:pt x="14419" y="5809"/>
                  </a:cubicBezTo>
                  <a:cubicBezTo>
                    <a:pt x="14777" y="5278"/>
                    <a:pt x="15236" y="4985"/>
                    <a:pt x="15709" y="4985"/>
                  </a:cubicBezTo>
                  <a:cubicBezTo>
                    <a:pt x="16792" y="4985"/>
                    <a:pt x="17673" y="6476"/>
                    <a:pt x="17671" y="8326"/>
                  </a:cubicBezTo>
                  <a:lnTo>
                    <a:pt x="17667" y="8447"/>
                  </a:lnTo>
                  <a:cubicBezTo>
                    <a:pt x="17646" y="9234"/>
                    <a:pt x="17953" y="9937"/>
                    <a:pt x="18404" y="10132"/>
                  </a:cubicBezTo>
                  <a:cubicBezTo>
                    <a:pt x="19708" y="10697"/>
                    <a:pt x="20618" y="12680"/>
                    <a:pt x="20618" y="14954"/>
                  </a:cubicBezTo>
                  <a:cubicBezTo>
                    <a:pt x="20618" y="17703"/>
                    <a:pt x="19297" y="19938"/>
                    <a:pt x="17673" y="19938"/>
                  </a:cubicBezTo>
                  <a:moveTo>
                    <a:pt x="18648" y="8523"/>
                  </a:moveTo>
                  <a:cubicBezTo>
                    <a:pt x="18650" y="8451"/>
                    <a:pt x="18655" y="8381"/>
                    <a:pt x="18655" y="8308"/>
                  </a:cubicBezTo>
                  <a:cubicBezTo>
                    <a:pt x="18655" y="5556"/>
                    <a:pt x="17335" y="3323"/>
                    <a:pt x="15709" y="3323"/>
                  </a:cubicBezTo>
                  <a:cubicBezTo>
                    <a:pt x="14967" y="3323"/>
                    <a:pt x="14290" y="3791"/>
                    <a:pt x="13773" y="4558"/>
                  </a:cubicBezTo>
                  <a:cubicBezTo>
                    <a:pt x="12724" y="1819"/>
                    <a:pt x="10909" y="0"/>
                    <a:pt x="8836" y="0"/>
                  </a:cubicBezTo>
                  <a:cubicBezTo>
                    <a:pt x="5880" y="0"/>
                    <a:pt x="3439" y="3690"/>
                    <a:pt x="3017" y="8494"/>
                  </a:cubicBezTo>
                  <a:cubicBezTo>
                    <a:pt x="1288" y="9190"/>
                    <a:pt x="0" y="11814"/>
                    <a:pt x="0" y="14954"/>
                  </a:cubicBezTo>
                  <a:cubicBezTo>
                    <a:pt x="0" y="1862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8624"/>
                    <a:pt x="21600" y="14954"/>
                  </a:cubicBezTo>
                  <a:cubicBezTo>
                    <a:pt x="21600" y="11855"/>
                    <a:pt x="20344" y="9259"/>
                    <a:pt x="18648" y="852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966">
              <a:extLst>
                <a:ext uri="{FF2B5EF4-FFF2-40B4-BE49-F238E27FC236}">
                  <a16:creationId xmlns:a16="http://schemas.microsoft.com/office/drawing/2014/main" id="{5ED32417-E893-4550-8E21-50C891D6F5A5}"/>
                </a:ext>
              </a:extLst>
            </p:cNvPr>
            <p:cNvSpPr/>
            <p:nvPr/>
          </p:nvSpPr>
          <p:spPr bwMode="gray">
            <a:xfrm>
              <a:off x="6109165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20400"/>
                  </a:moveTo>
                  <a:lnTo>
                    <a:pt x="3927" y="20400"/>
                  </a:lnTo>
                  <a:cubicBezTo>
                    <a:pt x="2303" y="20400"/>
                    <a:pt x="982" y="18785"/>
                    <a:pt x="982" y="16800"/>
                  </a:cubicBezTo>
                  <a:cubicBezTo>
                    <a:pt x="982" y="15128"/>
                    <a:pt x="1912" y="13690"/>
                    <a:pt x="3244" y="13302"/>
                  </a:cubicBezTo>
                  <a:cubicBezTo>
                    <a:pt x="3634" y="13189"/>
                    <a:pt x="3929" y="12796"/>
                    <a:pt x="3988" y="12312"/>
                  </a:cubicBezTo>
                  <a:cubicBezTo>
                    <a:pt x="4343" y="9397"/>
                    <a:pt x="6427" y="7200"/>
                    <a:pt x="8836" y="7200"/>
                  </a:cubicBezTo>
                  <a:cubicBezTo>
                    <a:pt x="10501" y="7200"/>
                    <a:pt x="11547" y="7626"/>
                    <a:pt x="12457" y="9344"/>
                  </a:cubicBezTo>
                  <a:cubicBezTo>
                    <a:pt x="12612" y="9636"/>
                    <a:pt x="13354" y="10432"/>
                    <a:pt x="13636" y="10480"/>
                  </a:cubicBezTo>
                  <a:cubicBezTo>
                    <a:pt x="13682" y="10488"/>
                    <a:pt x="13773" y="10492"/>
                    <a:pt x="13773" y="10492"/>
                  </a:cubicBezTo>
                  <a:cubicBezTo>
                    <a:pt x="14009" y="10492"/>
                    <a:pt x="14238" y="10388"/>
                    <a:pt x="14419" y="10195"/>
                  </a:cubicBezTo>
                  <a:cubicBezTo>
                    <a:pt x="14777" y="9812"/>
                    <a:pt x="15236" y="9600"/>
                    <a:pt x="15709" y="9600"/>
                  </a:cubicBezTo>
                  <a:cubicBezTo>
                    <a:pt x="16792" y="9600"/>
                    <a:pt x="17673" y="10677"/>
                    <a:pt x="17671" y="12013"/>
                  </a:cubicBezTo>
                  <a:lnTo>
                    <a:pt x="17667" y="12101"/>
                  </a:lnTo>
                  <a:cubicBezTo>
                    <a:pt x="17646" y="12669"/>
                    <a:pt x="17953" y="13177"/>
                    <a:pt x="18404" y="13318"/>
                  </a:cubicBezTo>
                  <a:cubicBezTo>
                    <a:pt x="19708" y="13726"/>
                    <a:pt x="20618" y="15158"/>
                    <a:pt x="20618" y="16800"/>
                  </a:cubicBezTo>
                  <a:cubicBezTo>
                    <a:pt x="20618" y="18785"/>
                    <a:pt x="19297" y="20400"/>
                    <a:pt x="17673" y="20400"/>
                  </a:cubicBezTo>
                  <a:moveTo>
                    <a:pt x="15709" y="1200"/>
                  </a:moveTo>
                  <a:cubicBezTo>
                    <a:pt x="18420" y="1200"/>
                    <a:pt x="20618" y="3887"/>
                    <a:pt x="20618" y="7200"/>
                  </a:cubicBezTo>
                  <a:cubicBezTo>
                    <a:pt x="20618" y="9162"/>
                    <a:pt x="19844" y="10898"/>
                    <a:pt x="18654" y="11992"/>
                  </a:cubicBezTo>
                  <a:cubicBezTo>
                    <a:pt x="18651" y="10008"/>
                    <a:pt x="17334" y="8400"/>
                    <a:pt x="15709" y="8400"/>
                  </a:cubicBezTo>
                  <a:cubicBezTo>
                    <a:pt x="14967" y="8400"/>
                    <a:pt x="14290" y="8738"/>
                    <a:pt x="13773" y="9292"/>
                  </a:cubicBezTo>
                  <a:cubicBezTo>
                    <a:pt x="13082" y="7989"/>
                    <a:pt x="12054" y="6984"/>
                    <a:pt x="10843" y="6443"/>
                  </a:cubicBezTo>
                  <a:cubicBezTo>
                    <a:pt x="11149" y="3488"/>
                    <a:pt x="13208" y="1200"/>
                    <a:pt x="15709" y="1200"/>
                  </a:cubicBezTo>
                  <a:moveTo>
                    <a:pt x="19575" y="12625"/>
                  </a:moveTo>
                  <a:cubicBezTo>
                    <a:pt x="20814" y="11304"/>
                    <a:pt x="21600" y="9367"/>
                    <a:pt x="21600" y="7200"/>
                  </a:cubicBezTo>
                  <a:cubicBezTo>
                    <a:pt x="21600" y="3224"/>
                    <a:pt x="18962" y="0"/>
                    <a:pt x="15709" y="0"/>
                  </a:cubicBezTo>
                  <a:cubicBezTo>
                    <a:pt x="12754" y="0"/>
                    <a:pt x="10314" y="2663"/>
                    <a:pt x="9890" y="6130"/>
                  </a:cubicBezTo>
                  <a:cubicBezTo>
                    <a:pt x="9547" y="6053"/>
                    <a:pt x="9198" y="6000"/>
                    <a:pt x="8836" y="6000"/>
                  </a:cubicBezTo>
                  <a:cubicBezTo>
                    <a:pt x="5880" y="6000"/>
                    <a:pt x="3439" y="8665"/>
                    <a:pt x="3017" y="12135"/>
                  </a:cubicBezTo>
                  <a:cubicBezTo>
                    <a:pt x="1288" y="12638"/>
                    <a:pt x="0" y="14532"/>
                    <a:pt x="0" y="16800"/>
                  </a:cubicBezTo>
                  <a:cubicBezTo>
                    <a:pt x="0" y="1945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9451"/>
                    <a:pt x="21600" y="16800"/>
                  </a:cubicBezTo>
                  <a:cubicBezTo>
                    <a:pt x="21600" y="14997"/>
                    <a:pt x="20778" y="13443"/>
                    <a:pt x="19575" y="1262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967">
              <a:extLst>
                <a:ext uri="{FF2B5EF4-FFF2-40B4-BE49-F238E27FC236}">
                  <a16:creationId xmlns:a16="http://schemas.microsoft.com/office/drawing/2014/main" id="{78DC9766-81B8-4307-9287-0A6AFCFD654E}"/>
                </a:ext>
              </a:extLst>
            </p:cNvPr>
            <p:cNvSpPr/>
            <p:nvPr/>
          </p:nvSpPr>
          <p:spPr bwMode="gray">
            <a:xfrm>
              <a:off x="6662716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440"/>
                  </a:moveTo>
                  <a:cubicBezTo>
                    <a:pt x="14727" y="20036"/>
                    <a:pt x="15167" y="20520"/>
                    <a:pt x="15709" y="20520"/>
                  </a:cubicBezTo>
                  <a:cubicBezTo>
                    <a:pt x="16251" y="20520"/>
                    <a:pt x="16691" y="20036"/>
                    <a:pt x="16691" y="19440"/>
                  </a:cubicBezTo>
                  <a:cubicBezTo>
                    <a:pt x="16691" y="18360"/>
                    <a:pt x="15709" y="17280"/>
                    <a:pt x="15709" y="17280"/>
                  </a:cubicBezTo>
                  <a:cubicBezTo>
                    <a:pt x="15709" y="17280"/>
                    <a:pt x="14727" y="18360"/>
                    <a:pt x="14727" y="19440"/>
                  </a:cubicBezTo>
                  <a:moveTo>
                    <a:pt x="4909" y="20520"/>
                  </a:moveTo>
                  <a:cubicBezTo>
                    <a:pt x="4909" y="21117"/>
                    <a:pt x="5349" y="21600"/>
                    <a:pt x="5891" y="21600"/>
                  </a:cubicBezTo>
                  <a:cubicBezTo>
                    <a:pt x="6433" y="21600"/>
                    <a:pt x="6873" y="21117"/>
                    <a:pt x="6873" y="20520"/>
                  </a:cubicBezTo>
                  <a:cubicBezTo>
                    <a:pt x="6873" y="19440"/>
                    <a:pt x="5891" y="18360"/>
                    <a:pt x="5891" y="18360"/>
                  </a:cubicBezTo>
                  <a:cubicBezTo>
                    <a:pt x="5891" y="18360"/>
                    <a:pt x="4909" y="19440"/>
                    <a:pt x="4909" y="20520"/>
                  </a:cubicBezTo>
                  <a:moveTo>
                    <a:pt x="9818" y="17280"/>
                  </a:moveTo>
                  <a:cubicBezTo>
                    <a:pt x="9818" y="17876"/>
                    <a:pt x="10258" y="18360"/>
                    <a:pt x="10800" y="18360"/>
                  </a:cubicBezTo>
                  <a:cubicBezTo>
                    <a:pt x="11342" y="18360"/>
                    <a:pt x="11782" y="17876"/>
                    <a:pt x="11782" y="17280"/>
                  </a:cubicBezTo>
                  <a:cubicBezTo>
                    <a:pt x="11782" y="16200"/>
                    <a:pt x="10800" y="15120"/>
                    <a:pt x="10800" y="15120"/>
                  </a:cubicBezTo>
                  <a:cubicBezTo>
                    <a:pt x="10800" y="15120"/>
                    <a:pt x="9818" y="16200"/>
                    <a:pt x="9818" y="1728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968">
              <a:extLst>
                <a:ext uri="{FF2B5EF4-FFF2-40B4-BE49-F238E27FC236}">
                  <a16:creationId xmlns:a16="http://schemas.microsoft.com/office/drawing/2014/main" id="{9CD13275-184F-4FA4-A08E-50B34B551188}"/>
                </a:ext>
              </a:extLst>
            </p:cNvPr>
            <p:cNvSpPr/>
            <p:nvPr/>
          </p:nvSpPr>
          <p:spPr bwMode="gray">
            <a:xfrm>
              <a:off x="7216268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4400"/>
                  </a:moveTo>
                  <a:lnTo>
                    <a:pt x="3927" y="14400"/>
                  </a:lnTo>
                  <a:cubicBezTo>
                    <a:pt x="2303" y="14400"/>
                    <a:pt x="982" y="12785"/>
                    <a:pt x="982" y="10800"/>
                  </a:cubicBezTo>
                  <a:cubicBezTo>
                    <a:pt x="982" y="9128"/>
                    <a:pt x="1912" y="7690"/>
                    <a:pt x="3244" y="7302"/>
                  </a:cubicBezTo>
                  <a:cubicBezTo>
                    <a:pt x="3634" y="7189"/>
                    <a:pt x="3929" y="6796"/>
                    <a:pt x="3988" y="6312"/>
                  </a:cubicBezTo>
                  <a:cubicBezTo>
                    <a:pt x="4343" y="3397"/>
                    <a:pt x="6427" y="1200"/>
                    <a:pt x="8836" y="1200"/>
                  </a:cubicBezTo>
                  <a:cubicBezTo>
                    <a:pt x="10501" y="1200"/>
                    <a:pt x="11547" y="1626"/>
                    <a:pt x="12457" y="3344"/>
                  </a:cubicBezTo>
                  <a:cubicBezTo>
                    <a:pt x="12612" y="3636"/>
                    <a:pt x="13354" y="4432"/>
                    <a:pt x="13636" y="4480"/>
                  </a:cubicBezTo>
                  <a:cubicBezTo>
                    <a:pt x="13682" y="4488"/>
                    <a:pt x="13773" y="4492"/>
                    <a:pt x="13773" y="4492"/>
                  </a:cubicBezTo>
                  <a:cubicBezTo>
                    <a:pt x="14009" y="4492"/>
                    <a:pt x="14238" y="4388"/>
                    <a:pt x="14419" y="4195"/>
                  </a:cubicBezTo>
                  <a:cubicBezTo>
                    <a:pt x="14777" y="3812"/>
                    <a:pt x="15236" y="3600"/>
                    <a:pt x="15709" y="3600"/>
                  </a:cubicBezTo>
                  <a:cubicBezTo>
                    <a:pt x="16792" y="3600"/>
                    <a:pt x="17673" y="4676"/>
                    <a:pt x="17671" y="6013"/>
                  </a:cubicBezTo>
                  <a:lnTo>
                    <a:pt x="17667" y="6101"/>
                  </a:lnTo>
                  <a:cubicBezTo>
                    <a:pt x="17646" y="6669"/>
                    <a:pt x="17953" y="7177"/>
                    <a:pt x="18404" y="7318"/>
                  </a:cubicBezTo>
                  <a:cubicBezTo>
                    <a:pt x="19708" y="7726"/>
                    <a:pt x="20618" y="9158"/>
                    <a:pt x="20618" y="10800"/>
                  </a:cubicBezTo>
                  <a:cubicBezTo>
                    <a:pt x="20618" y="12785"/>
                    <a:pt x="19297" y="14400"/>
                    <a:pt x="17673" y="14400"/>
                  </a:cubicBezTo>
                  <a:moveTo>
                    <a:pt x="18648" y="6156"/>
                  </a:moveTo>
                  <a:cubicBezTo>
                    <a:pt x="18650" y="6104"/>
                    <a:pt x="18655" y="6053"/>
                    <a:pt x="18655" y="6000"/>
                  </a:cubicBezTo>
                  <a:cubicBezTo>
                    <a:pt x="18655" y="4012"/>
                    <a:pt x="17335" y="2400"/>
                    <a:pt x="15709" y="2400"/>
                  </a:cubicBezTo>
                  <a:cubicBezTo>
                    <a:pt x="14967" y="2400"/>
                    <a:pt x="14290" y="2738"/>
                    <a:pt x="13773" y="3292"/>
                  </a:cubicBezTo>
                  <a:cubicBezTo>
                    <a:pt x="12724" y="1314"/>
                    <a:pt x="10909" y="0"/>
                    <a:pt x="8836" y="0"/>
                  </a:cubicBezTo>
                  <a:cubicBezTo>
                    <a:pt x="5880" y="0"/>
                    <a:pt x="3439" y="2665"/>
                    <a:pt x="3017" y="6135"/>
                  </a:cubicBezTo>
                  <a:cubicBezTo>
                    <a:pt x="1288" y="6638"/>
                    <a:pt x="0" y="8532"/>
                    <a:pt x="0" y="10800"/>
                  </a:cubicBezTo>
                  <a:cubicBezTo>
                    <a:pt x="0" y="13451"/>
                    <a:pt x="1758" y="15600"/>
                    <a:pt x="3927" y="15600"/>
                  </a:cubicBezTo>
                  <a:lnTo>
                    <a:pt x="17673" y="15600"/>
                  </a:lnTo>
                  <a:cubicBezTo>
                    <a:pt x="19842" y="15600"/>
                    <a:pt x="21600" y="13451"/>
                    <a:pt x="21600" y="10800"/>
                  </a:cubicBezTo>
                  <a:cubicBezTo>
                    <a:pt x="21600" y="8562"/>
                    <a:pt x="20344" y="6687"/>
                    <a:pt x="18648" y="6156"/>
                  </a:cubicBezTo>
                  <a:moveTo>
                    <a:pt x="15218" y="16800"/>
                  </a:moveTo>
                  <a:cubicBezTo>
                    <a:pt x="15083" y="16800"/>
                    <a:pt x="14960" y="16867"/>
                    <a:pt x="14871" y="16976"/>
                  </a:cubicBezTo>
                  <a:lnTo>
                    <a:pt x="11926" y="20575"/>
                  </a:lnTo>
                  <a:cubicBezTo>
                    <a:pt x="11837" y="20685"/>
                    <a:pt x="11782" y="20835"/>
                    <a:pt x="11782" y="21000"/>
                  </a:cubicBezTo>
                  <a:cubicBezTo>
                    <a:pt x="11782" y="21332"/>
                    <a:pt x="12002" y="21600"/>
                    <a:pt x="12273" y="21600"/>
                  </a:cubicBezTo>
                  <a:cubicBezTo>
                    <a:pt x="12408" y="21600"/>
                    <a:pt x="12531" y="21533"/>
                    <a:pt x="12620" y="21424"/>
                  </a:cubicBezTo>
                  <a:lnTo>
                    <a:pt x="15565" y="17824"/>
                  </a:lnTo>
                  <a:cubicBezTo>
                    <a:pt x="15654" y="17716"/>
                    <a:pt x="15709" y="17566"/>
                    <a:pt x="15709" y="17400"/>
                  </a:cubicBezTo>
                  <a:cubicBezTo>
                    <a:pt x="15709" y="17069"/>
                    <a:pt x="15489" y="16800"/>
                    <a:pt x="15218" y="16800"/>
                  </a:cubicBezTo>
                  <a:moveTo>
                    <a:pt x="12764" y="17400"/>
                  </a:moveTo>
                  <a:cubicBezTo>
                    <a:pt x="12764" y="17069"/>
                    <a:pt x="12544" y="16800"/>
                    <a:pt x="12273" y="16800"/>
                  </a:cubicBezTo>
                  <a:cubicBezTo>
                    <a:pt x="12137" y="16800"/>
                    <a:pt x="12015" y="16867"/>
                    <a:pt x="11925" y="16976"/>
                  </a:cubicBezTo>
                  <a:lnTo>
                    <a:pt x="8981" y="20575"/>
                  </a:lnTo>
                  <a:cubicBezTo>
                    <a:pt x="8891" y="20685"/>
                    <a:pt x="8836" y="20835"/>
                    <a:pt x="8836" y="21000"/>
                  </a:cubicBezTo>
                  <a:cubicBezTo>
                    <a:pt x="8836" y="21332"/>
                    <a:pt x="9056" y="21600"/>
                    <a:pt x="9327" y="21600"/>
                  </a:cubicBezTo>
                  <a:cubicBezTo>
                    <a:pt x="9463" y="21600"/>
                    <a:pt x="9585" y="21533"/>
                    <a:pt x="9674" y="21424"/>
                  </a:cubicBezTo>
                  <a:lnTo>
                    <a:pt x="12620" y="17824"/>
                  </a:lnTo>
                  <a:cubicBezTo>
                    <a:pt x="12709" y="17716"/>
                    <a:pt x="12764" y="17566"/>
                    <a:pt x="12764" y="17400"/>
                  </a:cubicBezTo>
                  <a:moveTo>
                    <a:pt x="6873" y="17400"/>
                  </a:moveTo>
                  <a:cubicBezTo>
                    <a:pt x="6873" y="17069"/>
                    <a:pt x="6653" y="16800"/>
                    <a:pt x="6382" y="16800"/>
                  </a:cubicBezTo>
                  <a:cubicBezTo>
                    <a:pt x="6246" y="16800"/>
                    <a:pt x="6124" y="16867"/>
                    <a:pt x="6034" y="16976"/>
                  </a:cubicBezTo>
                  <a:lnTo>
                    <a:pt x="3090" y="20575"/>
                  </a:lnTo>
                  <a:cubicBezTo>
                    <a:pt x="3000" y="20685"/>
                    <a:pt x="2945" y="20835"/>
                    <a:pt x="2945" y="21000"/>
                  </a:cubicBezTo>
                  <a:cubicBezTo>
                    <a:pt x="2945" y="21332"/>
                    <a:pt x="3166" y="21600"/>
                    <a:pt x="3436" y="21600"/>
                  </a:cubicBezTo>
                  <a:cubicBezTo>
                    <a:pt x="3572" y="21600"/>
                    <a:pt x="3695" y="21533"/>
                    <a:pt x="3783" y="21424"/>
                  </a:cubicBezTo>
                  <a:lnTo>
                    <a:pt x="6729" y="17824"/>
                  </a:lnTo>
                  <a:cubicBezTo>
                    <a:pt x="6818" y="17716"/>
                    <a:pt x="6873" y="17566"/>
                    <a:pt x="6873" y="17400"/>
                  </a:cubicBezTo>
                  <a:moveTo>
                    <a:pt x="9818" y="17400"/>
                  </a:moveTo>
                  <a:cubicBezTo>
                    <a:pt x="9818" y="17069"/>
                    <a:pt x="9598" y="16800"/>
                    <a:pt x="9327" y="16800"/>
                  </a:cubicBezTo>
                  <a:cubicBezTo>
                    <a:pt x="9192" y="16800"/>
                    <a:pt x="9069" y="16867"/>
                    <a:pt x="8980" y="16976"/>
                  </a:cubicBezTo>
                  <a:lnTo>
                    <a:pt x="6035" y="20575"/>
                  </a:lnTo>
                  <a:cubicBezTo>
                    <a:pt x="5946" y="20685"/>
                    <a:pt x="5891" y="20835"/>
                    <a:pt x="5891" y="21000"/>
                  </a:cubicBezTo>
                  <a:cubicBezTo>
                    <a:pt x="5891" y="21332"/>
                    <a:pt x="6111" y="21600"/>
                    <a:pt x="6382" y="21600"/>
                  </a:cubicBezTo>
                  <a:cubicBezTo>
                    <a:pt x="6517" y="21600"/>
                    <a:pt x="6640" y="21533"/>
                    <a:pt x="6729" y="21424"/>
                  </a:cubicBezTo>
                  <a:lnTo>
                    <a:pt x="9674" y="17824"/>
                  </a:lnTo>
                  <a:cubicBezTo>
                    <a:pt x="9763" y="17716"/>
                    <a:pt x="9818" y="17566"/>
                    <a:pt x="9818" y="17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969">
              <a:extLst>
                <a:ext uri="{FF2B5EF4-FFF2-40B4-BE49-F238E27FC236}">
                  <a16:creationId xmlns:a16="http://schemas.microsoft.com/office/drawing/2014/main" id="{035D9418-BC75-4329-8D9D-B93A3F628247}"/>
                </a:ext>
              </a:extLst>
            </p:cNvPr>
            <p:cNvSpPr/>
            <p:nvPr/>
          </p:nvSpPr>
          <p:spPr bwMode="gray">
            <a:xfrm>
              <a:off x="7769819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15120"/>
                  </a:moveTo>
                  <a:cubicBezTo>
                    <a:pt x="17893" y="15120"/>
                    <a:pt x="17673" y="15362"/>
                    <a:pt x="17673" y="15660"/>
                  </a:cubicBezTo>
                  <a:lnTo>
                    <a:pt x="17673" y="17820"/>
                  </a:lnTo>
                  <a:cubicBezTo>
                    <a:pt x="17673" y="18118"/>
                    <a:pt x="17893" y="18360"/>
                    <a:pt x="18164" y="18360"/>
                  </a:cubicBezTo>
                  <a:cubicBezTo>
                    <a:pt x="18434" y="18360"/>
                    <a:pt x="18655" y="18118"/>
                    <a:pt x="18655" y="17820"/>
                  </a:cubicBezTo>
                  <a:lnTo>
                    <a:pt x="18655" y="15660"/>
                  </a:lnTo>
                  <a:cubicBezTo>
                    <a:pt x="18655" y="15362"/>
                    <a:pt x="18434" y="15120"/>
                    <a:pt x="18164" y="15120"/>
                  </a:cubicBezTo>
                  <a:moveTo>
                    <a:pt x="15218" y="15120"/>
                  </a:moveTo>
                  <a:cubicBezTo>
                    <a:pt x="14947" y="15120"/>
                    <a:pt x="14727" y="15362"/>
                    <a:pt x="14727" y="15660"/>
                  </a:cubicBezTo>
                  <a:lnTo>
                    <a:pt x="14727" y="18900"/>
                  </a:lnTo>
                  <a:cubicBezTo>
                    <a:pt x="14727" y="19198"/>
                    <a:pt x="14947" y="19440"/>
                    <a:pt x="15218" y="19440"/>
                  </a:cubicBezTo>
                  <a:cubicBezTo>
                    <a:pt x="15489" y="19440"/>
                    <a:pt x="15709" y="19198"/>
                    <a:pt x="15709" y="18900"/>
                  </a:cubicBezTo>
                  <a:lnTo>
                    <a:pt x="15709" y="15660"/>
                  </a:lnTo>
                  <a:cubicBezTo>
                    <a:pt x="15709" y="15362"/>
                    <a:pt x="15489" y="15120"/>
                    <a:pt x="15218" y="1512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  <a:moveTo>
                    <a:pt x="6382" y="16200"/>
                  </a:moveTo>
                  <a:cubicBezTo>
                    <a:pt x="6111" y="16200"/>
                    <a:pt x="5891" y="16442"/>
                    <a:pt x="5891" y="16740"/>
                  </a:cubicBezTo>
                  <a:lnTo>
                    <a:pt x="5891" y="18900"/>
                  </a:lnTo>
                  <a:cubicBezTo>
                    <a:pt x="5891" y="19198"/>
                    <a:pt x="6111" y="19440"/>
                    <a:pt x="6382" y="19440"/>
                  </a:cubicBezTo>
                  <a:cubicBezTo>
                    <a:pt x="6653" y="19440"/>
                    <a:pt x="6873" y="19198"/>
                    <a:pt x="6873" y="18900"/>
                  </a:cubicBezTo>
                  <a:lnTo>
                    <a:pt x="6873" y="16740"/>
                  </a:lnTo>
                  <a:cubicBezTo>
                    <a:pt x="6873" y="16442"/>
                    <a:pt x="6653" y="16200"/>
                    <a:pt x="6382" y="16200"/>
                  </a:cubicBezTo>
                  <a:moveTo>
                    <a:pt x="3436" y="15120"/>
                  </a:moveTo>
                  <a:cubicBezTo>
                    <a:pt x="3166" y="15120"/>
                    <a:pt x="2945" y="15362"/>
                    <a:pt x="2945" y="15660"/>
                  </a:cubicBezTo>
                  <a:lnTo>
                    <a:pt x="2945" y="18900"/>
                  </a:lnTo>
                  <a:cubicBezTo>
                    <a:pt x="2945" y="19198"/>
                    <a:pt x="3166" y="19440"/>
                    <a:pt x="3436" y="19440"/>
                  </a:cubicBezTo>
                  <a:cubicBezTo>
                    <a:pt x="3707" y="19440"/>
                    <a:pt x="3927" y="19198"/>
                    <a:pt x="3927" y="18900"/>
                  </a:cubicBezTo>
                  <a:lnTo>
                    <a:pt x="3927" y="15660"/>
                  </a:lnTo>
                  <a:cubicBezTo>
                    <a:pt x="3927" y="15362"/>
                    <a:pt x="3707" y="15120"/>
                    <a:pt x="3436" y="15120"/>
                  </a:cubicBezTo>
                  <a:moveTo>
                    <a:pt x="12273" y="16200"/>
                  </a:moveTo>
                  <a:cubicBezTo>
                    <a:pt x="12002" y="16200"/>
                    <a:pt x="11782" y="16442"/>
                    <a:pt x="11782" y="16740"/>
                  </a:cubicBezTo>
                  <a:lnTo>
                    <a:pt x="11782" y="19980"/>
                  </a:lnTo>
                  <a:cubicBezTo>
                    <a:pt x="11782" y="20278"/>
                    <a:pt x="12002" y="20520"/>
                    <a:pt x="12273" y="20520"/>
                  </a:cubicBezTo>
                  <a:cubicBezTo>
                    <a:pt x="12544" y="20520"/>
                    <a:pt x="12764" y="20278"/>
                    <a:pt x="12764" y="19980"/>
                  </a:cubicBezTo>
                  <a:lnTo>
                    <a:pt x="12764" y="16740"/>
                  </a:lnTo>
                  <a:cubicBezTo>
                    <a:pt x="12764" y="16442"/>
                    <a:pt x="12544" y="16200"/>
                    <a:pt x="12273" y="16200"/>
                  </a:cubicBezTo>
                  <a:moveTo>
                    <a:pt x="9327" y="17280"/>
                  </a:moveTo>
                  <a:cubicBezTo>
                    <a:pt x="9056" y="17280"/>
                    <a:pt x="8836" y="17522"/>
                    <a:pt x="8836" y="17820"/>
                  </a:cubicBezTo>
                  <a:lnTo>
                    <a:pt x="8836" y="21060"/>
                  </a:lnTo>
                  <a:cubicBezTo>
                    <a:pt x="8836" y="21358"/>
                    <a:pt x="9056" y="21600"/>
                    <a:pt x="9327" y="21600"/>
                  </a:cubicBezTo>
                  <a:cubicBezTo>
                    <a:pt x="9598" y="21600"/>
                    <a:pt x="9818" y="21358"/>
                    <a:pt x="9818" y="21060"/>
                  </a:cubicBezTo>
                  <a:lnTo>
                    <a:pt x="9818" y="17820"/>
                  </a:lnTo>
                  <a:cubicBezTo>
                    <a:pt x="9818" y="17522"/>
                    <a:pt x="9598" y="17280"/>
                    <a:pt x="9327" y="1728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970">
              <a:extLst>
                <a:ext uri="{FF2B5EF4-FFF2-40B4-BE49-F238E27FC236}">
                  <a16:creationId xmlns:a16="http://schemas.microsoft.com/office/drawing/2014/main" id="{37FC0A87-1C99-4EED-A8C1-B400E7D2394D}"/>
                </a:ext>
              </a:extLst>
            </p:cNvPr>
            <p:cNvSpPr/>
            <p:nvPr/>
          </p:nvSpPr>
          <p:spPr bwMode="gray">
            <a:xfrm>
              <a:off x="8323371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9636"/>
                  </a:moveTo>
                  <a:cubicBezTo>
                    <a:pt x="15167" y="19636"/>
                    <a:pt x="14727" y="20076"/>
                    <a:pt x="14727" y="20618"/>
                  </a:cubicBezTo>
                  <a:cubicBezTo>
                    <a:pt x="14727" y="21160"/>
                    <a:pt x="15167" y="21600"/>
                    <a:pt x="15709" y="21600"/>
                  </a:cubicBezTo>
                  <a:cubicBezTo>
                    <a:pt x="16251" y="21600"/>
                    <a:pt x="16691" y="21160"/>
                    <a:pt x="16691" y="20618"/>
                  </a:cubicBezTo>
                  <a:cubicBezTo>
                    <a:pt x="16691" y="20076"/>
                    <a:pt x="16251" y="19636"/>
                    <a:pt x="15709" y="19636"/>
                  </a:cubicBezTo>
                  <a:moveTo>
                    <a:pt x="18655" y="16691"/>
                  </a:moveTo>
                  <a:cubicBezTo>
                    <a:pt x="18113" y="16691"/>
                    <a:pt x="17673" y="17131"/>
                    <a:pt x="17673" y="17673"/>
                  </a:cubicBezTo>
                  <a:cubicBezTo>
                    <a:pt x="17673" y="18215"/>
                    <a:pt x="18113" y="18655"/>
                    <a:pt x="18655" y="18655"/>
                  </a:cubicBezTo>
                  <a:cubicBezTo>
                    <a:pt x="19196" y="18655"/>
                    <a:pt x="19636" y="18215"/>
                    <a:pt x="19636" y="17673"/>
                  </a:cubicBezTo>
                  <a:cubicBezTo>
                    <a:pt x="19636" y="17131"/>
                    <a:pt x="19196" y="16691"/>
                    <a:pt x="18655" y="16691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6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7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6"/>
                  </a:cubicBezTo>
                  <a:moveTo>
                    <a:pt x="15709" y="15709"/>
                  </a:moveTo>
                  <a:cubicBezTo>
                    <a:pt x="15709" y="15167"/>
                    <a:pt x="15269" y="14727"/>
                    <a:pt x="14727" y="14727"/>
                  </a:cubicBezTo>
                  <a:cubicBezTo>
                    <a:pt x="14186" y="14727"/>
                    <a:pt x="13745" y="15167"/>
                    <a:pt x="13745" y="15709"/>
                  </a:cubicBezTo>
                  <a:cubicBezTo>
                    <a:pt x="13745" y="16252"/>
                    <a:pt x="14186" y="16691"/>
                    <a:pt x="14727" y="16691"/>
                  </a:cubicBezTo>
                  <a:cubicBezTo>
                    <a:pt x="15269" y="16691"/>
                    <a:pt x="15709" y="16252"/>
                    <a:pt x="15709" y="15709"/>
                  </a:cubicBezTo>
                  <a:moveTo>
                    <a:pt x="10800" y="17673"/>
                  </a:moveTo>
                  <a:cubicBezTo>
                    <a:pt x="10258" y="17673"/>
                    <a:pt x="9818" y="18113"/>
                    <a:pt x="9818" y="18655"/>
                  </a:cubicBezTo>
                  <a:cubicBezTo>
                    <a:pt x="9818" y="19196"/>
                    <a:pt x="10258" y="19636"/>
                    <a:pt x="10800" y="19636"/>
                  </a:cubicBezTo>
                  <a:cubicBezTo>
                    <a:pt x="11342" y="19636"/>
                    <a:pt x="11782" y="19196"/>
                    <a:pt x="11782" y="18655"/>
                  </a:cubicBezTo>
                  <a:cubicBezTo>
                    <a:pt x="11782" y="18113"/>
                    <a:pt x="11342" y="17673"/>
                    <a:pt x="10800" y="17673"/>
                  </a:cubicBezTo>
                  <a:moveTo>
                    <a:pt x="2945" y="15709"/>
                  </a:moveTo>
                  <a:cubicBezTo>
                    <a:pt x="2404" y="15709"/>
                    <a:pt x="1964" y="16149"/>
                    <a:pt x="1964" y="16691"/>
                  </a:cubicBezTo>
                  <a:cubicBezTo>
                    <a:pt x="1964" y="17233"/>
                    <a:pt x="2404" y="17673"/>
                    <a:pt x="2945" y="17673"/>
                  </a:cubicBezTo>
                  <a:cubicBezTo>
                    <a:pt x="3487" y="17673"/>
                    <a:pt x="3927" y="17233"/>
                    <a:pt x="3927" y="16691"/>
                  </a:cubicBezTo>
                  <a:cubicBezTo>
                    <a:pt x="3927" y="16149"/>
                    <a:pt x="3487" y="15709"/>
                    <a:pt x="2945" y="15709"/>
                  </a:cubicBezTo>
                  <a:moveTo>
                    <a:pt x="4909" y="18655"/>
                  </a:moveTo>
                  <a:cubicBezTo>
                    <a:pt x="4367" y="18655"/>
                    <a:pt x="3927" y="19095"/>
                    <a:pt x="3927" y="19636"/>
                  </a:cubicBezTo>
                  <a:cubicBezTo>
                    <a:pt x="3927" y="20179"/>
                    <a:pt x="4367" y="20618"/>
                    <a:pt x="4909" y="20618"/>
                  </a:cubicBezTo>
                  <a:cubicBezTo>
                    <a:pt x="5451" y="20618"/>
                    <a:pt x="5891" y="20179"/>
                    <a:pt x="5891" y="19636"/>
                  </a:cubicBezTo>
                  <a:cubicBezTo>
                    <a:pt x="5891" y="19095"/>
                    <a:pt x="5451" y="18655"/>
                    <a:pt x="4909" y="18655"/>
                  </a:cubicBezTo>
                  <a:moveTo>
                    <a:pt x="7855" y="13745"/>
                  </a:moveTo>
                  <a:cubicBezTo>
                    <a:pt x="7313" y="13745"/>
                    <a:pt x="6873" y="14186"/>
                    <a:pt x="6873" y="14727"/>
                  </a:cubicBezTo>
                  <a:cubicBezTo>
                    <a:pt x="6873" y="15270"/>
                    <a:pt x="7313" y="15709"/>
                    <a:pt x="7855" y="15709"/>
                  </a:cubicBezTo>
                  <a:cubicBezTo>
                    <a:pt x="8396" y="15709"/>
                    <a:pt x="8836" y="15270"/>
                    <a:pt x="8836" y="14727"/>
                  </a:cubicBezTo>
                  <a:cubicBezTo>
                    <a:pt x="8836" y="14186"/>
                    <a:pt x="8396" y="13745"/>
                    <a:pt x="7855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971">
              <a:extLst>
                <a:ext uri="{FF2B5EF4-FFF2-40B4-BE49-F238E27FC236}">
                  <a16:creationId xmlns:a16="http://schemas.microsoft.com/office/drawing/2014/main" id="{946498D1-A278-467E-ADCC-A5EB2F5C2B5A}"/>
                </a:ext>
              </a:extLst>
            </p:cNvPr>
            <p:cNvSpPr/>
            <p:nvPr/>
          </p:nvSpPr>
          <p:spPr bwMode="gray">
            <a:xfrm>
              <a:off x="8876922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5709"/>
                  </a:moveTo>
                  <a:cubicBezTo>
                    <a:pt x="16555" y="15709"/>
                    <a:pt x="16433" y="15764"/>
                    <a:pt x="16344" y="15853"/>
                  </a:cubicBezTo>
                  <a:lnTo>
                    <a:pt x="13399" y="18798"/>
                  </a:lnTo>
                  <a:cubicBezTo>
                    <a:pt x="13310" y="18888"/>
                    <a:pt x="13255" y="19010"/>
                    <a:pt x="13255" y="19145"/>
                  </a:cubicBezTo>
                  <a:cubicBezTo>
                    <a:pt x="13255" y="19417"/>
                    <a:pt x="13474" y="19636"/>
                    <a:pt x="13745" y="19636"/>
                  </a:cubicBezTo>
                  <a:cubicBezTo>
                    <a:pt x="13881" y="19636"/>
                    <a:pt x="14003" y="19582"/>
                    <a:pt x="14093" y="19493"/>
                  </a:cubicBezTo>
                  <a:lnTo>
                    <a:pt x="17038" y="16547"/>
                  </a:lnTo>
                  <a:cubicBezTo>
                    <a:pt x="17127" y="16458"/>
                    <a:pt x="17182" y="16336"/>
                    <a:pt x="17182" y="16200"/>
                  </a:cubicBezTo>
                  <a:cubicBezTo>
                    <a:pt x="17182" y="15929"/>
                    <a:pt x="16962" y="15709"/>
                    <a:pt x="16691" y="15709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7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6382" y="15709"/>
                  </a:moveTo>
                  <a:cubicBezTo>
                    <a:pt x="6246" y="15709"/>
                    <a:pt x="6123" y="15764"/>
                    <a:pt x="6035" y="15853"/>
                  </a:cubicBezTo>
                  <a:lnTo>
                    <a:pt x="3090" y="18798"/>
                  </a:lnTo>
                  <a:cubicBezTo>
                    <a:pt x="3001" y="18888"/>
                    <a:pt x="2945" y="19010"/>
                    <a:pt x="2945" y="19145"/>
                  </a:cubicBezTo>
                  <a:cubicBezTo>
                    <a:pt x="2945" y="19417"/>
                    <a:pt x="3165" y="19636"/>
                    <a:pt x="3436" y="19636"/>
                  </a:cubicBezTo>
                  <a:cubicBezTo>
                    <a:pt x="3572" y="19636"/>
                    <a:pt x="3695" y="19582"/>
                    <a:pt x="3783" y="19493"/>
                  </a:cubicBezTo>
                  <a:lnTo>
                    <a:pt x="6729" y="16547"/>
                  </a:lnTo>
                  <a:cubicBezTo>
                    <a:pt x="6818" y="16458"/>
                    <a:pt x="6873" y="16336"/>
                    <a:pt x="6873" y="16200"/>
                  </a:cubicBezTo>
                  <a:cubicBezTo>
                    <a:pt x="6873" y="15929"/>
                    <a:pt x="6653" y="15709"/>
                    <a:pt x="6382" y="15709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10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4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972">
              <a:extLst>
                <a:ext uri="{FF2B5EF4-FFF2-40B4-BE49-F238E27FC236}">
                  <a16:creationId xmlns:a16="http://schemas.microsoft.com/office/drawing/2014/main" id="{03881730-8774-4C79-9CCA-708CD59EB337}"/>
                </a:ext>
              </a:extLst>
            </p:cNvPr>
            <p:cNvSpPr/>
            <p:nvPr/>
          </p:nvSpPr>
          <p:spPr bwMode="gray">
            <a:xfrm>
              <a:off x="9430474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09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3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973">
              <a:extLst>
                <a:ext uri="{FF2B5EF4-FFF2-40B4-BE49-F238E27FC236}">
                  <a16:creationId xmlns:a16="http://schemas.microsoft.com/office/drawing/2014/main" id="{BC6AD4E1-9C8C-4050-8AF3-FB621E1DBA74}"/>
                </a:ext>
              </a:extLst>
            </p:cNvPr>
            <p:cNvSpPr/>
            <p:nvPr/>
          </p:nvSpPr>
          <p:spPr bwMode="gray">
            <a:xfrm>
              <a:off x="9984025" y="3540504"/>
              <a:ext cx="289956" cy="2504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505"/>
                  </a:moveTo>
                  <a:lnTo>
                    <a:pt x="4418" y="12505"/>
                  </a:lnTo>
                  <a:cubicBezTo>
                    <a:pt x="4147" y="12505"/>
                    <a:pt x="3927" y="12759"/>
                    <a:pt x="3927" y="13074"/>
                  </a:cubicBezTo>
                  <a:cubicBezTo>
                    <a:pt x="3927" y="13388"/>
                    <a:pt x="4147" y="13642"/>
                    <a:pt x="4418" y="13642"/>
                  </a:cubicBezTo>
                  <a:lnTo>
                    <a:pt x="11782" y="13642"/>
                  </a:lnTo>
                  <a:cubicBezTo>
                    <a:pt x="13408" y="13642"/>
                    <a:pt x="14727" y="15170"/>
                    <a:pt x="14727" y="17053"/>
                  </a:cubicBezTo>
                  <a:cubicBezTo>
                    <a:pt x="14727" y="18937"/>
                    <a:pt x="13408" y="20463"/>
                    <a:pt x="11782" y="20463"/>
                  </a:cubicBezTo>
                  <a:lnTo>
                    <a:pt x="11291" y="20463"/>
                  </a:lnTo>
                  <a:cubicBezTo>
                    <a:pt x="11020" y="20463"/>
                    <a:pt x="10800" y="20717"/>
                    <a:pt x="10800" y="21032"/>
                  </a:cubicBezTo>
                  <a:cubicBezTo>
                    <a:pt x="10800" y="21346"/>
                    <a:pt x="11020" y="21600"/>
                    <a:pt x="11291" y="21600"/>
                  </a:cubicBezTo>
                  <a:lnTo>
                    <a:pt x="11782" y="21600"/>
                  </a:lnTo>
                  <a:cubicBezTo>
                    <a:pt x="13951" y="21600"/>
                    <a:pt x="15709" y="19564"/>
                    <a:pt x="15709" y="17053"/>
                  </a:cubicBezTo>
                  <a:cubicBezTo>
                    <a:pt x="15709" y="14541"/>
                    <a:pt x="13951" y="12505"/>
                    <a:pt x="11782" y="12505"/>
                  </a:cubicBezTo>
                  <a:moveTo>
                    <a:pt x="18655" y="10232"/>
                  </a:moveTo>
                  <a:lnTo>
                    <a:pt x="2455" y="10232"/>
                  </a:lnTo>
                  <a:cubicBezTo>
                    <a:pt x="2183" y="10232"/>
                    <a:pt x="1964" y="10486"/>
                    <a:pt x="1964" y="10800"/>
                  </a:cubicBezTo>
                  <a:cubicBezTo>
                    <a:pt x="1964" y="11114"/>
                    <a:pt x="2183" y="11368"/>
                    <a:pt x="2455" y="11368"/>
                  </a:cubicBezTo>
                  <a:lnTo>
                    <a:pt x="18655" y="11368"/>
                  </a:lnTo>
                  <a:cubicBezTo>
                    <a:pt x="19739" y="11368"/>
                    <a:pt x="20618" y="12386"/>
                    <a:pt x="20618" y="13642"/>
                  </a:cubicBezTo>
                  <a:cubicBezTo>
                    <a:pt x="20618" y="14898"/>
                    <a:pt x="19739" y="15916"/>
                    <a:pt x="18655" y="15916"/>
                  </a:cubicBezTo>
                  <a:lnTo>
                    <a:pt x="18164" y="15916"/>
                  </a:lnTo>
                  <a:cubicBezTo>
                    <a:pt x="17892" y="15916"/>
                    <a:pt x="17673" y="16170"/>
                    <a:pt x="17673" y="16484"/>
                  </a:cubicBezTo>
                  <a:cubicBezTo>
                    <a:pt x="17673" y="16798"/>
                    <a:pt x="17892" y="17053"/>
                    <a:pt x="18164" y="17053"/>
                  </a:cubicBezTo>
                  <a:lnTo>
                    <a:pt x="18655" y="17053"/>
                  </a:lnTo>
                  <a:cubicBezTo>
                    <a:pt x="20281" y="17053"/>
                    <a:pt x="21600" y="15526"/>
                    <a:pt x="21600" y="13642"/>
                  </a:cubicBezTo>
                  <a:cubicBezTo>
                    <a:pt x="21600" y="11759"/>
                    <a:pt x="20281" y="10232"/>
                    <a:pt x="18655" y="10232"/>
                  </a:cubicBezTo>
                  <a:moveTo>
                    <a:pt x="17673" y="6821"/>
                  </a:moveTo>
                  <a:cubicBezTo>
                    <a:pt x="17673" y="5565"/>
                    <a:pt x="16794" y="4547"/>
                    <a:pt x="15709" y="4547"/>
                  </a:cubicBezTo>
                  <a:lnTo>
                    <a:pt x="15218" y="4547"/>
                  </a:lnTo>
                  <a:cubicBezTo>
                    <a:pt x="14947" y="4547"/>
                    <a:pt x="14727" y="4802"/>
                    <a:pt x="14727" y="5116"/>
                  </a:cubicBezTo>
                  <a:cubicBezTo>
                    <a:pt x="14727" y="5430"/>
                    <a:pt x="14947" y="5684"/>
                    <a:pt x="15218" y="5684"/>
                  </a:cubicBezTo>
                  <a:lnTo>
                    <a:pt x="15709" y="5684"/>
                  </a:lnTo>
                  <a:cubicBezTo>
                    <a:pt x="16251" y="5684"/>
                    <a:pt x="16691" y="6194"/>
                    <a:pt x="16691" y="6821"/>
                  </a:cubicBezTo>
                  <a:cubicBezTo>
                    <a:pt x="16691" y="7448"/>
                    <a:pt x="16251" y="7958"/>
                    <a:pt x="15709" y="7958"/>
                  </a:cubicBezTo>
                  <a:lnTo>
                    <a:pt x="491" y="7958"/>
                  </a:lnTo>
                  <a:cubicBezTo>
                    <a:pt x="220" y="7958"/>
                    <a:pt x="0" y="8212"/>
                    <a:pt x="0" y="8526"/>
                  </a:cubicBezTo>
                  <a:cubicBezTo>
                    <a:pt x="0" y="8841"/>
                    <a:pt x="220" y="9095"/>
                    <a:pt x="491" y="9095"/>
                  </a:cubicBezTo>
                  <a:lnTo>
                    <a:pt x="15709" y="9095"/>
                  </a:lnTo>
                  <a:cubicBezTo>
                    <a:pt x="16794" y="9095"/>
                    <a:pt x="17673" y="8077"/>
                    <a:pt x="17673" y="6821"/>
                  </a:cubicBezTo>
                  <a:moveTo>
                    <a:pt x="2455" y="6821"/>
                  </a:moveTo>
                  <a:lnTo>
                    <a:pt x="9818" y="6821"/>
                  </a:lnTo>
                  <a:cubicBezTo>
                    <a:pt x="11444" y="6821"/>
                    <a:pt x="12764" y="5294"/>
                    <a:pt x="12764" y="3411"/>
                  </a:cubicBezTo>
                  <a:cubicBezTo>
                    <a:pt x="12764" y="1528"/>
                    <a:pt x="11444" y="0"/>
                    <a:pt x="9818" y="0"/>
                  </a:cubicBezTo>
                  <a:lnTo>
                    <a:pt x="9327" y="0"/>
                  </a:lnTo>
                  <a:cubicBezTo>
                    <a:pt x="9056" y="0"/>
                    <a:pt x="8836" y="254"/>
                    <a:pt x="8836" y="568"/>
                  </a:cubicBezTo>
                  <a:cubicBezTo>
                    <a:pt x="8836" y="883"/>
                    <a:pt x="9056" y="1137"/>
                    <a:pt x="9327" y="1137"/>
                  </a:cubicBezTo>
                  <a:lnTo>
                    <a:pt x="9818" y="1137"/>
                  </a:lnTo>
                  <a:cubicBezTo>
                    <a:pt x="10903" y="1137"/>
                    <a:pt x="11782" y="2155"/>
                    <a:pt x="11782" y="3411"/>
                  </a:cubicBezTo>
                  <a:cubicBezTo>
                    <a:pt x="11782" y="4666"/>
                    <a:pt x="10903" y="5684"/>
                    <a:pt x="9818" y="5684"/>
                  </a:cubicBezTo>
                  <a:lnTo>
                    <a:pt x="2455" y="5684"/>
                  </a:lnTo>
                  <a:cubicBezTo>
                    <a:pt x="2183" y="5684"/>
                    <a:pt x="1964" y="5938"/>
                    <a:pt x="1964" y="6253"/>
                  </a:cubicBezTo>
                  <a:cubicBezTo>
                    <a:pt x="1964" y="6567"/>
                    <a:pt x="2183" y="6821"/>
                    <a:pt x="2455" y="682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974">
              <a:extLst>
                <a:ext uri="{FF2B5EF4-FFF2-40B4-BE49-F238E27FC236}">
                  <a16:creationId xmlns:a16="http://schemas.microsoft.com/office/drawing/2014/main" id="{58B28581-F570-4B4F-A205-387D8159FABE}"/>
                </a:ext>
              </a:extLst>
            </p:cNvPr>
            <p:cNvSpPr/>
            <p:nvPr/>
          </p:nvSpPr>
          <p:spPr bwMode="gray">
            <a:xfrm>
              <a:off x="10537577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480" y="13937"/>
                  </a:moveTo>
                  <a:cubicBezTo>
                    <a:pt x="14147" y="14117"/>
                    <a:pt x="13804" y="14208"/>
                    <a:pt x="13451" y="14208"/>
                  </a:cubicBezTo>
                  <a:cubicBezTo>
                    <a:pt x="12999" y="14208"/>
                    <a:pt x="12590" y="14119"/>
                    <a:pt x="12225" y="13943"/>
                  </a:cubicBezTo>
                  <a:cubicBezTo>
                    <a:pt x="11859" y="13768"/>
                    <a:pt x="11545" y="13525"/>
                    <a:pt x="11282" y="13217"/>
                  </a:cubicBezTo>
                  <a:cubicBezTo>
                    <a:pt x="11020" y="12909"/>
                    <a:pt x="10816" y="12544"/>
                    <a:pt x="10672" y="12121"/>
                  </a:cubicBezTo>
                  <a:cubicBezTo>
                    <a:pt x="10529" y="11698"/>
                    <a:pt x="10457" y="11236"/>
                    <a:pt x="10457" y="10734"/>
                  </a:cubicBezTo>
                  <a:cubicBezTo>
                    <a:pt x="10457" y="10268"/>
                    <a:pt x="10529" y="9832"/>
                    <a:pt x="10672" y="9427"/>
                  </a:cubicBezTo>
                  <a:cubicBezTo>
                    <a:pt x="10816" y="9022"/>
                    <a:pt x="11020" y="8668"/>
                    <a:pt x="11282" y="8364"/>
                  </a:cubicBezTo>
                  <a:cubicBezTo>
                    <a:pt x="11545" y="8060"/>
                    <a:pt x="11859" y="7823"/>
                    <a:pt x="12225" y="7651"/>
                  </a:cubicBezTo>
                  <a:cubicBezTo>
                    <a:pt x="12590" y="7479"/>
                    <a:pt x="12999" y="7393"/>
                    <a:pt x="13451" y="7393"/>
                  </a:cubicBezTo>
                  <a:cubicBezTo>
                    <a:pt x="13755" y="7393"/>
                    <a:pt x="14057" y="7456"/>
                    <a:pt x="14357" y="7579"/>
                  </a:cubicBezTo>
                  <a:cubicBezTo>
                    <a:pt x="14656" y="7702"/>
                    <a:pt x="14966" y="7948"/>
                    <a:pt x="15287" y="8318"/>
                  </a:cubicBezTo>
                  <a:lnTo>
                    <a:pt x="16494" y="7367"/>
                  </a:lnTo>
                  <a:cubicBezTo>
                    <a:pt x="16059" y="6830"/>
                    <a:pt x="15589" y="6449"/>
                    <a:pt x="15083" y="6225"/>
                  </a:cubicBezTo>
                  <a:cubicBezTo>
                    <a:pt x="14578" y="6000"/>
                    <a:pt x="14030" y="5888"/>
                    <a:pt x="13439" y="5888"/>
                  </a:cubicBezTo>
                  <a:cubicBezTo>
                    <a:pt x="12765" y="5888"/>
                    <a:pt x="12147" y="6005"/>
                    <a:pt x="11584" y="6238"/>
                  </a:cubicBezTo>
                  <a:cubicBezTo>
                    <a:pt x="11021" y="6471"/>
                    <a:pt x="10537" y="6804"/>
                    <a:pt x="10131" y="7235"/>
                  </a:cubicBezTo>
                  <a:cubicBezTo>
                    <a:pt x="9724" y="7666"/>
                    <a:pt x="9405" y="8188"/>
                    <a:pt x="9176" y="8800"/>
                  </a:cubicBezTo>
                  <a:cubicBezTo>
                    <a:pt x="8946" y="9412"/>
                    <a:pt x="8831" y="10092"/>
                    <a:pt x="8831" y="10840"/>
                  </a:cubicBezTo>
                  <a:cubicBezTo>
                    <a:pt x="8831" y="11571"/>
                    <a:pt x="8946" y="12235"/>
                    <a:pt x="9176" y="12835"/>
                  </a:cubicBezTo>
                  <a:cubicBezTo>
                    <a:pt x="9405" y="13433"/>
                    <a:pt x="9724" y="13946"/>
                    <a:pt x="10131" y="14373"/>
                  </a:cubicBezTo>
                  <a:cubicBezTo>
                    <a:pt x="10537" y="14800"/>
                    <a:pt x="11021" y="15130"/>
                    <a:pt x="11584" y="15363"/>
                  </a:cubicBezTo>
                  <a:cubicBezTo>
                    <a:pt x="12147" y="15597"/>
                    <a:pt x="12765" y="15713"/>
                    <a:pt x="13439" y="15713"/>
                  </a:cubicBezTo>
                  <a:cubicBezTo>
                    <a:pt x="14079" y="15713"/>
                    <a:pt x="14683" y="15581"/>
                    <a:pt x="15250" y="15317"/>
                  </a:cubicBezTo>
                  <a:cubicBezTo>
                    <a:pt x="15816" y="15053"/>
                    <a:pt x="16297" y="14630"/>
                    <a:pt x="16691" y="14049"/>
                  </a:cubicBezTo>
                  <a:lnTo>
                    <a:pt x="15410" y="13072"/>
                  </a:lnTo>
                  <a:cubicBezTo>
                    <a:pt x="15122" y="13468"/>
                    <a:pt x="14813" y="13756"/>
                    <a:pt x="14480" y="13937"/>
                  </a:cubicBezTo>
                  <a:moveTo>
                    <a:pt x="5891" y="6873"/>
                  </a:moveTo>
                  <a:cubicBezTo>
                    <a:pt x="5349" y="6873"/>
                    <a:pt x="4909" y="6433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3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975">
              <a:extLst>
                <a:ext uri="{FF2B5EF4-FFF2-40B4-BE49-F238E27FC236}">
                  <a16:creationId xmlns:a16="http://schemas.microsoft.com/office/drawing/2014/main" id="{2BC585BA-28BF-4505-A964-BB955EFE5B3D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9825" y="15704"/>
                  </a:moveTo>
                  <a:lnTo>
                    <a:pt x="11291" y="15709"/>
                  </a:lnTo>
                  <a:lnTo>
                    <a:pt x="11291" y="11782"/>
                  </a:lnTo>
                  <a:lnTo>
                    <a:pt x="15218" y="11782"/>
                  </a:lnTo>
                  <a:lnTo>
                    <a:pt x="15218" y="10309"/>
                  </a:lnTo>
                  <a:lnTo>
                    <a:pt x="11291" y="10309"/>
                  </a:lnTo>
                  <a:lnTo>
                    <a:pt x="11291" y="7364"/>
                  </a:lnTo>
                  <a:lnTo>
                    <a:pt x="15709" y="7364"/>
                  </a:lnTo>
                  <a:lnTo>
                    <a:pt x="15711" y="5897"/>
                  </a:lnTo>
                  <a:lnTo>
                    <a:pt x="9825" y="5897"/>
                  </a:lnTo>
                  <a:cubicBezTo>
                    <a:pt x="9825" y="5897"/>
                    <a:pt x="9825" y="15704"/>
                    <a:pt x="9825" y="15704"/>
                  </a:cubicBezTo>
                  <a:close/>
                  <a:moveTo>
                    <a:pt x="5891" y="6873"/>
                  </a:moveTo>
                  <a:cubicBezTo>
                    <a:pt x="5349" y="6873"/>
                    <a:pt x="4909" y="6434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4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976">
              <a:extLst>
                <a:ext uri="{FF2B5EF4-FFF2-40B4-BE49-F238E27FC236}">
                  <a16:creationId xmlns:a16="http://schemas.microsoft.com/office/drawing/2014/main" id="{6AEEC4B0-2B0E-4166-AB6B-4A4D1DD7B643}"/>
                </a:ext>
              </a:extLst>
            </p:cNvPr>
            <p:cNvSpPr/>
            <p:nvPr/>
          </p:nvSpPr>
          <p:spPr bwMode="gray">
            <a:xfrm>
              <a:off x="607895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Shape 2977">
              <a:extLst>
                <a:ext uri="{FF2B5EF4-FFF2-40B4-BE49-F238E27FC236}">
                  <a16:creationId xmlns:a16="http://schemas.microsoft.com/office/drawing/2014/main" id="{A200BDDF-8FE4-4B77-A27F-DDEF706C4FAE}"/>
                </a:ext>
              </a:extLst>
            </p:cNvPr>
            <p:cNvSpPr/>
            <p:nvPr/>
          </p:nvSpPr>
          <p:spPr bwMode="gray">
            <a:xfrm>
              <a:off x="116144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86" y="20524"/>
                  </a:moveTo>
                  <a:cubicBezTo>
                    <a:pt x="11664" y="20580"/>
                    <a:pt x="11237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1237" y="982"/>
                    <a:pt x="11665" y="1020"/>
                    <a:pt x="12086" y="1076"/>
                  </a:cubicBezTo>
                  <a:cubicBezTo>
                    <a:pt x="14339" y="3664"/>
                    <a:pt x="15709" y="7100"/>
                    <a:pt x="15709" y="10800"/>
                  </a:cubicBezTo>
                  <a:cubicBezTo>
                    <a:pt x="15709" y="14500"/>
                    <a:pt x="14339" y="17936"/>
                    <a:pt x="12086" y="20524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Shape 2978">
              <a:extLst>
                <a:ext uri="{FF2B5EF4-FFF2-40B4-BE49-F238E27FC236}">
                  <a16:creationId xmlns:a16="http://schemas.microsoft.com/office/drawing/2014/main" id="{DCED46B9-704A-40F8-B2CE-2B2255FDF7F9}"/>
                </a:ext>
              </a:extLst>
            </p:cNvPr>
            <p:cNvSpPr/>
            <p:nvPr/>
          </p:nvSpPr>
          <p:spPr bwMode="gray">
            <a:xfrm>
              <a:off x="1714998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0800" y="982"/>
                    <a:pt x="10800" y="20618"/>
                    <a:pt x="10800" y="20618"/>
                  </a:cubicBezTo>
                  <a:close/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Shape 2979">
              <a:extLst>
                <a:ext uri="{FF2B5EF4-FFF2-40B4-BE49-F238E27FC236}">
                  <a16:creationId xmlns:a16="http://schemas.microsoft.com/office/drawing/2014/main" id="{9950B9A6-BC16-4E72-A515-E23382EE8B40}"/>
                </a:ext>
              </a:extLst>
            </p:cNvPr>
            <p:cNvSpPr/>
            <p:nvPr/>
          </p:nvSpPr>
          <p:spPr bwMode="gray">
            <a:xfrm>
              <a:off x="2268550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570" y="20533"/>
                  </a:moveTo>
                  <a:cubicBezTo>
                    <a:pt x="4730" y="19927"/>
                    <a:pt x="982" y="15805"/>
                    <a:pt x="982" y="10800"/>
                  </a:cubicBezTo>
                  <a:cubicBezTo>
                    <a:pt x="982" y="5795"/>
                    <a:pt x="4730" y="1673"/>
                    <a:pt x="9570" y="1067"/>
                  </a:cubicBezTo>
                  <a:cubicBezTo>
                    <a:pt x="7282" y="3663"/>
                    <a:pt x="5891" y="7068"/>
                    <a:pt x="5891" y="10800"/>
                  </a:cubicBezTo>
                  <a:cubicBezTo>
                    <a:pt x="5891" y="14532"/>
                    <a:pt x="7282" y="17937"/>
                    <a:pt x="9570" y="2053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Shape 2980">
              <a:extLst>
                <a:ext uri="{FF2B5EF4-FFF2-40B4-BE49-F238E27FC236}">
                  <a16:creationId xmlns:a16="http://schemas.microsoft.com/office/drawing/2014/main" id="{9F08661E-2649-43B6-89C9-4D3D522DFCA9}"/>
                </a:ext>
              </a:extLst>
            </p:cNvPr>
            <p:cNvSpPr/>
            <p:nvPr/>
          </p:nvSpPr>
          <p:spPr bwMode="gray">
            <a:xfrm>
              <a:off x="2822101" y="3521164"/>
              <a:ext cx="289956" cy="289956"/>
            </a:xfrm>
            <a:prstGeom prst="ellipse">
              <a:avLst/>
            </a:pr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Shape 2981">
              <a:extLst>
                <a:ext uri="{FF2B5EF4-FFF2-40B4-BE49-F238E27FC236}">
                  <a16:creationId xmlns:a16="http://schemas.microsoft.com/office/drawing/2014/main" id="{589FB6F1-2824-43E7-80EA-52786464FDAF}"/>
                </a:ext>
              </a:extLst>
            </p:cNvPr>
            <p:cNvSpPr/>
            <p:nvPr/>
          </p:nvSpPr>
          <p:spPr bwMode="gray">
            <a:xfrm>
              <a:off x="3375653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30" y="20533"/>
                  </a:moveTo>
                  <a:cubicBezTo>
                    <a:pt x="14318" y="17937"/>
                    <a:pt x="15709" y="14532"/>
                    <a:pt x="15709" y="10800"/>
                  </a:cubicBezTo>
                  <a:cubicBezTo>
                    <a:pt x="15709" y="7068"/>
                    <a:pt x="14318" y="3663"/>
                    <a:pt x="12030" y="1067"/>
                  </a:cubicBezTo>
                  <a:cubicBezTo>
                    <a:pt x="16870" y="1673"/>
                    <a:pt x="20618" y="5795"/>
                    <a:pt x="20618" y="10800"/>
                  </a:cubicBezTo>
                  <a:cubicBezTo>
                    <a:pt x="20618" y="15805"/>
                    <a:pt x="16870" y="19927"/>
                    <a:pt x="12030" y="20533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Shape 2982">
              <a:extLst>
                <a:ext uri="{FF2B5EF4-FFF2-40B4-BE49-F238E27FC236}">
                  <a16:creationId xmlns:a16="http://schemas.microsoft.com/office/drawing/2014/main" id="{A1E45CDE-66B9-4694-B1A8-077815504E66}"/>
                </a:ext>
              </a:extLst>
            </p:cNvPr>
            <p:cNvSpPr/>
            <p:nvPr/>
          </p:nvSpPr>
          <p:spPr bwMode="gray">
            <a:xfrm>
              <a:off x="3929204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lnTo>
                    <a:pt x="10800" y="982"/>
                  </a:ln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Shape 2983">
              <a:extLst>
                <a:ext uri="{FF2B5EF4-FFF2-40B4-BE49-F238E27FC236}">
                  <a16:creationId xmlns:a16="http://schemas.microsoft.com/office/drawing/2014/main" id="{38887806-BF55-4AD0-A1A1-A7DB2937978D}"/>
                </a:ext>
              </a:extLst>
            </p:cNvPr>
            <p:cNvSpPr/>
            <p:nvPr/>
          </p:nvSpPr>
          <p:spPr bwMode="gray">
            <a:xfrm>
              <a:off x="448275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10378" y="20618"/>
                    <a:pt x="9964" y="20583"/>
                    <a:pt x="9556" y="20531"/>
                  </a:cubicBezTo>
                  <a:cubicBezTo>
                    <a:pt x="7276" y="17937"/>
                    <a:pt x="5891" y="14524"/>
                    <a:pt x="5891" y="10800"/>
                  </a:cubicBezTo>
                  <a:cubicBezTo>
                    <a:pt x="5891" y="7076"/>
                    <a:pt x="7276" y="3663"/>
                    <a:pt x="9556" y="1069"/>
                  </a:cubicBezTo>
                  <a:cubicBezTo>
                    <a:pt x="9964" y="1017"/>
                    <a:pt x="10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Shape 2984">
              <a:extLst>
                <a:ext uri="{FF2B5EF4-FFF2-40B4-BE49-F238E27FC236}">
                  <a16:creationId xmlns:a16="http://schemas.microsoft.com/office/drawing/2014/main" id="{A72DB949-CC37-4E01-8D6B-F7AAEFB21836}"/>
                </a:ext>
              </a:extLst>
            </p:cNvPr>
            <p:cNvSpPr/>
            <p:nvPr/>
          </p:nvSpPr>
          <p:spPr bwMode="gray">
            <a:xfrm>
              <a:off x="5115386" y="3521164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6029" y="20618"/>
                    <a:pt x="2160" y="18860"/>
                    <a:pt x="2160" y="16691"/>
                  </a:cubicBezTo>
                  <a:cubicBezTo>
                    <a:pt x="2160" y="15238"/>
                    <a:pt x="3900" y="13973"/>
                    <a:pt x="6480" y="13293"/>
                  </a:cubicBezTo>
                  <a:lnTo>
                    <a:pt x="6480" y="2945"/>
                  </a:lnTo>
                  <a:cubicBezTo>
                    <a:pt x="6480" y="1861"/>
                    <a:pt x="8414" y="982"/>
                    <a:pt x="10800" y="982"/>
                  </a:cubicBezTo>
                  <a:cubicBezTo>
                    <a:pt x="13186" y="982"/>
                    <a:pt x="15120" y="1861"/>
                    <a:pt x="15120" y="2945"/>
                  </a:cubicBezTo>
                  <a:lnTo>
                    <a:pt x="15120" y="13293"/>
                  </a:lnTo>
                  <a:cubicBezTo>
                    <a:pt x="17700" y="13973"/>
                    <a:pt x="19440" y="15238"/>
                    <a:pt x="19440" y="16691"/>
                  </a:cubicBezTo>
                  <a:cubicBezTo>
                    <a:pt x="19440" y="18860"/>
                    <a:pt x="15571" y="20618"/>
                    <a:pt x="10800" y="20618"/>
                  </a:cubicBezTo>
                  <a:moveTo>
                    <a:pt x="17280" y="12770"/>
                  </a:moveTo>
                  <a:lnTo>
                    <a:pt x="17280" y="2945"/>
                  </a:lnTo>
                  <a:cubicBezTo>
                    <a:pt x="17280" y="1318"/>
                    <a:pt x="14378" y="0"/>
                    <a:pt x="10800" y="0"/>
                  </a:cubicBezTo>
                  <a:cubicBezTo>
                    <a:pt x="7221" y="0"/>
                    <a:pt x="4320" y="1318"/>
                    <a:pt x="4320" y="2945"/>
                  </a:cubicBezTo>
                  <a:lnTo>
                    <a:pt x="4320" y="12770"/>
                  </a:lnTo>
                  <a:cubicBezTo>
                    <a:pt x="1701" y="13666"/>
                    <a:pt x="0" y="15087"/>
                    <a:pt x="0" y="16691"/>
                  </a:cubicBezTo>
                  <a:cubicBezTo>
                    <a:pt x="0" y="19402"/>
                    <a:pt x="4835" y="21600"/>
                    <a:pt x="10800" y="21600"/>
                  </a:cubicBezTo>
                  <a:cubicBezTo>
                    <a:pt x="16763" y="21600"/>
                    <a:pt x="21600" y="19402"/>
                    <a:pt x="21600" y="16691"/>
                  </a:cubicBezTo>
                  <a:cubicBezTo>
                    <a:pt x="21600" y="15087"/>
                    <a:pt x="19899" y="13666"/>
                    <a:pt x="17280" y="12770"/>
                  </a:cubicBezTo>
                  <a:moveTo>
                    <a:pt x="12960" y="13917"/>
                  </a:moveTo>
                  <a:lnTo>
                    <a:pt x="12960" y="7855"/>
                  </a:lnTo>
                  <a:cubicBezTo>
                    <a:pt x="12960" y="7313"/>
                    <a:pt x="11992" y="6873"/>
                    <a:pt x="10800" y="6873"/>
                  </a:cubicBezTo>
                  <a:cubicBezTo>
                    <a:pt x="9608" y="6873"/>
                    <a:pt x="8640" y="7313"/>
                    <a:pt x="8640" y="7855"/>
                  </a:cubicBezTo>
                  <a:lnTo>
                    <a:pt x="8640" y="13917"/>
                  </a:lnTo>
                  <a:cubicBezTo>
                    <a:pt x="6126" y="14322"/>
                    <a:pt x="4320" y="15409"/>
                    <a:pt x="4320" y="16691"/>
                  </a:cubicBezTo>
                  <a:cubicBezTo>
                    <a:pt x="4320" y="18318"/>
                    <a:pt x="7221" y="19636"/>
                    <a:pt x="10800" y="19636"/>
                  </a:cubicBezTo>
                  <a:cubicBezTo>
                    <a:pt x="14378" y="19636"/>
                    <a:pt x="17280" y="18318"/>
                    <a:pt x="17280" y="16691"/>
                  </a:cubicBezTo>
                  <a:cubicBezTo>
                    <a:pt x="17280" y="15409"/>
                    <a:pt x="15475" y="14322"/>
                    <a:pt x="12960" y="139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634A9FB-4E5B-45F7-BAD9-090D1325D97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03087331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0428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5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arge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56ABB78-CF66-4BEF-B7F0-8DCFF811A6D4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3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6DC58C24-0B70-4EC9-BD1E-A4B9DB84A264}"/>
              </a:ext>
            </a:extLst>
          </p:cNvPr>
          <p:cNvGrpSpPr/>
          <p:nvPr/>
        </p:nvGrpSpPr>
        <p:grpSpPr bwMode="gray">
          <a:xfrm>
            <a:off x="647434" y="1743382"/>
            <a:ext cx="5759574" cy="296763"/>
            <a:chOff x="647434" y="5025201"/>
            <a:chExt cx="5759574" cy="296763"/>
          </a:xfrm>
        </p:grpSpPr>
        <p:sp>
          <p:nvSpPr>
            <p:cNvPr id="107" name="Shape 2934">
              <a:extLst>
                <a:ext uri="{FF2B5EF4-FFF2-40B4-BE49-F238E27FC236}">
                  <a16:creationId xmlns:a16="http://schemas.microsoft.com/office/drawing/2014/main" id="{6393AC50-1AD6-4E86-A009-0E7B0B6D31FD}"/>
                </a:ext>
              </a:extLst>
            </p:cNvPr>
            <p:cNvSpPr/>
            <p:nvPr/>
          </p:nvSpPr>
          <p:spPr bwMode="gray">
            <a:xfrm>
              <a:off x="647434" y="5032008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800"/>
                  </a:moveTo>
                  <a:cubicBezTo>
                    <a:pt x="8563" y="10800"/>
                    <a:pt x="6750" y="9481"/>
                    <a:pt x="6750" y="7855"/>
                  </a:cubicBezTo>
                  <a:cubicBezTo>
                    <a:pt x="6750" y="6228"/>
                    <a:pt x="8563" y="4909"/>
                    <a:pt x="10800" y="4909"/>
                  </a:cubicBezTo>
                  <a:cubicBezTo>
                    <a:pt x="13037" y="4909"/>
                    <a:pt x="14850" y="6228"/>
                    <a:pt x="14850" y="7855"/>
                  </a:cubicBezTo>
                  <a:cubicBezTo>
                    <a:pt x="14850" y="9481"/>
                    <a:pt x="13037" y="10800"/>
                    <a:pt x="10800" y="10800"/>
                  </a:cubicBezTo>
                  <a:moveTo>
                    <a:pt x="10800" y="3927"/>
                  </a:moveTo>
                  <a:cubicBezTo>
                    <a:pt x="7817" y="3927"/>
                    <a:pt x="5400" y="5686"/>
                    <a:pt x="5400" y="7855"/>
                  </a:cubicBezTo>
                  <a:cubicBezTo>
                    <a:pt x="5400" y="10023"/>
                    <a:pt x="7817" y="11782"/>
                    <a:pt x="10800" y="11782"/>
                  </a:cubicBezTo>
                  <a:cubicBezTo>
                    <a:pt x="13783" y="11782"/>
                    <a:pt x="16200" y="10023"/>
                    <a:pt x="16200" y="7855"/>
                  </a:cubicBezTo>
                  <a:cubicBezTo>
                    <a:pt x="16200" y="5686"/>
                    <a:pt x="13783" y="3927"/>
                    <a:pt x="10800" y="3927"/>
                  </a:cubicBezTo>
                  <a:moveTo>
                    <a:pt x="10800" y="20127"/>
                  </a:moveTo>
                  <a:cubicBezTo>
                    <a:pt x="10800" y="20127"/>
                    <a:pt x="1350" y="13745"/>
                    <a:pt x="1350" y="7855"/>
                  </a:cubicBezTo>
                  <a:cubicBezTo>
                    <a:pt x="1350" y="4059"/>
                    <a:pt x="5581" y="982"/>
                    <a:pt x="10800" y="982"/>
                  </a:cubicBezTo>
                  <a:cubicBezTo>
                    <a:pt x="16019" y="982"/>
                    <a:pt x="20250" y="4059"/>
                    <a:pt x="20250" y="7855"/>
                  </a:cubicBezTo>
                  <a:cubicBezTo>
                    <a:pt x="20250" y="13745"/>
                    <a:pt x="10800" y="20127"/>
                    <a:pt x="10800" y="20127"/>
                  </a:cubicBezTo>
                  <a:moveTo>
                    <a:pt x="10800" y="0"/>
                  </a:moveTo>
                  <a:cubicBezTo>
                    <a:pt x="4836" y="0"/>
                    <a:pt x="0" y="3517"/>
                    <a:pt x="0" y="7855"/>
                  </a:cubicBezTo>
                  <a:cubicBezTo>
                    <a:pt x="0" y="14236"/>
                    <a:pt x="10800" y="21600"/>
                    <a:pt x="10800" y="21600"/>
                  </a:cubicBezTo>
                  <a:cubicBezTo>
                    <a:pt x="10800" y="21600"/>
                    <a:pt x="21600" y="14236"/>
                    <a:pt x="21600" y="7855"/>
                  </a:cubicBezTo>
                  <a:cubicBezTo>
                    <a:pt x="21600" y="3517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935">
              <a:extLst>
                <a:ext uri="{FF2B5EF4-FFF2-40B4-BE49-F238E27FC236}">
                  <a16:creationId xmlns:a16="http://schemas.microsoft.com/office/drawing/2014/main" id="{62440D70-92B0-4006-91E6-4E3BA13CC020}"/>
                </a:ext>
              </a:extLst>
            </p:cNvPr>
            <p:cNvSpPr/>
            <p:nvPr/>
          </p:nvSpPr>
          <p:spPr bwMode="gray">
            <a:xfrm>
              <a:off x="1161447" y="5032008"/>
              <a:ext cx="289746" cy="2897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31" h="21600" extrusionOk="0">
                  <a:moveTo>
                    <a:pt x="6365" y="15409"/>
                  </a:moveTo>
                  <a:cubicBezTo>
                    <a:pt x="5782" y="14888"/>
                    <a:pt x="4858" y="14006"/>
                    <a:pt x="3935" y="12895"/>
                  </a:cubicBezTo>
                  <a:cubicBezTo>
                    <a:pt x="2587" y="11273"/>
                    <a:pt x="979" y="8835"/>
                    <a:pt x="979" y="6430"/>
                  </a:cubicBezTo>
                  <a:cubicBezTo>
                    <a:pt x="979" y="3427"/>
                    <a:pt x="3396" y="982"/>
                    <a:pt x="6366" y="982"/>
                  </a:cubicBezTo>
                  <a:cubicBezTo>
                    <a:pt x="9336" y="982"/>
                    <a:pt x="11752" y="3427"/>
                    <a:pt x="11752" y="6430"/>
                  </a:cubicBezTo>
                  <a:cubicBezTo>
                    <a:pt x="11752" y="10208"/>
                    <a:pt x="7888" y="14044"/>
                    <a:pt x="6365" y="15409"/>
                  </a:cubicBezTo>
                  <a:moveTo>
                    <a:pt x="6366" y="0"/>
                  </a:moveTo>
                  <a:cubicBezTo>
                    <a:pt x="2850" y="0"/>
                    <a:pt x="0" y="2879"/>
                    <a:pt x="0" y="6430"/>
                  </a:cubicBezTo>
                  <a:cubicBezTo>
                    <a:pt x="0" y="11655"/>
                    <a:pt x="6366" y="16701"/>
                    <a:pt x="6366" y="16701"/>
                  </a:cubicBezTo>
                  <a:cubicBezTo>
                    <a:pt x="6366" y="16701"/>
                    <a:pt x="12732" y="11655"/>
                    <a:pt x="12732" y="6430"/>
                  </a:cubicBezTo>
                  <a:cubicBezTo>
                    <a:pt x="12732" y="2879"/>
                    <a:pt x="9882" y="0"/>
                    <a:pt x="6366" y="0"/>
                  </a:cubicBezTo>
                  <a:moveTo>
                    <a:pt x="17357" y="19604"/>
                  </a:moveTo>
                  <a:cubicBezTo>
                    <a:pt x="17127" y="19764"/>
                    <a:pt x="16856" y="19909"/>
                    <a:pt x="16554" y="20033"/>
                  </a:cubicBezTo>
                  <a:cubicBezTo>
                    <a:pt x="16304" y="20137"/>
                    <a:pt x="16185" y="20424"/>
                    <a:pt x="16288" y="20675"/>
                  </a:cubicBezTo>
                  <a:cubicBezTo>
                    <a:pt x="16365" y="20865"/>
                    <a:pt x="16548" y="20979"/>
                    <a:pt x="16740" y="20979"/>
                  </a:cubicBezTo>
                  <a:cubicBezTo>
                    <a:pt x="16802" y="20979"/>
                    <a:pt x="16866" y="20967"/>
                    <a:pt x="16926" y="20942"/>
                  </a:cubicBezTo>
                  <a:cubicBezTo>
                    <a:pt x="17294" y="20790"/>
                    <a:pt x="17627" y="20611"/>
                    <a:pt x="17915" y="20411"/>
                  </a:cubicBezTo>
                  <a:cubicBezTo>
                    <a:pt x="18138" y="20256"/>
                    <a:pt x="18193" y="19950"/>
                    <a:pt x="18039" y="19727"/>
                  </a:cubicBezTo>
                  <a:cubicBezTo>
                    <a:pt x="17885" y="19505"/>
                    <a:pt x="17579" y="19449"/>
                    <a:pt x="17357" y="19604"/>
                  </a:cubicBezTo>
                  <a:moveTo>
                    <a:pt x="16249" y="13042"/>
                  </a:moveTo>
                  <a:cubicBezTo>
                    <a:pt x="16109" y="12790"/>
                    <a:pt x="16024" y="12529"/>
                    <a:pt x="15995" y="12265"/>
                  </a:cubicBezTo>
                  <a:cubicBezTo>
                    <a:pt x="15966" y="11995"/>
                    <a:pt x="15731" y="11801"/>
                    <a:pt x="15456" y="11829"/>
                  </a:cubicBezTo>
                  <a:cubicBezTo>
                    <a:pt x="15187" y="11859"/>
                    <a:pt x="14992" y="12100"/>
                    <a:pt x="15022" y="12370"/>
                  </a:cubicBezTo>
                  <a:cubicBezTo>
                    <a:pt x="15064" y="12767"/>
                    <a:pt x="15190" y="13154"/>
                    <a:pt x="15395" y="13522"/>
                  </a:cubicBezTo>
                  <a:cubicBezTo>
                    <a:pt x="15484" y="13682"/>
                    <a:pt x="15651" y="13773"/>
                    <a:pt x="15822" y="13773"/>
                  </a:cubicBezTo>
                  <a:cubicBezTo>
                    <a:pt x="15904" y="13773"/>
                    <a:pt x="15985" y="13753"/>
                    <a:pt x="16061" y="13710"/>
                  </a:cubicBezTo>
                  <a:cubicBezTo>
                    <a:pt x="16297" y="13578"/>
                    <a:pt x="16382" y="13279"/>
                    <a:pt x="16249" y="13042"/>
                  </a:cubicBezTo>
                  <a:moveTo>
                    <a:pt x="18249" y="15254"/>
                  </a:moveTo>
                  <a:cubicBezTo>
                    <a:pt x="18041" y="14981"/>
                    <a:pt x="17803" y="14708"/>
                    <a:pt x="17538" y="14439"/>
                  </a:cubicBezTo>
                  <a:cubicBezTo>
                    <a:pt x="17349" y="14246"/>
                    <a:pt x="17039" y="14244"/>
                    <a:pt x="16845" y="14434"/>
                  </a:cubicBezTo>
                  <a:cubicBezTo>
                    <a:pt x="16653" y="14624"/>
                    <a:pt x="16651" y="14935"/>
                    <a:pt x="16841" y="15129"/>
                  </a:cubicBezTo>
                  <a:cubicBezTo>
                    <a:pt x="17076" y="15368"/>
                    <a:pt x="17288" y="15612"/>
                    <a:pt x="17471" y="15851"/>
                  </a:cubicBezTo>
                  <a:cubicBezTo>
                    <a:pt x="17568" y="15977"/>
                    <a:pt x="17713" y="16043"/>
                    <a:pt x="17860" y="16043"/>
                  </a:cubicBezTo>
                  <a:cubicBezTo>
                    <a:pt x="17964" y="16043"/>
                    <a:pt x="18068" y="16011"/>
                    <a:pt x="18157" y="15942"/>
                  </a:cubicBezTo>
                  <a:cubicBezTo>
                    <a:pt x="18373" y="15777"/>
                    <a:pt x="18413" y="15469"/>
                    <a:pt x="18249" y="15254"/>
                  </a:cubicBezTo>
                  <a:moveTo>
                    <a:pt x="21476" y="5928"/>
                  </a:moveTo>
                  <a:cubicBezTo>
                    <a:pt x="21352" y="5687"/>
                    <a:pt x="21057" y="5592"/>
                    <a:pt x="20817" y="5717"/>
                  </a:cubicBezTo>
                  <a:cubicBezTo>
                    <a:pt x="20817" y="5717"/>
                    <a:pt x="20650" y="5803"/>
                    <a:pt x="20371" y="5962"/>
                  </a:cubicBezTo>
                  <a:cubicBezTo>
                    <a:pt x="20136" y="6096"/>
                    <a:pt x="20054" y="6396"/>
                    <a:pt x="20188" y="6632"/>
                  </a:cubicBezTo>
                  <a:cubicBezTo>
                    <a:pt x="20278" y="6791"/>
                    <a:pt x="20444" y="6880"/>
                    <a:pt x="20614" y="6880"/>
                  </a:cubicBezTo>
                  <a:cubicBezTo>
                    <a:pt x="20697" y="6880"/>
                    <a:pt x="20780" y="6859"/>
                    <a:pt x="20856" y="6815"/>
                  </a:cubicBezTo>
                  <a:cubicBezTo>
                    <a:pt x="21108" y="6672"/>
                    <a:pt x="21261" y="6592"/>
                    <a:pt x="21265" y="6590"/>
                  </a:cubicBezTo>
                  <a:cubicBezTo>
                    <a:pt x="21506" y="6466"/>
                    <a:pt x="21600" y="6170"/>
                    <a:pt x="21476" y="5928"/>
                  </a:cubicBezTo>
                  <a:moveTo>
                    <a:pt x="18659" y="16886"/>
                  </a:moveTo>
                  <a:cubicBezTo>
                    <a:pt x="18395" y="16941"/>
                    <a:pt x="18225" y="17201"/>
                    <a:pt x="18280" y="17467"/>
                  </a:cubicBezTo>
                  <a:cubicBezTo>
                    <a:pt x="18312" y="17625"/>
                    <a:pt x="18330" y="17781"/>
                    <a:pt x="18330" y="17929"/>
                  </a:cubicBezTo>
                  <a:cubicBezTo>
                    <a:pt x="18330" y="18050"/>
                    <a:pt x="18318" y="18171"/>
                    <a:pt x="18296" y="18287"/>
                  </a:cubicBezTo>
                  <a:cubicBezTo>
                    <a:pt x="18244" y="18554"/>
                    <a:pt x="18418" y="18811"/>
                    <a:pt x="18683" y="18862"/>
                  </a:cubicBezTo>
                  <a:cubicBezTo>
                    <a:pt x="18715" y="18869"/>
                    <a:pt x="18746" y="18871"/>
                    <a:pt x="18777" y="18871"/>
                  </a:cubicBezTo>
                  <a:cubicBezTo>
                    <a:pt x="19007" y="18871"/>
                    <a:pt x="19212" y="18708"/>
                    <a:pt x="19257" y="18473"/>
                  </a:cubicBezTo>
                  <a:cubicBezTo>
                    <a:pt x="19292" y="18296"/>
                    <a:pt x="19309" y="18114"/>
                    <a:pt x="19309" y="17929"/>
                  </a:cubicBezTo>
                  <a:cubicBezTo>
                    <a:pt x="19309" y="17715"/>
                    <a:pt x="19285" y="17492"/>
                    <a:pt x="19239" y="17267"/>
                  </a:cubicBezTo>
                  <a:cubicBezTo>
                    <a:pt x="19183" y="17001"/>
                    <a:pt x="18923" y="16832"/>
                    <a:pt x="18659" y="16886"/>
                  </a:cubicBezTo>
                  <a:moveTo>
                    <a:pt x="18590" y="7106"/>
                  </a:moveTo>
                  <a:cubicBezTo>
                    <a:pt x="18317" y="7303"/>
                    <a:pt x="18035" y="7518"/>
                    <a:pt x="17756" y="7745"/>
                  </a:cubicBezTo>
                  <a:cubicBezTo>
                    <a:pt x="17546" y="7917"/>
                    <a:pt x="17515" y="8226"/>
                    <a:pt x="17686" y="8436"/>
                  </a:cubicBezTo>
                  <a:cubicBezTo>
                    <a:pt x="17783" y="8556"/>
                    <a:pt x="17924" y="8617"/>
                    <a:pt x="18066" y="8617"/>
                  </a:cubicBezTo>
                  <a:cubicBezTo>
                    <a:pt x="18174" y="8617"/>
                    <a:pt x="18284" y="8581"/>
                    <a:pt x="18374" y="8507"/>
                  </a:cubicBezTo>
                  <a:cubicBezTo>
                    <a:pt x="18637" y="8292"/>
                    <a:pt x="18903" y="8090"/>
                    <a:pt x="19161" y="7905"/>
                  </a:cubicBezTo>
                  <a:cubicBezTo>
                    <a:pt x="19380" y="7747"/>
                    <a:pt x="19431" y="7440"/>
                    <a:pt x="19273" y="7220"/>
                  </a:cubicBezTo>
                  <a:cubicBezTo>
                    <a:pt x="19116" y="6999"/>
                    <a:pt x="18810" y="6949"/>
                    <a:pt x="18590" y="7106"/>
                  </a:cubicBezTo>
                  <a:moveTo>
                    <a:pt x="14704" y="20512"/>
                  </a:moveTo>
                  <a:cubicBezTo>
                    <a:pt x="14393" y="20556"/>
                    <a:pt x="14065" y="20590"/>
                    <a:pt x="13729" y="20611"/>
                  </a:cubicBezTo>
                  <a:cubicBezTo>
                    <a:pt x="13459" y="20629"/>
                    <a:pt x="13254" y="20863"/>
                    <a:pt x="13272" y="21134"/>
                  </a:cubicBezTo>
                  <a:cubicBezTo>
                    <a:pt x="13289" y="21394"/>
                    <a:pt x="13504" y="21593"/>
                    <a:pt x="13760" y="21593"/>
                  </a:cubicBezTo>
                  <a:cubicBezTo>
                    <a:pt x="13771" y="21593"/>
                    <a:pt x="13781" y="21592"/>
                    <a:pt x="13792" y="21592"/>
                  </a:cubicBezTo>
                  <a:cubicBezTo>
                    <a:pt x="14152" y="21568"/>
                    <a:pt x="14506" y="21533"/>
                    <a:pt x="14842" y="21485"/>
                  </a:cubicBezTo>
                  <a:cubicBezTo>
                    <a:pt x="15110" y="21447"/>
                    <a:pt x="15296" y="21198"/>
                    <a:pt x="15258" y="20929"/>
                  </a:cubicBezTo>
                  <a:cubicBezTo>
                    <a:pt x="15220" y="20661"/>
                    <a:pt x="14973" y="20472"/>
                    <a:pt x="14704" y="20512"/>
                  </a:cubicBezTo>
                  <a:moveTo>
                    <a:pt x="8893" y="20109"/>
                  </a:moveTo>
                  <a:cubicBezTo>
                    <a:pt x="8582" y="19997"/>
                    <a:pt x="8299" y="19866"/>
                    <a:pt x="8052" y="19721"/>
                  </a:cubicBezTo>
                  <a:cubicBezTo>
                    <a:pt x="7818" y="19582"/>
                    <a:pt x="7519" y="19663"/>
                    <a:pt x="7382" y="19896"/>
                  </a:cubicBezTo>
                  <a:cubicBezTo>
                    <a:pt x="7244" y="20130"/>
                    <a:pt x="7323" y="20432"/>
                    <a:pt x="7556" y="20568"/>
                  </a:cubicBezTo>
                  <a:cubicBezTo>
                    <a:pt x="7856" y="20744"/>
                    <a:pt x="8194" y="20901"/>
                    <a:pt x="8562" y="21034"/>
                  </a:cubicBezTo>
                  <a:cubicBezTo>
                    <a:pt x="8617" y="21053"/>
                    <a:pt x="8672" y="21062"/>
                    <a:pt x="8728" y="21062"/>
                  </a:cubicBezTo>
                  <a:cubicBezTo>
                    <a:pt x="8928" y="21062"/>
                    <a:pt x="9117" y="20938"/>
                    <a:pt x="9189" y="20737"/>
                  </a:cubicBezTo>
                  <a:cubicBezTo>
                    <a:pt x="9280" y="20482"/>
                    <a:pt x="9148" y="20200"/>
                    <a:pt x="8893" y="20109"/>
                  </a:cubicBezTo>
                  <a:moveTo>
                    <a:pt x="11751" y="20618"/>
                  </a:moveTo>
                  <a:cubicBezTo>
                    <a:pt x="11412" y="20600"/>
                    <a:pt x="11082" y="20572"/>
                    <a:pt x="10771" y="20533"/>
                  </a:cubicBezTo>
                  <a:cubicBezTo>
                    <a:pt x="10502" y="20493"/>
                    <a:pt x="10258" y="20690"/>
                    <a:pt x="10225" y="20959"/>
                  </a:cubicBezTo>
                  <a:cubicBezTo>
                    <a:pt x="10191" y="21229"/>
                    <a:pt x="10382" y="21474"/>
                    <a:pt x="10650" y="21507"/>
                  </a:cubicBezTo>
                  <a:cubicBezTo>
                    <a:pt x="10984" y="21549"/>
                    <a:pt x="11337" y="21580"/>
                    <a:pt x="11699" y="21600"/>
                  </a:cubicBezTo>
                  <a:cubicBezTo>
                    <a:pt x="11708" y="21600"/>
                    <a:pt x="11716" y="21600"/>
                    <a:pt x="11725" y="21600"/>
                  </a:cubicBezTo>
                  <a:cubicBezTo>
                    <a:pt x="11984" y="21600"/>
                    <a:pt x="12200" y="21397"/>
                    <a:pt x="12214" y="21135"/>
                  </a:cubicBezTo>
                  <a:cubicBezTo>
                    <a:pt x="12228" y="20863"/>
                    <a:pt x="12021" y="20632"/>
                    <a:pt x="11751" y="20618"/>
                  </a:cubicBezTo>
                  <a:moveTo>
                    <a:pt x="6840" y="18180"/>
                  </a:moveTo>
                  <a:cubicBezTo>
                    <a:pt x="6836" y="17912"/>
                    <a:pt x="6619" y="17696"/>
                    <a:pt x="6351" y="17696"/>
                  </a:cubicBezTo>
                  <a:cubicBezTo>
                    <a:pt x="6080" y="17696"/>
                    <a:pt x="5861" y="17916"/>
                    <a:pt x="5861" y="18188"/>
                  </a:cubicBezTo>
                  <a:cubicBezTo>
                    <a:pt x="5861" y="18234"/>
                    <a:pt x="5867" y="18484"/>
                    <a:pt x="5997" y="18834"/>
                  </a:cubicBezTo>
                  <a:cubicBezTo>
                    <a:pt x="6070" y="19033"/>
                    <a:pt x="6257" y="19155"/>
                    <a:pt x="6456" y="19155"/>
                  </a:cubicBezTo>
                  <a:cubicBezTo>
                    <a:pt x="6512" y="19155"/>
                    <a:pt x="6570" y="19145"/>
                    <a:pt x="6626" y="19124"/>
                  </a:cubicBezTo>
                  <a:cubicBezTo>
                    <a:pt x="6880" y="19030"/>
                    <a:pt x="7009" y="18748"/>
                    <a:pt x="6915" y="18493"/>
                  </a:cubicBezTo>
                  <a:cubicBezTo>
                    <a:pt x="6849" y="18314"/>
                    <a:pt x="6841" y="18191"/>
                    <a:pt x="6840" y="18180"/>
                  </a:cubicBezTo>
                  <a:moveTo>
                    <a:pt x="15760" y="10798"/>
                  </a:moveTo>
                  <a:cubicBezTo>
                    <a:pt x="15838" y="10844"/>
                    <a:pt x="15924" y="10866"/>
                    <a:pt x="16008" y="10866"/>
                  </a:cubicBezTo>
                  <a:cubicBezTo>
                    <a:pt x="16176" y="10866"/>
                    <a:pt x="16339" y="10780"/>
                    <a:pt x="16431" y="10625"/>
                  </a:cubicBezTo>
                  <a:cubicBezTo>
                    <a:pt x="16577" y="10376"/>
                    <a:pt x="16761" y="10120"/>
                    <a:pt x="16977" y="9861"/>
                  </a:cubicBezTo>
                  <a:cubicBezTo>
                    <a:pt x="17151" y="9653"/>
                    <a:pt x="17124" y="9343"/>
                    <a:pt x="16917" y="9169"/>
                  </a:cubicBezTo>
                  <a:cubicBezTo>
                    <a:pt x="16709" y="8994"/>
                    <a:pt x="16400" y="9022"/>
                    <a:pt x="16227" y="9230"/>
                  </a:cubicBezTo>
                  <a:cubicBezTo>
                    <a:pt x="15976" y="9529"/>
                    <a:pt x="15761" y="9832"/>
                    <a:pt x="15587" y="10125"/>
                  </a:cubicBezTo>
                  <a:cubicBezTo>
                    <a:pt x="15450" y="10359"/>
                    <a:pt x="15527" y="10659"/>
                    <a:pt x="15760" y="10798"/>
                  </a:cubicBezTo>
                  <a:moveTo>
                    <a:pt x="6366" y="8841"/>
                  </a:moveTo>
                  <a:cubicBezTo>
                    <a:pt x="5014" y="8841"/>
                    <a:pt x="3917" y="7741"/>
                    <a:pt x="3917" y="6384"/>
                  </a:cubicBezTo>
                  <a:cubicBezTo>
                    <a:pt x="3917" y="5027"/>
                    <a:pt x="5014" y="3927"/>
                    <a:pt x="6366" y="3927"/>
                  </a:cubicBezTo>
                  <a:cubicBezTo>
                    <a:pt x="7719" y="3927"/>
                    <a:pt x="8814" y="5027"/>
                    <a:pt x="8814" y="6384"/>
                  </a:cubicBezTo>
                  <a:cubicBezTo>
                    <a:pt x="8814" y="7741"/>
                    <a:pt x="7719" y="8841"/>
                    <a:pt x="6366" y="8841"/>
                  </a:cubicBezTo>
                  <a:moveTo>
                    <a:pt x="6366" y="2955"/>
                  </a:moveTo>
                  <a:cubicBezTo>
                    <a:pt x="4473" y="2955"/>
                    <a:pt x="2938" y="4494"/>
                    <a:pt x="2938" y="6392"/>
                  </a:cubicBezTo>
                  <a:cubicBezTo>
                    <a:pt x="2938" y="8291"/>
                    <a:pt x="4473" y="9831"/>
                    <a:pt x="6366" y="9831"/>
                  </a:cubicBezTo>
                  <a:cubicBezTo>
                    <a:pt x="8259" y="9831"/>
                    <a:pt x="9794" y="8291"/>
                    <a:pt x="9794" y="6392"/>
                  </a:cubicBezTo>
                  <a:cubicBezTo>
                    <a:pt x="9794" y="4494"/>
                    <a:pt x="8259" y="2955"/>
                    <a:pt x="6366" y="29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936">
              <a:extLst>
                <a:ext uri="{FF2B5EF4-FFF2-40B4-BE49-F238E27FC236}">
                  <a16:creationId xmlns:a16="http://schemas.microsoft.com/office/drawing/2014/main" id="{C07058E6-D4F3-4693-855A-AC3B3DF26F55}"/>
                </a:ext>
              </a:extLst>
            </p:cNvPr>
            <p:cNvSpPr/>
            <p:nvPr/>
          </p:nvSpPr>
          <p:spPr bwMode="gray">
            <a:xfrm>
              <a:off x="1794077" y="5032008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64"/>
                  </a:moveTo>
                  <a:cubicBezTo>
                    <a:pt x="10800" y="1964"/>
                    <a:pt x="4320" y="1964"/>
                    <a:pt x="4320" y="4909"/>
                  </a:cubicBezTo>
                  <a:cubicBezTo>
                    <a:pt x="4320" y="5180"/>
                    <a:pt x="4804" y="5400"/>
                    <a:pt x="5400" y="5400"/>
                  </a:cubicBezTo>
                  <a:cubicBezTo>
                    <a:pt x="5996" y="5400"/>
                    <a:pt x="6480" y="5180"/>
                    <a:pt x="6480" y="4909"/>
                  </a:cubicBezTo>
                  <a:cubicBezTo>
                    <a:pt x="6480" y="2945"/>
                    <a:pt x="10800" y="2945"/>
                    <a:pt x="10800" y="2945"/>
                  </a:cubicBezTo>
                  <a:cubicBezTo>
                    <a:pt x="11396" y="2945"/>
                    <a:pt x="11880" y="2726"/>
                    <a:pt x="11880" y="2455"/>
                  </a:cubicBezTo>
                  <a:cubicBezTo>
                    <a:pt x="11880" y="2183"/>
                    <a:pt x="11396" y="1964"/>
                    <a:pt x="10800" y="1964"/>
                  </a:cubicBezTo>
                  <a:moveTo>
                    <a:pt x="10800" y="8836"/>
                  </a:moveTo>
                  <a:cubicBezTo>
                    <a:pt x="6029" y="8836"/>
                    <a:pt x="2160" y="7078"/>
                    <a:pt x="2160" y="4909"/>
                  </a:cubicBezTo>
                  <a:cubicBezTo>
                    <a:pt x="2160" y="2740"/>
                    <a:pt x="6029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7078"/>
                    <a:pt x="15571" y="8836"/>
                    <a:pt x="10800" y="8836"/>
                  </a:cubicBezTo>
                  <a:moveTo>
                    <a:pt x="10800" y="17182"/>
                  </a:moveTo>
                  <a:lnTo>
                    <a:pt x="8154" y="9664"/>
                  </a:lnTo>
                  <a:cubicBezTo>
                    <a:pt x="9002" y="9761"/>
                    <a:pt x="9885" y="9818"/>
                    <a:pt x="10800" y="9818"/>
                  </a:cubicBezTo>
                  <a:cubicBezTo>
                    <a:pt x="11715" y="9818"/>
                    <a:pt x="12598" y="9761"/>
                    <a:pt x="13446" y="9664"/>
                  </a:cubicBezTo>
                  <a:cubicBezTo>
                    <a:pt x="13446" y="9664"/>
                    <a:pt x="10800" y="17182"/>
                    <a:pt x="10800" y="17182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9"/>
                    <a:pt x="0" y="4909"/>
                  </a:cubicBezTo>
                  <a:cubicBezTo>
                    <a:pt x="0" y="6830"/>
                    <a:pt x="2431" y="8487"/>
                    <a:pt x="5966" y="9295"/>
                  </a:cubicBezTo>
                  <a:lnTo>
                    <a:pt x="10800" y="21600"/>
                  </a:lnTo>
                  <a:lnTo>
                    <a:pt x="15635" y="9295"/>
                  </a:lnTo>
                  <a:cubicBezTo>
                    <a:pt x="19169" y="8487"/>
                    <a:pt x="21600" y="6830"/>
                    <a:pt x="21600" y="4909"/>
                  </a:cubicBezTo>
                  <a:cubicBezTo>
                    <a:pt x="21600" y="2199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937">
              <a:extLst>
                <a:ext uri="{FF2B5EF4-FFF2-40B4-BE49-F238E27FC236}">
                  <a16:creationId xmlns:a16="http://schemas.microsoft.com/office/drawing/2014/main" id="{C693BFDD-9BFB-48D1-A46F-9E9BD7E200A6}"/>
                </a:ext>
              </a:extLst>
            </p:cNvPr>
            <p:cNvSpPr/>
            <p:nvPr/>
          </p:nvSpPr>
          <p:spPr bwMode="gray">
            <a:xfrm>
              <a:off x="2268550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9145"/>
                  </a:lnTo>
                  <a:cubicBezTo>
                    <a:pt x="11291" y="18875"/>
                    <a:pt x="11071" y="18655"/>
                    <a:pt x="10800" y="18655"/>
                  </a:cubicBezTo>
                  <a:cubicBezTo>
                    <a:pt x="10529" y="18655"/>
                    <a:pt x="10309" y="18875"/>
                    <a:pt x="10309" y="19145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2455" y="11291"/>
                  </a:lnTo>
                  <a:cubicBezTo>
                    <a:pt x="2725" y="11291"/>
                    <a:pt x="2945" y="11071"/>
                    <a:pt x="2945" y="10800"/>
                  </a:cubicBezTo>
                  <a:cubicBezTo>
                    <a:pt x="2945" y="10529"/>
                    <a:pt x="2725" y="10309"/>
                    <a:pt x="2455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2455"/>
                  </a:lnTo>
                  <a:cubicBezTo>
                    <a:pt x="10309" y="2726"/>
                    <a:pt x="10529" y="2945"/>
                    <a:pt x="10800" y="2945"/>
                  </a:cubicBezTo>
                  <a:cubicBezTo>
                    <a:pt x="11071" y="2945"/>
                    <a:pt x="11291" y="2726"/>
                    <a:pt x="11291" y="2455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9145" y="10309"/>
                  </a:lnTo>
                  <a:cubicBezTo>
                    <a:pt x="18875" y="10309"/>
                    <a:pt x="18655" y="10529"/>
                    <a:pt x="18655" y="10800"/>
                  </a:cubicBezTo>
                  <a:cubicBezTo>
                    <a:pt x="18655" y="11071"/>
                    <a:pt x="18875" y="11291"/>
                    <a:pt x="19145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4965" y="6634"/>
                  </a:moveTo>
                  <a:lnTo>
                    <a:pt x="12189" y="12188"/>
                  </a:lnTo>
                  <a:lnTo>
                    <a:pt x="6635" y="14966"/>
                  </a:lnTo>
                  <a:lnTo>
                    <a:pt x="9411" y="9412"/>
                  </a:lnTo>
                  <a:cubicBezTo>
                    <a:pt x="9411" y="9412"/>
                    <a:pt x="14965" y="6634"/>
                    <a:pt x="14965" y="6634"/>
                  </a:cubicBezTo>
                  <a:close/>
                  <a:moveTo>
                    <a:pt x="4552" y="17048"/>
                  </a:moveTo>
                  <a:lnTo>
                    <a:pt x="12883" y="12883"/>
                  </a:lnTo>
                  <a:lnTo>
                    <a:pt x="17048" y="4551"/>
                  </a:lnTo>
                  <a:lnTo>
                    <a:pt x="8717" y="8717"/>
                  </a:lnTo>
                  <a:cubicBezTo>
                    <a:pt x="8717" y="8717"/>
                    <a:pt x="4552" y="17048"/>
                    <a:pt x="4552" y="17048"/>
                  </a:cubicBezTo>
                  <a:close/>
                  <a:moveTo>
                    <a:pt x="11494" y="11494"/>
                  </a:moveTo>
                  <a:cubicBezTo>
                    <a:pt x="11877" y="11111"/>
                    <a:pt x="11877" y="10489"/>
                    <a:pt x="11494" y="10106"/>
                  </a:cubicBezTo>
                  <a:cubicBezTo>
                    <a:pt x="11111" y="9722"/>
                    <a:pt x="10489" y="9722"/>
                    <a:pt x="10106" y="10106"/>
                  </a:cubicBezTo>
                  <a:cubicBezTo>
                    <a:pt x="9723" y="10489"/>
                    <a:pt x="9723" y="11111"/>
                    <a:pt x="10106" y="11494"/>
                  </a:cubicBezTo>
                  <a:cubicBezTo>
                    <a:pt x="10489" y="11878"/>
                    <a:pt x="11111" y="11878"/>
                    <a:pt x="11494" y="114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938">
              <a:extLst>
                <a:ext uri="{FF2B5EF4-FFF2-40B4-BE49-F238E27FC236}">
                  <a16:creationId xmlns:a16="http://schemas.microsoft.com/office/drawing/2014/main" id="{437A9C9B-EAA7-44CC-ADB1-C42ECCBD9065}"/>
                </a:ext>
              </a:extLst>
            </p:cNvPr>
            <p:cNvSpPr/>
            <p:nvPr/>
          </p:nvSpPr>
          <p:spPr bwMode="gray">
            <a:xfrm>
              <a:off x="2822101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458"/>
                  </a:moveTo>
                  <a:lnTo>
                    <a:pt x="14727" y="18775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2" y="1990"/>
                  </a:moveTo>
                  <a:lnTo>
                    <a:pt x="21244" y="1983"/>
                  </a:lnTo>
                  <a:lnTo>
                    <a:pt x="14371" y="19"/>
                  </a:lnTo>
                  <a:lnTo>
                    <a:pt x="14369" y="27"/>
                  </a:lnTo>
                  <a:cubicBezTo>
                    <a:pt x="14326" y="14"/>
                    <a:pt x="14284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1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8" y="19610"/>
                  </a:cubicBezTo>
                  <a:lnTo>
                    <a:pt x="356" y="19618"/>
                  </a:lnTo>
                  <a:lnTo>
                    <a:pt x="7229" y="21581"/>
                  </a:lnTo>
                  <a:lnTo>
                    <a:pt x="7231" y="21573"/>
                  </a:lnTo>
                  <a:cubicBezTo>
                    <a:pt x="7274" y="21586"/>
                    <a:pt x="7316" y="21600"/>
                    <a:pt x="7364" y="21600"/>
                  </a:cubicBezTo>
                  <a:cubicBezTo>
                    <a:pt x="7411" y="21600"/>
                    <a:pt x="7454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2" y="199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939">
              <a:extLst>
                <a:ext uri="{FF2B5EF4-FFF2-40B4-BE49-F238E27FC236}">
                  <a16:creationId xmlns:a16="http://schemas.microsoft.com/office/drawing/2014/main" id="{677BF2B6-4F10-4733-89A0-B597090F53E0}"/>
                </a:ext>
              </a:extLst>
            </p:cNvPr>
            <p:cNvSpPr/>
            <p:nvPr/>
          </p:nvSpPr>
          <p:spPr bwMode="gray">
            <a:xfrm>
              <a:off x="3375653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47" y="12509"/>
                  </a:moveTo>
                  <a:lnTo>
                    <a:pt x="18520" y="12645"/>
                  </a:lnTo>
                  <a:cubicBezTo>
                    <a:pt x="18572" y="12276"/>
                    <a:pt x="18589" y="11922"/>
                    <a:pt x="18572" y="11593"/>
                  </a:cubicBezTo>
                  <a:lnTo>
                    <a:pt x="17592" y="11644"/>
                  </a:lnTo>
                  <a:cubicBezTo>
                    <a:pt x="17606" y="11910"/>
                    <a:pt x="17591" y="12201"/>
                    <a:pt x="17547" y="12509"/>
                  </a:cubicBezTo>
                  <a:moveTo>
                    <a:pt x="17444" y="10833"/>
                  </a:moveTo>
                  <a:lnTo>
                    <a:pt x="18374" y="10520"/>
                  </a:lnTo>
                  <a:cubicBezTo>
                    <a:pt x="18262" y="10187"/>
                    <a:pt x="18104" y="9869"/>
                    <a:pt x="17890" y="9546"/>
                  </a:cubicBezTo>
                  <a:lnTo>
                    <a:pt x="17072" y="10089"/>
                  </a:lnTo>
                  <a:cubicBezTo>
                    <a:pt x="17237" y="10339"/>
                    <a:pt x="17359" y="10582"/>
                    <a:pt x="17444" y="10833"/>
                  </a:cubicBezTo>
                  <a:moveTo>
                    <a:pt x="17529" y="13890"/>
                  </a:moveTo>
                  <a:cubicBezTo>
                    <a:pt x="17440" y="13801"/>
                    <a:pt x="17317" y="13745"/>
                    <a:pt x="17182" y="13745"/>
                  </a:cubicBezTo>
                  <a:cubicBezTo>
                    <a:pt x="16910" y="13745"/>
                    <a:pt x="16691" y="13965"/>
                    <a:pt x="16691" y="14236"/>
                  </a:cubicBezTo>
                  <a:cubicBezTo>
                    <a:pt x="16691" y="14372"/>
                    <a:pt x="16746" y="14495"/>
                    <a:pt x="16835" y="14583"/>
                  </a:cubicBezTo>
                  <a:lnTo>
                    <a:pt x="17469" y="15218"/>
                  </a:lnTo>
                  <a:lnTo>
                    <a:pt x="16835" y="15853"/>
                  </a:lnTo>
                  <a:cubicBezTo>
                    <a:pt x="16746" y="15942"/>
                    <a:pt x="16691" y="16064"/>
                    <a:pt x="16691" y="16200"/>
                  </a:cubicBezTo>
                  <a:cubicBezTo>
                    <a:pt x="16691" y="16471"/>
                    <a:pt x="16910" y="16691"/>
                    <a:pt x="17182" y="16691"/>
                  </a:cubicBezTo>
                  <a:cubicBezTo>
                    <a:pt x="17317" y="16691"/>
                    <a:pt x="17440" y="16636"/>
                    <a:pt x="17529" y="16547"/>
                  </a:cubicBezTo>
                  <a:lnTo>
                    <a:pt x="18164" y="15912"/>
                  </a:lnTo>
                  <a:lnTo>
                    <a:pt x="18798" y="16547"/>
                  </a:lnTo>
                  <a:cubicBezTo>
                    <a:pt x="18887" y="16636"/>
                    <a:pt x="19010" y="16691"/>
                    <a:pt x="19145" y="16691"/>
                  </a:cubicBezTo>
                  <a:cubicBezTo>
                    <a:pt x="19417" y="16691"/>
                    <a:pt x="19636" y="16471"/>
                    <a:pt x="19636" y="16200"/>
                  </a:cubicBezTo>
                  <a:cubicBezTo>
                    <a:pt x="19636" y="16064"/>
                    <a:pt x="19582" y="15942"/>
                    <a:pt x="19493" y="15853"/>
                  </a:cubicBezTo>
                  <a:lnTo>
                    <a:pt x="18858" y="15218"/>
                  </a:lnTo>
                  <a:lnTo>
                    <a:pt x="19493" y="14583"/>
                  </a:lnTo>
                  <a:cubicBezTo>
                    <a:pt x="19582" y="14495"/>
                    <a:pt x="19636" y="14372"/>
                    <a:pt x="19636" y="14236"/>
                  </a:cubicBezTo>
                  <a:cubicBezTo>
                    <a:pt x="19636" y="13965"/>
                    <a:pt x="19417" y="13745"/>
                    <a:pt x="19145" y="13745"/>
                  </a:cubicBezTo>
                  <a:cubicBezTo>
                    <a:pt x="19009" y="13745"/>
                    <a:pt x="18887" y="13801"/>
                    <a:pt x="18798" y="13890"/>
                  </a:cubicBezTo>
                  <a:lnTo>
                    <a:pt x="18164" y="14524"/>
                  </a:lnTo>
                  <a:cubicBezTo>
                    <a:pt x="18164" y="14524"/>
                    <a:pt x="17529" y="13890"/>
                    <a:pt x="17529" y="13890"/>
                  </a:cubicBezTo>
                  <a:close/>
                  <a:moveTo>
                    <a:pt x="20618" y="20458"/>
                  </a:moveTo>
                  <a:lnTo>
                    <a:pt x="14727" y="18775"/>
                  </a:lnTo>
                  <a:lnTo>
                    <a:pt x="14727" y="7698"/>
                  </a:lnTo>
                  <a:cubicBezTo>
                    <a:pt x="14950" y="7802"/>
                    <a:pt x="15155" y="7914"/>
                    <a:pt x="15324" y="8034"/>
                  </a:cubicBezTo>
                  <a:lnTo>
                    <a:pt x="15893" y="7234"/>
                  </a:lnTo>
                  <a:cubicBezTo>
                    <a:pt x="15627" y="7044"/>
                    <a:pt x="15313" y="6872"/>
                    <a:pt x="14959" y="6721"/>
                  </a:cubicBezTo>
                  <a:lnTo>
                    <a:pt x="14727" y="7263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9347"/>
                  </a:lnTo>
                  <a:lnTo>
                    <a:pt x="8249" y="10199"/>
                  </a:lnTo>
                  <a:cubicBezTo>
                    <a:pt x="8580" y="10045"/>
                    <a:pt x="8881" y="9843"/>
                    <a:pt x="9168" y="9581"/>
                  </a:cubicBezTo>
                  <a:lnTo>
                    <a:pt x="8505" y="8857"/>
                  </a:lnTo>
                  <a:cubicBezTo>
                    <a:pt x="8297" y="9048"/>
                    <a:pt x="8088" y="9187"/>
                    <a:pt x="7855" y="9299"/>
                  </a:cubicBez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1" y="1990"/>
                  </a:moveTo>
                  <a:lnTo>
                    <a:pt x="21244" y="1983"/>
                  </a:lnTo>
                  <a:lnTo>
                    <a:pt x="14372" y="19"/>
                  </a:lnTo>
                  <a:lnTo>
                    <a:pt x="14369" y="27"/>
                  </a:lnTo>
                  <a:cubicBezTo>
                    <a:pt x="14326" y="14"/>
                    <a:pt x="14283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0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9" y="19610"/>
                  </a:cubicBezTo>
                  <a:lnTo>
                    <a:pt x="356" y="19618"/>
                  </a:lnTo>
                  <a:lnTo>
                    <a:pt x="7228" y="21581"/>
                  </a:lnTo>
                  <a:lnTo>
                    <a:pt x="7231" y="21573"/>
                  </a:lnTo>
                  <a:cubicBezTo>
                    <a:pt x="7274" y="21586"/>
                    <a:pt x="7317" y="21600"/>
                    <a:pt x="7364" y="21600"/>
                  </a:cubicBezTo>
                  <a:cubicBezTo>
                    <a:pt x="7411" y="21600"/>
                    <a:pt x="7453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1" y="1990"/>
                  </a:cubicBezTo>
                  <a:moveTo>
                    <a:pt x="16435" y="9275"/>
                  </a:moveTo>
                  <a:lnTo>
                    <a:pt x="16518" y="9374"/>
                  </a:lnTo>
                  <a:lnTo>
                    <a:pt x="17269" y="8740"/>
                  </a:lnTo>
                  <a:lnTo>
                    <a:pt x="17184" y="8640"/>
                  </a:lnTo>
                  <a:cubicBezTo>
                    <a:pt x="17013" y="8438"/>
                    <a:pt x="16840" y="8236"/>
                    <a:pt x="16677" y="8019"/>
                  </a:cubicBezTo>
                  <a:lnTo>
                    <a:pt x="15891" y="8606"/>
                  </a:lnTo>
                  <a:cubicBezTo>
                    <a:pt x="16066" y="8840"/>
                    <a:pt x="16251" y="9059"/>
                    <a:pt x="16435" y="9275"/>
                  </a:cubicBezTo>
                  <a:moveTo>
                    <a:pt x="6270" y="11022"/>
                  </a:moveTo>
                  <a:lnTo>
                    <a:pt x="5739" y="10196"/>
                  </a:lnTo>
                  <a:cubicBezTo>
                    <a:pt x="5432" y="10394"/>
                    <a:pt x="5153" y="10605"/>
                    <a:pt x="4909" y="10825"/>
                  </a:cubicBezTo>
                  <a:lnTo>
                    <a:pt x="5568" y="11554"/>
                  </a:lnTo>
                  <a:cubicBezTo>
                    <a:pt x="5772" y="11370"/>
                    <a:pt x="6008" y="11191"/>
                    <a:pt x="6270" y="11022"/>
                  </a:cubicBezTo>
                  <a:moveTo>
                    <a:pt x="5004" y="12185"/>
                  </a:moveTo>
                  <a:lnTo>
                    <a:pt x="4196" y="11628"/>
                  </a:lnTo>
                  <a:cubicBezTo>
                    <a:pt x="3975" y="11949"/>
                    <a:pt x="3812" y="12288"/>
                    <a:pt x="3713" y="12634"/>
                  </a:cubicBezTo>
                  <a:lnTo>
                    <a:pt x="4656" y="12906"/>
                  </a:lnTo>
                  <a:cubicBezTo>
                    <a:pt x="4727" y="12661"/>
                    <a:pt x="4844" y="12418"/>
                    <a:pt x="5004" y="12185"/>
                  </a:cubicBezTo>
                  <a:moveTo>
                    <a:pt x="10467" y="8318"/>
                  </a:moveTo>
                  <a:lnTo>
                    <a:pt x="9972" y="7470"/>
                  </a:lnTo>
                  <a:cubicBezTo>
                    <a:pt x="9623" y="7674"/>
                    <a:pt x="9362" y="7936"/>
                    <a:pt x="9132" y="8189"/>
                  </a:cubicBezTo>
                  <a:lnTo>
                    <a:pt x="9857" y="8850"/>
                  </a:lnTo>
                  <a:cubicBezTo>
                    <a:pt x="10063" y="8624"/>
                    <a:pt x="10245" y="8448"/>
                    <a:pt x="10467" y="8318"/>
                  </a:cubicBezTo>
                  <a:moveTo>
                    <a:pt x="3927" y="15709"/>
                  </a:moveTo>
                  <a:cubicBezTo>
                    <a:pt x="4469" y="15709"/>
                    <a:pt x="4909" y="15270"/>
                    <a:pt x="4909" y="14727"/>
                  </a:cubicBezTo>
                  <a:cubicBezTo>
                    <a:pt x="4909" y="14185"/>
                    <a:pt x="4469" y="13745"/>
                    <a:pt x="3927" y="13745"/>
                  </a:cubicBezTo>
                  <a:cubicBezTo>
                    <a:pt x="3385" y="13745"/>
                    <a:pt x="2945" y="14185"/>
                    <a:pt x="2945" y="14727"/>
                  </a:cubicBezTo>
                  <a:cubicBezTo>
                    <a:pt x="2945" y="15270"/>
                    <a:pt x="3385" y="15709"/>
                    <a:pt x="3927" y="15709"/>
                  </a:cubicBezTo>
                  <a:moveTo>
                    <a:pt x="12273" y="7855"/>
                  </a:moveTo>
                  <a:cubicBezTo>
                    <a:pt x="12815" y="7855"/>
                    <a:pt x="13255" y="7415"/>
                    <a:pt x="13255" y="6873"/>
                  </a:cubicBezTo>
                  <a:cubicBezTo>
                    <a:pt x="13255" y="6331"/>
                    <a:pt x="12815" y="5891"/>
                    <a:pt x="12273" y="5891"/>
                  </a:cubicBezTo>
                  <a:cubicBezTo>
                    <a:pt x="11730" y="5891"/>
                    <a:pt x="11291" y="6331"/>
                    <a:pt x="11291" y="6873"/>
                  </a:cubicBezTo>
                  <a:cubicBezTo>
                    <a:pt x="11291" y="7415"/>
                    <a:pt x="11730" y="7855"/>
                    <a:pt x="12273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940">
              <a:extLst>
                <a:ext uri="{FF2B5EF4-FFF2-40B4-BE49-F238E27FC236}">
                  <a16:creationId xmlns:a16="http://schemas.microsoft.com/office/drawing/2014/main" id="{D781F62C-ADFE-4871-9EF9-F10465606242}"/>
                </a:ext>
              </a:extLst>
            </p:cNvPr>
            <p:cNvSpPr/>
            <p:nvPr/>
          </p:nvSpPr>
          <p:spPr bwMode="gray">
            <a:xfrm>
              <a:off x="3929204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8345"/>
                  </a:moveTo>
                  <a:cubicBezTo>
                    <a:pt x="9444" y="8345"/>
                    <a:pt x="8345" y="9444"/>
                    <a:pt x="8345" y="10800"/>
                  </a:cubicBezTo>
                  <a:cubicBezTo>
                    <a:pt x="8345" y="12156"/>
                    <a:pt x="9444" y="13255"/>
                    <a:pt x="10800" y="13255"/>
                  </a:cubicBezTo>
                  <a:cubicBezTo>
                    <a:pt x="12156" y="13255"/>
                    <a:pt x="13255" y="12156"/>
                    <a:pt x="13255" y="10800"/>
                  </a:cubicBezTo>
                  <a:cubicBezTo>
                    <a:pt x="13255" y="9444"/>
                    <a:pt x="12156" y="8345"/>
                    <a:pt x="10800" y="8345"/>
                  </a:cubicBezTo>
                  <a:moveTo>
                    <a:pt x="11291" y="20593"/>
                  </a:moveTo>
                  <a:lnTo>
                    <a:pt x="11291" y="17182"/>
                  </a:lnTo>
                  <a:cubicBezTo>
                    <a:pt x="11291" y="16910"/>
                    <a:pt x="11071" y="16691"/>
                    <a:pt x="10800" y="16691"/>
                  </a:cubicBezTo>
                  <a:cubicBezTo>
                    <a:pt x="10529" y="16691"/>
                    <a:pt x="10309" y="16910"/>
                    <a:pt x="10309" y="17182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4418" y="11291"/>
                  </a:lnTo>
                  <a:cubicBezTo>
                    <a:pt x="4690" y="11291"/>
                    <a:pt x="4909" y="11071"/>
                    <a:pt x="4909" y="10800"/>
                  </a:cubicBezTo>
                  <a:cubicBezTo>
                    <a:pt x="4909" y="10529"/>
                    <a:pt x="4690" y="10309"/>
                    <a:pt x="4418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4418"/>
                  </a:ln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7182" y="10309"/>
                  </a:lnTo>
                  <a:cubicBezTo>
                    <a:pt x="16910" y="10309"/>
                    <a:pt x="16691" y="10529"/>
                    <a:pt x="16691" y="10800"/>
                  </a:cubicBezTo>
                  <a:cubicBezTo>
                    <a:pt x="16691" y="11071"/>
                    <a:pt x="16910" y="11291"/>
                    <a:pt x="17182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10800" y="0"/>
                    <a:pt x="10800" y="0"/>
                    <a:pt x="10800" y="0"/>
                  </a:cubicBez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41">
              <a:extLst>
                <a:ext uri="{FF2B5EF4-FFF2-40B4-BE49-F238E27FC236}">
                  <a16:creationId xmlns:a16="http://schemas.microsoft.com/office/drawing/2014/main" id="{B7DAFDC9-C10A-4CD5-AAFD-B3B87EAB6ABE}"/>
                </a:ext>
              </a:extLst>
            </p:cNvPr>
            <p:cNvSpPr/>
            <p:nvPr/>
          </p:nvSpPr>
          <p:spPr bwMode="gray">
            <a:xfrm>
              <a:off x="4482756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7648"/>
                  </a:lnTo>
                  <a:cubicBezTo>
                    <a:pt x="14694" y="17407"/>
                    <a:pt x="17408" y="14693"/>
                    <a:pt x="17649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1291" y="13205"/>
                  </a:moveTo>
                  <a:cubicBezTo>
                    <a:pt x="12252" y="13010"/>
                    <a:pt x="13005" y="12252"/>
                    <a:pt x="13201" y="11291"/>
                  </a:cubicBezTo>
                  <a:lnTo>
                    <a:pt x="16667" y="11291"/>
                  </a:lnTo>
                  <a:cubicBezTo>
                    <a:pt x="16431" y="14152"/>
                    <a:pt x="14152" y="16429"/>
                    <a:pt x="11291" y="16666"/>
                  </a:cubicBezTo>
                  <a:cubicBezTo>
                    <a:pt x="11291" y="16666"/>
                    <a:pt x="11291" y="13205"/>
                    <a:pt x="11291" y="13205"/>
                  </a:cubicBezTo>
                  <a:close/>
                  <a:moveTo>
                    <a:pt x="11291" y="4934"/>
                  </a:moveTo>
                  <a:cubicBezTo>
                    <a:pt x="12233" y="5012"/>
                    <a:pt x="13111" y="5315"/>
                    <a:pt x="13875" y="5784"/>
                  </a:cubicBezTo>
                  <a:cubicBezTo>
                    <a:pt x="13793" y="5967"/>
                    <a:pt x="13745" y="6168"/>
                    <a:pt x="13745" y="6382"/>
                  </a:cubicBezTo>
                  <a:cubicBezTo>
                    <a:pt x="13745" y="7195"/>
                    <a:pt x="14405" y="7855"/>
                    <a:pt x="15218" y="7855"/>
                  </a:cubicBezTo>
                  <a:cubicBezTo>
                    <a:pt x="15432" y="7855"/>
                    <a:pt x="15633" y="7807"/>
                    <a:pt x="15816" y="7725"/>
                  </a:cubicBezTo>
                  <a:cubicBezTo>
                    <a:pt x="16286" y="8489"/>
                    <a:pt x="16589" y="9367"/>
                    <a:pt x="16667" y="10309"/>
                  </a:cubicBezTo>
                  <a:lnTo>
                    <a:pt x="13201" y="10309"/>
                  </a:lnTo>
                  <a:cubicBezTo>
                    <a:pt x="13005" y="9348"/>
                    <a:pt x="12252" y="8590"/>
                    <a:pt x="11291" y="8395"/>
                  </a:cubicBezTo>
                  <a:cubicBezTo>
                    <a:pt x="11291" y="8395"/>
                    <a:pt x="11291" y="4934"/>
                    <a:pt x="11291" y="4934"/>
                  </a:cubicBezTo>
                  <a:close/>
                  <a:moveTo>
                    <a:pt x="11291" y="1007"/>
                  </a:moveTo>
                  <a:cubicBezTo>
                    <a:pt x="16320" y="1256"/>
                    <a:pt x="20345" y="5281"/>
                    <a:pt x="20594" y="10309"/>
                  </a:cubicBezTo>
                  <a:lnTo>
                    <a:pt x="17649" y="10309"/>
                  </a:lnTo>
                  <a:cubicBezTo>
                    <a:pt x="17563" y="9102"/>
                    <a:pt x="17162" y="7985"/>
                    <a:pt x="16534" y="7031"/>
                  </a:cubicBezTo>
                  <a:cubicBezTo>
                    <a:pt x="16631" y="6835"/>
                    <a:pt x="16691" y="6616"/>
                    <a:pt x="16691" y="6382"/>
                  </a:cubicBezTo>
                  <a:cubicBezTo>
                    <a:pt x="16691" y="5569"/>
                    <a:pt x="16032" y="4909"/>
                    <a:pt x="15218" y="4909"/>
                  </a:cubicBezTo>
                  <a:cubicBezTo>
                    <a:pt x="14984" y="4909"/>
                    <a:pt x="14765" y="4969"/>
                    <a:pt x="14568" y="5066"/>
                  </a:cubicBezTo>
                  <a:cubicBezTo>
                    <a:pt x="13614" y="4439"/>
                    <a:pt x="12498" y="4038"/>
                    <a:pt x="11291" y="3952"/>
                  </a:cubicBezTo>
                  <a:cubicBezTo>
                    <a:pt x="11291" y="3952"/>
                    <a:pt x="11291" y="1007"/>
                    <a:pt x="11291" y="1007"/>
                  </a:cubicBezTo>
                  <a:close/>
                  <a:moveTo>
                    <a:pt x="10309" y="3949"/>
                  </a:moveTo>
                  <a:cubicBezTo>
                    <a:pt x="7225" y="4167"/>
                    <a:pt x="4703" y="6417"/>
                    <a:pt x="4078" y="9370"/>
                  </a:cubicBezTo>
                  <a:cubicBezTo>
                    <a:pt x="3590" y="9486"/>
                    <a:pt x="3196" y="9843"/>
                    <a:pt x="3030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cubicBezTo>
                    <a:pt x="10309" y="1007"/>
                    <a:pt x="10309" y="3949"/>
                    <a:pt x="10309" y="3949"/>
                  </a:cubicBezTo>
                  <a:close/>
                  <a:moveTo>
                    <a:pt x="10309" y="8395"/>
                  </a:moveTo>
                  <a:cubicBezTo>
                    <a:pt x="9348" y="8590"/>
                    <a:pt x="8595" y="9348"/>
                    <a:pt x="8399" y="10309"/>
                  </a:cubicBezTo>
                  <a:lnTo>
                    <a:pt x="5796" y="10309"/>
                  </a:lnTo>
                  <a:cubicBezTo>
                    <a:pt x="5666" y="9948"/>
                    <a:pt x="5405" y="9649"/>
                    <a:pt x="5062" y="9482"/>
                  </a:cubicBezTo>
                  <a:cubicBezTo>
                    <a:pt x="5626" y="7018"/>
                    <a:pt x="7730" y="5144"/>
                    <a:pt x="10309" y="4930"/>
                  </a:cubicBezTo>
                  <a:cubicBezTo>
                    <a:pt x="10309" y="4930"/>
                    <a:pt x="10309" y="8395"/>
                    <a:pt x="10309" y="8395"/>
                  </a:cubicBezTo>
                  <a:close/>
                  <a:moveTo>
                    <a:pt x="10309" y="16670"/>
                  </a:moveTo>
                  <a:cubicBezTo>
                    <a:pt x="7730" y="16456"/>
                    <a:pt x="5626" y="14582"/>
                    <a:pt x="5062" y="12118"/>
                  </a:cubicBezTo>
                  <a:cubicBezTo>
                    <a:pt x="5405" y="11951"/>
                    <a:pt x="5666" y="11652"/>
                    <a:pt x="5796" y="11291"/>
                  </a:cubicBezTo>
                  <a:lnTo>
                    <a:pt x="8399" y="11291"/>
                  </a:lnTo>
                  <a:cubicBezTo>
                    <a:pt x="8595" y="12252"/>
                    <a:pt x="9348" y="13010"/>
                    <a:pt x="10309" y="13205"/>
                  </a:cubicBezTo>
                  <a:cubicBezTo>
                    <a:pt x="10309" y="13205"/>
                    <a:pt x="10309" y="16670"/>
                    <a:pt x="10309" y="16670"/>
                  </a:cubicBezTo>
                  <a:close/>
                  <a:moveTo>
                    <a:pt x="10309" y="20593"/>
                  </a:moveTo>
                  <a:cubicBezTo>
                    <a:pt x="5280" y="20344"/>
                    <a:pt x="1255" y="16319"/>
                    <a:pt x="1006" y="11291"/>
                  </a:cubicBezTo>
                  <a:lnTo>
                    <a:pt x="3030" y="11291"/>
                  </a:lnTo>
                  <a:cubicBezTo>
                    <a:pt x="3196" y="11757"/>
                    <a:pt x="3590" y="12114"/>
                    <a:pt x="4078" y="12230"/>
                  </a:cubicBezTo>
                  <a:cubicBezTo>
                    <a:pt x="4703" y="15183"/>
                    <a:pt x="7225" y="17434"/>
                    <a:pt x="10309" y="17651"/>
                  </a:cubicBezTo>
                  <a:cubicBezTo>
                    <a:pt x="10309" y="17651"/>
                    <a:pt x="10309" y="20593"/>
                    <a:pt x="10309" y="20593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42">
              <a:extLst>
                <a:ext uri="{FF2B5EF4-FFF2-40B4-BE49-F238E27FC236}">
                  <a16:creationId xmlns:a16="http://schemas.microsoft.com/office/drawing/2014/main" id="{6635C0A1-5A4F-492D-93FE-CA99C23F4EE7}"/>
                </a:ext>
              </a:extLst>
            </p:cNvPr>
            <p:cNvSpPr/>
            <p:nvPr/>
          </p:nvSpPr>
          <p:spPr bwMode="gray">
            <a:xfrm>
              <a:off x="5062667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12524"/>
                  </a:moveTo>
                  <a:cubicBezTo>
                    <a:pt x="19362" y="12218"/>
                    <a:pt x="17455" y="11782"/>
                    <a:pt x="15000" y="11782"/>
                  </a:cubicBezTo>
                  <a:cubicBezTo>
                    <a:pt x="12625" y="11782"/>
                    <a:pt x="11514" y="12089"/>
                    <a:pt x="10534" y="12360"/>
                  </a:cubicBezTo>
                  <a:cubicBezTo>
                    <a:pt x="9751" y="12577"/>
                    <a:pt x="9076" y="12764"/>
                    <a:pt x="7800" y="12764"/>
                  </a:cubicBezTo>
                  <a:cubicBezTo>
                    <a:pt x="6097" y="12764"/>
                    <a:pt x="5268" y="12537"/>
                    <a:pt x="4390" y="12298"/>
                  </a:cubicBezTo>
                  <a:cubicBezTo>
                    <a:pt x="3564" y="12073"/>
                    <a:pt x="2709" y="11842"/>
                    <a:pt x="1200" y="11792"/>
                  </a:cubicBezTo>
                  <a:lnTo>
                    <a:pt x="1200" y="992"/>
                  </a:lnTo>
                  <a:cubicBezTo>
                    <a:pt x="2511" y="1038"/>
                    <a:pt x="3242" y="1238"/>
                    <a:pt x="4010" y="1448"/>
                  </a:cubicBezTo>
                  <a:cubicBezTo>
                    <a:pt x="4941" y="1701"/>
                    <a:pt x="5903" y="1964"/>
                    <a:pt x="7800" y="1964"/>
                  </a:cubicBezTo>
                  <a:cubicBezTo>
                    <a:pt x="9273" y="1964"/>
                    <a:pt x="10109" y="1733"/>
                    <a:pt x="10918" y="1508"/>
                  </a:cubicBezTo>
                  <a:cubicBezTo>
                    <a:pt x="11854" y="1250"/>
                    <a:pt x="12823" y="982"/>
                    <a:pt x="15000" y="982"/>
                  </a:cubicBezTo>
                  <a:cubicBezTo>
                    <a:pt x="17661" y="982"/>
                    <a:pt x="19648" y="1545"/>
                    <a:pt x="20400" y="1794"/>
                  </a:cubicBezTo>
                  <a:cubicBezTo>
                    <a:pt x="20400" y="1794"/>
                    <a:pt x="20400" y="12524"/>
                    <a:pt x="20400" y="12524"/>
                  </a:cubicBezTo>
                  <a:close/>
                  <a:moveTo>
                    <a:pt x="21594" y="1473"/>
                  </a:moveTo>
                  <a:cubicBezTo>
                    <a:pt x="21594" y="1293"/>
                    <a:pt x="21478" y="1120"/>
                    <a:pt x="21268" y="1034"/>
                  </a:cubicBezTo>
                  <a:cubicBezTo>
                    <a:pt x="21165" y="991"/>
                    <a:pt x="18699" y="0"/>
                    <a:pt x="15000" y="0"/>
                  </a:cubicBezTo>
                  <a:cubicBezTo>
                    <a:pt x="12625" y="0"/>
                    <a:pt x="11514" y="308"/>
                    <a:pt x="10534" y="579"/>
                  </a:cubicBezTo>
                  <a:cubicBezTo>
                    <a:pt x="9751" y="795"/>
                    <a:pt x="9076" y="982"/>
                    <a:pt x="7800" y="982"/>
                  </a:cubicBezTo>
                  <a:cubicBezTo>
                    <a:pt x="6097" y="982"/>
                    <a:pt x="5268" y="756"/>
                    <a:pt x="4390" y="516"/>
                  </a:cubicBezTo>
                  <a:cubicBezTo>
                    <a:pt x="3459" y="263"/>
                    <a:pt x="2497" y="0"/>
                    <a:pt x="600" y="0"/>
                  </a:cubicBez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2774"/>
                  </a:lnTo>
                  <a:cubicBezTo>
                    <a:pt x="2511" y="12820"/>
                    <a:pt x="3242" y="13020"/>
                    <a:pt x="4010" y="13230"/>
                  </a:cubicBezTo>
                  <a:cubicBezTo>
                    <a:pt x="4941" y="13483"/>
                    <a:pt x="5903" y="13745"/>
                    <a:pt x="7800" y="13745"/>
                  </a:cubicBezTo>
                  <a:cubicBezTo>
                    <a:pt x="9273" y="13745"/>
                    <a:pt x="10109" y="13514"/>
                    <a:pt x="10918" y="13291"/>
                  </a:cubicBezTo>
                  <a:cubicBezTo>
                    <a:pt x="11854" y="13031"/>
                    <a:pt x="12823" y="12764"/>
                    <a:pt x="15000" y="12764"/>
                  </a:cubicBezTo>
                  <a:cubicBezTo>
                    <a:pt x="18400" y="12764"/>
                    <a:pt x="20709" y="13685"/>
                    <a:pt x="20733" y="13694"/>
                  </a:cubicBezTo>
                  <a:cubicBezTo>
                    <a:pt x="21029" y="13814"/>
                    <a:pt x="21389" y="13716"/>
                    <a:pt x="21537" y="13473"/>
                  </a:cubicBezTo>
                  <a:cubicBezTo>
                    <a:pt x="21580" y="13403"/>
                    <a:pt x="21594" y="13328"/>
                    <a:pt x="21594" y="13255"/>
                  </a:cubicBezTo>
                  <a:lnTo>
                    <a:pt x="21600" y="13255"/>
                  </a:lnTo>
                  <a:lnTo>
                    <a:pt x="21600" y="1473"/>
                  </a:lnTo>
                  <a:cubicBezTo>
                    <a:pt x="21600" y="1473"/>
                    <a:pt x="21594" y="1473"/>
                    <a:pt x="21594" y="147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43">
              <a:extLst>
                <a:ext uri="{FF2B5EF4-FFF2-40B4-BE49-F238E27FC236}">
                  <a16:creationId xmlns:a16="http://schemas.microsoft.com/office/drawing/2014/main" id="{335D42A1-050A-4101-9D4E-A68A0363C60E}"/>
                </a:ext>
              </a:extLst>
            </p:cNvPr>
            <p:cNvSpPr/>
            <p:nvPr/>
          </p:nvSpPr>
          <p:spPr bwMode="gray">
            <a:xfrm>
              <a:off x="5616219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00" y="11782"/>
                  </a:moveTo>
                  <a:lnTo>
                    <a:pt x="9600" y="10800"/>
                  </a:lnTo>
                  <a:lnTo>
                    <a:pt x="11400" y="10800"/>
                  </a:lnTo>
                  <a:cubicBezTo>
                    <a:pt x="11732" y="10800"/>
                    <a:pt x="12000" y="10580"/>
                    <a:pt x="12000" y="10309"/>
                  </a:cubicBezTo>
                  <a:lnTo>
                    <a:pt x="12000" y="2945"/>
                  </a:lnTo>
                  <a:lnTo>
                    <a:pt x="19940" y="2945"/>
                  </a:lnTo>
                  <a:lnTo>
                    <a:pt x="16886" y="7111"/>
                  </a:lnTo>
                  <a:lnTo>
                    <a:pt x="16894" y="7115"/>
                  </a:lnTo>
                  <a:cubicBezTo>
                    <a:pt x="16840" y="7189"/>
                    <a:pt x="16800" y="7272"/>
                    <a:pt x="16800" y="7364"/>
                  </a:cubicBezTo>
                  <a:cubicBezTo>
                    <a:pt x="16800" y="7457"/>
                    <a:pt x="16840" y="7538"/>
                    <a:pt x="16894" y="7612"/>
                  </a:cubicBezTo>
                  <a:lnTo>
                    <a:pt x="16886" y="7616"/>
                  </a:lnTo>
                  <a:lnTo>
                    <a:pt x="19940" y="11782"/>
                  </a:lnTo>
                  <a:cubicBezTo>
                    <a:pt x="19940" y="11782"/>
                    <a:pt x="9600" y="11782"/>
                    <a:pt x="9600" y="11782"/>
                  </a:cubicBezTo>
                  <a:close/>
                  <a:moveTo>
                    <a:pt x="1200" y="982"/>
                  </a:moveTo>
                  <a:lnTo>
                    <a:pt x="10800" y="982"/>
                  </a:lnTo>
                  <a:lnTo>
                    <a:pt x="10800" y="9818"/>
                  </a:lnTo>
                  <a:lnTo>
                    <a:pt x="1200" y="9818"/>
                  </a:lnTo>
                  <a:cubicBezTo>
                    <a:pt x="1200" y="9818"/>
                    <a:pt x="1200" y="982"/>
                    <a:pt x="1200" y="982"/>
                  </a:cubicBezTo>
                  <a:close/>
                  <a:moveTo>
                    <a:pt x="21514" y="12020"/>
                  </a:moveTo>
                  <a:lnTo>
                    <a:pt x="18100" y="7364"/>
                  </a:lnTo>
                  <a:lnTo>
                    <a:pt x="21514" y="2707"/>
                  </a:lnTo>
                  <a:lnTo>
                    <a:pt x="21506" y="2703"/>
                  </a:lnTo>
                  <a:cubicBezTo>
                    <a:pt x="21560" y="2629"/>
                    <a:pt x="21600" y="2547"/>
                    <a:pt x="21600" y="2455"/>
                  </a:cubicBezTo>
                  <a:cubicBezTo>
                    <a:pt x="21600" y="2183"/>
                    <a:pt x="21332" y="1964"/>
                    <a:pt x="21000" y="1964"/>
                  </a:cubicBezTo>
                  <a:lnTo>
                    <a:pt x="12000" y="1964"/>
                  </a:lnTo>
                  <a:lnTo>
                    <a:pt x="12000" y="491"/>
                  </a:lnTo>
                  <a:cubicBezTo>
                    <a:pt x="12000" y="220"/>
                    <a:pt x="11732" y="0"/>
                    <a:pt x="11400" y="0"/>
                  </a:cubicBezTo>
                  <a:lnTo>
                    <a:pt x="600" y="0"/>
                  </a:ln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0800"/>
                  </a:lnTo>
                  <a:lnTo>
                    <a:pt x="8400" y="10800"/>
                  </a:lnTo>
                  <a:lnTo>
                    <a:pt x="8400" y="12273"/>
                  </a:lnTo>
                  <a:cubicBezTo>
                    <a:pt x="8400" y="12544"/>
                    <a:pt x="8668" y="12764"/>
                    <a:pt x="9000" y="12764"/>
                  </a:cubicBezTo>
                  <a:lnTo>
                    <a:pt x="21000" y="12764"/>
                  </a:lnTo>
                  <a:cubicBezTo>
                    <a:pt x="21332" y="12764"/>
                    <a:pt x="21600" y="12544"/>
                    <a:pt x="21600" y="12273"/>
                  </a:cubicBezTo>
                  <a:cubicBezTo>
                    <a:pt x="21600" y="12181"/>
                    <a:pt x="21560" y="12098"/>
                    <a:pt x="21506" y="12024"/>
                  </a:cubicBezTo>
                  <a:cubicBezTo>
                    <a:pt x="21506" y="12024"/>
                    <a:pt x="21514" y="12020"/>
                    <a:pt x="21514" y="1202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49">
              <a:extLst>
                <a:ext uri="{FF2B5EF4-FFF2-40B4-BE49-F238E27FC236}">
                  <a16:creationId xmlns:a16="http://schemas.microsoft.com/office/drawing/2014/main" id="{D8546150-CAB0-4176-B637-02BA561DD2AC}"/>
                </a:ext>
              </a:extLst>
            </p:cNvPr>
            <p:cNvSpPr/>
            <p:nvPr/>
          </p:nvSpPr>
          <p:spPr bwMode="gray">
            <a:xfrm>
              <a:off x="6169771" y="5025201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152" y="16691"/>
                  </a:moveTo>
                  <a:lnTo>
                    <a:pt x="3600" y="16691"/>
                  </a:lnTo>
                  <a:lnTo>
                    <a:pt x="3600" y="11782"/>
                  </a:lnTo>
                  <a:lnTo>
                    <a:pt x="17152" y="11782"/>
                  </a:lnTo>
                  <a:lnTo>
                    <a:pt x="20152" y="14236"/>
                  </a:lnTo>
                  <a:cubicBezTo>
                    <a:pt x="20152" y="14236"/>
                    <a:pt x="17152" y="16691"/>
                    <a:pt x="17152" y="16691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7673"/>
                  </a:lnTo>
                  <a:lnTo>
                    <a:pt x="11400" y="17673"/>
                  </a:lnTo>
                  <a:cubicBezTo>
                    <a:pt x="11400" y="17673"/>
                    <a:pt x="11400" y="20618"/>
                    <a:pt x="11400" y="20618"/>
                  </a:cubicBezTo>
                  <a:close/>
                  <a:moveTo>
                    <a:pt x="11400" y="10800"/>
                  </a:moveTo>
                  <a:lnTo>
                    <a:pt x="10200" y="10800"/>
                  </a:lnTo>
                  <a:lnTo>
                    <a:pt x="10200" y="8836"/>
                  </a:lnTo>
                  <a:lnTo>
                    <a:pt x="11400" y="8836"/>
                  </a:lnTo>
                  <a:cubicBezTo>
                    <a:pt x="11400" y="8836"/>
                    <a:pt x="11400" y="10800"/>
                    <a:pt x="11400" y="10800"/>
                  </a:cubicBezTo>
                  <a:close/>
                  <a:moveTo>
                    <a:pt x="4448" y="7855"/>
                  </a:moveTo>
                  <a:lnTo>
                    <a:pt x="1448" y="5400"/>
                  </a:lnTo>
                  <a:lnTo>
                    <a:pt x="4448" y="2945"/>
                  </a:lnTo>
                  <a:lnTo>
                    <a:pt x="18000" y="2945"/>
                  </a:lnTo>
                  <a:lnTo>
                    <a:pt x="18000" y="7855"/>
                  </a:lnTo>
                  <a:cubicBezTo>
                    <a:pt x="18000" y="7855"/>
                    <a:pt x="4448" y="7855"/>
                    <a:pt x="4448" y="7855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1424" y="13889"/>
                  </a:moveTo>
                  <a:lnTo>
                    <a:pt x="17824" y="10944"/>
                  </a:lnTo>
                  <a:cubicBezTo>
                    <a:pt x="17715" y="10855"/>
                    <a:pt x="17565" y="10800"/>
                    <a:pt x="17400" y="10800"/>
                  </a:cubicBezTo>
                  <a:lnTo>
                    <a:pt x="12600" y="10800"/>
                  </a:lnTo>
                  <a:lnTo>
                    <a:pt x="12600" y="8836"/>
                  </a:lnTo>
                  <a:lnTo>
                    <a:pt x="18600" y="8836"/>
                  </a:lnTo>
                  <a:cubicBezTo>
                    <a:pt x="18932" y="8836"/>
                    <a:pt x="19200" y="8616"/>
                    <a:pt x="19200" y="8345"/>
                  </a:cubicBezTo>
                  <a:lnTo>
                    <a:pt x="19200" y="2455"/>
                  </a:lnTo>
                  <a:cubicBezTo>
                    <a:pt x="19200" y="2184"/>
                    <a:pt x="18932" y="1964"/>
                    <a:pt x="18600" y="1964"/>
                  </a:cubicBez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3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4200" y="1964"/>
                  </a:lnTo>
                  <a:cubicBezTo>
                    <a:pt x="4034" y="1964"/>
                    <a:pt x="3885" y="2019"/>
                    <a:pt x="3776" y="2107"/>
                  </a:cubicBezTo>
                  <a:lnTo>
                    <a:pt x="176" y="5053"/>
                  </a:lnTo>
                  <a:cubicBezTo>
                    <a:pt x="67" y="5142"/>
                    <a:pt x="0" y="5265"/>
                    <a:pt x="0" y="5400"/>
                  </a:cubicBezTo>
                  <a:cubicBezTo>
                    <a:pt x="0" y="5536"/>
                    <a:pt x="67" y="5658"/>
                    <a:pt x="176" y="5747"/>
                  </a:cubicBezTo>
                  <a:lnTo>
                    <a:pt x="3776" y="8693"/>
                  </a:lnTo>
                  <a:cubicBezTo>
                    <a:pt x="3885" y="8782"/>
                    <a:pt x="4034" y="8836"/>
                    <a:pt x="4200" y="8836"/>
                  </a:cubicBezTo>
                  <a:lnTo>
                    <a:pt x="9000" y="8836"/>
                  </a:lnTo>
                  <a:lnTo>
                    <a:pt x="9000" y="10800"/>
                  </a:lnTo>
                  <a:lnTo>
                    <a:pt x="3000" y="10800"/>
                  </a:lnTo>
                  <a:cubicBezTo>
                    <a:pt x="2668" y="10800"/>
                    <a:pt x="2400" y="11020"/>
                    <a:pt x="2400" y="11291"/>
                  </a:cubicBezTo>
                  <a:lnTo>
                    <a:pt x="2400" y="17182"/>
                  </a:lnTo>
                  <a:cubicBezTo>
                    <a:pt x="2400" y="17453"/>
                    <a:pt x="2668" y="17673"/>
                    <a:pt x="3000" y="17673"/>
                  </a:cubicBezTo>
                  <a:lnTo>
                    <a:pt x="9000" y="17673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3" y="21600"/>
                    <a:pt x="12600" y="21160"/>
                    <a:pt x="12600" y="20618"/>
                  </a:cubicBezTo>
                  <a:lnTo>
                    <a:pt x="12600" y="17673"/>
                  </a:lnTo>
                  <a:lnTo>
                    <a:pt x="17400" y="17673"/>
                  </a:lnTo>
                  <a:cubicBezTo>
                    <a:pt x="17565" y="17673"/>
                    <a:pt x="17715" y="17618"/>
                    <a:pt x="17824" y="17529"/>
                  </a:cubicBezTo>
                  <a:lnTo>
                    <a:pt x="21424" y="14583"/>
                  </a:lnTo>
                  <a:cubicBezTo>
                    <a:pt x="21533" y="14495"/>
                    <a:pt x="21600" y="14372"/>
                    <a:pt x="21600" y="14236"/>
                  </a:cubicBezTo>
                  <a:cubicBezTo>
                    <a:pt x="21600" y="14101"/>
                    <a:pt x="21533" y="13978"/>
                    <a:pt x="21424" y="1388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B5E30A9-F574-49B9-9AC7-B725D81927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79524439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3880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8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Bildplatzhalter 70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C2350552-3342-4B1C-AD57-06E9019C37F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594" r="29594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3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3888" y="2456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3888" y="3320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0EF88AF-C71B-4242-BA40-F946844D9C7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ABD76493-895B-40C0-A8E2-6D679168C263}" type="datetime1">
              <a:rPr lang="de-DE" smtClean="0">
                <a:solidFill>
                  <a:schemeClr val="bg1"/>
                </a:solidFill>
              </a:rPr>
              <a:pPr/>
              <a:t>09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4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3A024F-EE15-450A-8F5C-1677CC453FD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89937425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04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0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Bildplatzhalter 55" descr="Ein Bild, das Text, Tisch, Esstisch enthält.&#10;&#10;Automatisch generierte Beschreibung">
            <a:extLst>
              <a:ext uri="{FF2B5EF4-FFF2-40B4-BE49-F238E27FC236}">
                <a16:creationId xmlns:a16="http://schemas.microsoft.com/office/drawing/2014/main" id="{0B986298-D0F7-4E72-9AA9-13989BC25ED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4123" r="4123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4 Them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7CE6A335-36FC-4D26-A4FE-73246A3246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F950E59D-69F1-4E3E-883D-CAFA8AC5EFC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F7399C5A-099E-4759-AF90-0C1639CD0CA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9A80821-AE30-4A59-B7AB-2E2DE6D7F0E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A647AB3-28E9-4DFA-A859-A62FC80BC5E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93520" y="4369763"/>
            <a:ext cx="6251337" cy="276999"/>
          </a:xfrm>
        </p:spPr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016B79B2-53D3-4CC8-BDFD-0A50FE110B22}" type="datetime1">
              <a:rPr lang="de-DE" smtClean="0">
                <a:solidFill>
                  <a:schemeClr val="bg1"/>
                </a:solidFill>
              </a:rPr>
              <a:pPr/>
              <a:t>09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5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FDDB087-270F-494D-8C85-A645C7A0742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81386328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740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2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Bildplatzhalter 57">
            <a:extLst>
              <a:ext uri="{FF2B5EF4-FFF2-40B4-BE49-F238E27FC236}">
                <a16:creationId xmlns:a16="http://schemas.microsoft.com/office/drawing/2014/main" id="{6B535D8D-0081-4D8F-9C78-DB9B51958A4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812" r="32812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A144864-528D-4385-AE51-D50C9118680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F49D8C1F-E6D8-4D0E-B978-5FAAB03669F7}" type="datetime1">
              <a:rPr lang="de-DE" smtClean="0">
                <a:solidFill>
                  <a:schemeClr val="bg1"/>
                </a:solidFill>
              </a:rPr>
              <a:pPr/>
              <a:t>09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A97BE9E-37D9-4F55-8E6B-A7767F2068A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33335481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93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39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C0175C97-0B85-4831-AB10-0FCE069AFE2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F34112-B9B8-468E-BB9D-66EAB5F83DC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323832C3-4E8A-42A8-AFF9-287CAD64E07D}" type="datetime1">
              <a:rPr lang="de-DE" smtClean="0">
                <a:solidFill>
                  <a:schemeClr val="bg1"/>
                </a:solidFill>
              </a:rPr>
              <a:pPr/>
              <a:t>09.05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7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7C79623C-4370-4956-A691-7AC80E0A70A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86318556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455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7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Straße, Himmel, draußen, Weg enthält.&#10;&#10;Automatisch generierte Beschreibung">
            <a:extLst>
              <a:ext uri="{FF2B5EF4-FFF2-40B4-BE49-F238E27FC236}">
                <a16:creationId xmlns:a16="http://schemas.microsoft.com/office/drawing/2014/main" id="{9D96CDEA-5408-4AB8-AB72-C002802D52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18523" r="18523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B6A2BA-C548-4DC6-B66B-831C803753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55B11AF4-F842-49E9-AB7D-8AAEDD24C050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8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BB012B36-5C9C-4A2F-9258-63B36E7AC57D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24110617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50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0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Boden, drinnen, Fenster, Raum enthält.&#10;&#10;Automatisch generierte Beschreibung">
            <a:extLst>
              <a:ext uri="{FF2B5EF4-FFF2-40B4-BE49-F238E27FC236}">
                <a16:creationId xmlns:a16="http://schemas.microsoft.com/office/drawing/2014/main" id="{D530B33B-BCC8-4D3A-B550-40B4D2289A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A89E29-4662-45D3-8839-631B29EF04B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B97B55A5-3A0E-4210-AB26-C65FEFF31EA8}" type="datetime1">
              <a:rPr lang="de-DE" smtClean="0"/>
              <a:pPr/>
              <a:t>09.05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9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E9AE0EF5-5806-4DC8-B6FB-9AFD1CA9CF7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747570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0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E4&quot; g=&quot;E4&quot; b=&quot;E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BI_Folienmaster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44000" tIns="72000" rIns="144000" bIns="72000" rtlCol="0" anchor="t"/>
      <a:lstStyle>
        <a:defPPr marL="266700" indent="-266700" algn="l">
          <a:buAutoNum type="arabicPeriod"/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300"/>
          </a:spcAft>
          <a:defRPr sz="1400" dirty="0" err="1" smtClean="0"/>
        </a:defPPr>
      </a:lstStyle>
    </a:txDef>
  </a:objectDefaults>
  <a:extraClrSchemeLst/>
  <a:custClrLst>
    <a:custClr name="Orange 1">
      <a:srgbClr val="FFCAA3"/>
    </a:custClr>
    <a:custClr name="Orange 2">
      <a:srgbClr val="FFA969"/>
    </a:custClr>
    <a:custClr name="Orange 3">
      <a:srgbClr val="FF9647"/>
    </a:custClr>
    <a:custClr name="Orange 4">
      <a:srgbClr val="FF7E21"/>
    </a:custClr>
    <a:custClr name="Orange 5">
      <a:srgbClr val="F66900"/>
    </a:custClr>
    <a:custClr name="Orange 6">
      <a:srgbClr val="F25600"/>
    </a:custClr>
    <a:custClr name="Orange 7">
      <a:srgbClr val="DE4700"/>
    </a:custClr>
    <a:custClr name="Orange 8">
      <a:srgbClr val="CA3D00"/>
    </a:custClr>
    <a:custClr name="Orange 9">
      <a:srgbClr val="B42F00"/>
    </a:custClr>
    <a:custClr name="Orange 10">
      <a:srgbClr val="A22A00"/>
    </a:custClr>
    <a:custClr name="Grau 1">
      <a:srgbClr val="E4E4E4"/>
    </a:custClr>
    <a:custClr name="Grau 2">
      <a:srgbClr val="D9DADA"/>
    </a:custClr>
    <a:custClr name="Grau 3">
      <a:srgbClr val="C8CACA"/>
    </a:custClr>
    <a:custClr name="Grau 4">
      <a:srgbClr val="B7B9B9"/>
    </a:custClr>
    <a:custClr name="Grau 5">
      <a:srgbClr val="A0A2A2"/>
    </a:custClr>
    <a:custClr name="Grau 6">
      <a:srgbClr val="898B8B"/>
    </a:custClr>
    <a:custClr name="Grau 7">
      <a:srgbClr val="767878"/>
    </a:custClr>
    <a:custClr name="Grau 8">
      <a:srgbClr val="636565"/>
    </a:custClr>
    <a:custClr name="Grau 9">
      <a:srgbClr val="4C4E4E"/>
    </a:custClr>
    <a:custClr name="Grau 10">
      <a:srgbClr val="333535"/>
    </a:custClr>
    <a:custClr name="Gartenplaner">
      <a:srgbClr val="71B84D"/>
    </a:custClr>
    <a:custClr name="Badplaner">
      <a:srgbClr val="00B2D2"/>
    </a:custClr>
    <a:custClr name="Küchenplaner">
      <a:srgbClr val="6BBBAE"/>
    </a:custClr>
  </a:custClrLst>
  <a:extLst>
    <a:ext uri="{05A4C25C-085E-4340-85A3-A5531E510DB2}">
      <thm15:themeFamily xmlns:thm15="http://schemas.microsoft.com/office/thememl/2012/main" name="OBI_Folienbibliothek" id="{72149091-C404-4C5C-95F0-60F9E7340DC2}" vid="{1E1FE4AA-CD5C-4E8B-8269-7A40F0687CF6}"/>
    </a:ext>
  </a:extLst>
</a:theme>
</file>

<file path=ppt/theme/theme2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BI_Folienmaster</Template>
  <TotalTime>0</TotalTime>
  <Words>8321</Words>
  <Application>Microsoft Macintosh PowerPoint</Application>
  <PresentationFormat>Breitbild</PresentationFormat>
  <Paragraphs>1670</Paragraphs>
  <Slides>127</Slides>
  <Notes>67</Notes>
  <HiddenSlides>0</HiddenSlides>
  <MMClips>15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7</vt:i4>
      </vt:variant>
    </vt:vector>
  </HeadingPairs>
  <TitlesOfParts>
    <vt:vector size="135" baseType="lpstr">
      <vt:lpstr>Arial</vt:lpstr>
      <vt:lpstr>Menlo</vt:lpstr>
      <vt:lpstr>Obi Sans ML 20 Bold</vt:lpstr>
      <vt:lpstr>Obi Sans ML 20 PP Regular</vt:lpstr>
      <vt:lpstr>Obi Sans ML 20 Regular</vt:lpstr>
      <vt:lpstr>Wingdings</vt:lpstr>
      <vt:lpstr>OBI_Folienmaster</vt:lpstr>
      <vt:lpstr>think-cell Folie</vt:lpstr>
      <vt:lpstr>PowerPoint-Präsentation</vt:lpstr>
      <vt:lpstr>Todo</vt:lpstr>
      <vt:lpstr>Vorstellungsrunde</vt:lpstr>
      <vt:lpstr>Weiterführende Links</vt:lpstr>
      <vt:lpstr>PowerPoint-Präsentation</vt:lpstr>
      <vt:lpstr>Agenda</vt:lpstr>
      <vt:lpstr>Ziele des Trainings</vt:lpstr>
      <vt:lpstr>PowerPoint-Präsentation</vt:lpstr>
      <vt:lpstr>Rechenintensive Operationen können einen Server potentiell blockieren oder viele Ressourcen in Anspruch nehmen</vt:lpstr>
      <vt:lpstr>Die Nutzung von blocking IO durch traditionelle Webserver war einer der Hauptmotivationsgründe für Node.js</vt:lpstr>
      <vt:lpstr>Blocking vs non blocking IO – einfaches Bsp?</vt:lpstr>
      <vt:lpstr>Non-blocking IO ermöglicht effizienteres Ausnutzen eines einzelnen Threads, wie etwa in Node.js</vt:lpstr>
      <vt:lpstr>Im Gegensatz zu synchronem I/O wird bei asynchronem I/O die Kontrolle umgehend an den Aufrufer zurückübergeben </vt:lpstr>
      <vt:lpstr>Javascript ist per Design event-driven und daher gut geeignet für das Event Demultiplexing bzw. Abarbeiten der Tasks über Event Loop </vt:lpstr>
      <vt:lpstr>Node.js nutzt das Reactor Pattern, um asynchrone, rechenintensive Operationen unter der Haube zu koordinieren und abzuarbeiten</vt:lpstr>
      <vt:lpstr>PowerPoint-Präsentation</vt:lpstr>
      <vt:lpstr>Das Reactor pattern ist im Code selbst kaum sichtbar, da diese Ebene wegabstrahiert ist</vt:lpstr>
      <vt:lpstr>Callbacks bilden die Basis der Asynchronität in Node.js</vt:lpstr>
      <vt:lpstr>Closures</vt:lpstr>
      <vt:lpstr>Callbacks können auch synchron sein</vt:lpstr>
      <vt:lpstr>Callbacks – Beispiel </vt:lpstr>
      <vt:lpstr>PowerPoint-Präsentation</vt:lpstr>
      <vt:lpstr>Schema für Callbacks für asynchrone Operationen</vt:lpstr>
      <vt:lpstr>Programmieren mit Callbacks kann schnell zu Callback Hell werden</vt:lpstr>
      <vt:lpstr>Callbacks – Spot the bug</vt:lpstr>
      <vt:lpstr>Callbacks – Spot the bug</vt:lpstr>
      <vt:lpstr>PowerPoint-Präsentation</vt:lpstr>
      <vt:lpstr>Promise Objekt repräsentiert die letztendliche Vollendung oder Fehlschlag einer asynchronen Operation und dem resultierenden Wert</vt:lpstr>
      <vt:lpstr>Promises – Beispiel </vt:lpstr>
      <vt:lpstr>PowerPoint-Präsentation</vt:lpstr>
      <vt:lpstr>PowerPoint-Präsentation</vt:lpstr>
      <vt:lpstr>PowerPoint-Präsentation</vt:lpstr>
      <vt:lpstr>Vergleich Callbacks und Promises</vt:lpstr>
      <vt:lpstr>PowerPoint-Präsentation</vt:lpstr>
      <vt:lpstr>Promises – Spot the bug</vt:lpstr>
      <vt:lpstr>Promises – Spot the bug</vt:lpstr>
      <vt:lpstr>Beispiel async/await</vt:lpstr>
      <vt:lpstr>PowerPoint-Präsentation</vt:lpstr>
      <vt:lpstr>Vergleich Promises und async/await</vt:lpstr>
      <vt:lpstr>PowerPoint-Präsentation</vt:lpstr>
      <vt:lpstr>Async/await – Spot the bug</vt:lpstr>
      <vt:lpstr>Async/await – Spot the bug</vt:lpstr>
      <vt:lpstr>Aufgabe: CB API in Promise umbauen</vt:lpstr>
      <vt:lpstr>Aufgabe: CB API in Promise umbauen – Lösung </vt:lpstr>
      <vt:lpstr>Beispiel für NPM Package, das CB-based APIs in Promises umwandelt</vt:lpstr>
      <vt:lpstr>Es können auch mehrere asynchrone Aktionen gleichzeitig durchgeführt werden</vt:lpstr>
      <vt:lpstr>PowerPoint-Präsentation</vt:lpstr>
      <vt:lpstr>Vergleich Callbacks und Observer</vt:lpstr>
      <vt:lpstr>Observer Pattern</vt:lpstr>
      <vt:lpstr>PowerPoint-Präsentation</vt:lpstr>
      <vt:lpstr>Vergleich Event Emitter und Callback </vt:lpstr>
      <vt:lpstr>PowerPoint-Präsentation</vt:lpstr>
      <vt:lpstr>Beispiel Vergleich Buffering – Streaming</vt:lpstr>
      <vt:lpstr>PowerPoint-Präsentation</vt:lpstr>
      <vt:lpstr>PowerPoint-Präsentation</vt:lpstr>
      <vt:lpstr>Beim Buffering werden alle Daten vor dem Verarbeiten in den Arbeitsspeicher geladen</vt:lpstr>
      <vt:lpstr>Beim Streaming werden Daten bereits vor dem vollständigen Laden verarbeitet</vt:lpstr>
      <vt:lpstr>Streams bieten eine Reihe von Vorteilen</vt:lpstr>
      <vt:lpstr>Durch früheres Beginnen der späteren Verarbeitungsschritte ist Streaming zeit-effizienter</vt:lpstr>
      <vt:lpstr>PowerPoint-Präsentation</vt:lpstr>
      <vt:lpstr>In Node.js werden vier verschiedene Typen von Streams genutzt</vt:lpstr>
      <vt:lpstr>PowerPoint-Präsentation</vt:lpstr>
      <vt:lpstr>Stream ist asynchroner Iterator</vt:lpstr>
      <vt:lpstr>Beispiel: einen neuen Custom Readable Stream implementieren</vt:lpstr>
      <vt:lpstr>PowerPoint-Präsentation</vt:lpstr>
      <vt:lpstr>PowerPoint-Präsentation</vt:lpstr>
      <vt:lpstr>Beispiel Writable erstellen</vt:lpstr>
      <vt:lpstr>PowerPoint-Präsentation</vt:lpstr>
      <vt:lpstr>Streams – Spot the bug</vt:lpstr>
      <vt:lpstr>Streams – Spot the bug</vt:lpstr>
      <vt:lpstr>Beispiel writable erstellen</vt:lpstr>
      <vt:lpstr>Aufgabe: Implementierung von Readable vereinfachen</vt:lpstr>
      <vt:lpstr>Aufgabe: Implementierung von Readable vereinfachen</vt:lpstr>
      <vt:lpstr>PowerPoint-Präsentation</vt:lpstr>
      <vt:lpstr>Beispiel Asynchron initialisierte Komponenten</vt:lpstr>
      <vt:lpstr>PowerPoint-Präsentation</vt:lpstr>
      <vt:lpstr>Beispiel Asynchron initialisierte Komponenten</vt:lpstr>
      <vt:lpstr>PowerPoint-Präsentation</vt:lpstr>
      <vt:lpstr>PowerPoint-Präsentation</vt:lpstr>
      <vt:lpstr>Übersicht Asynchron initialisierte Komponenten</vt:lpstr>
      <vt:lpstr>PowerPoint-Präsentation</vt:lpstr>
      <vt:lpstr>Readables können im flowing oder non-flowing Mode ausgelesen werden</vt:lpstr>
      <vt:lpstr>Writable teilt über Backpressure mit, wenn der interne Buffer voll ist</vt:lpstr>
      <vt:lpstr>Wrap-up</vt:lpstr>
      <vt:lpstr>PowerPoint-Präsentation</vt:lpstr>
      <vt:lpstr>Kodierung von Präsentationen</vt:lpstr>
      <vt:lpstr>Standardformen</vt:lpstr>
      <vt:lpstr>Symbole</vt:lpstr>
      <vt:lpstr>Icons (1/5)</vt:lpstr>
      <vt:lpstr>Icons (2/5)</vt:lpstr>
      <vt:lpstr>Icons (3/5)</vt:lpstr>
      <vt:lpstr>Icons (4/5)</vt:lpstr>
      <vt:lpstr>Icons (5/5)</vt:lpstr>
      <vt:lpstr>Agenda mit 3 Themen</vt:lpstr>
      <vt:lpstr>Agenda mit 4 Themen</vt:lpstr>
      <vt:lpstr>Agenda mit 5 Themen</vt:lpstr>
      <vt:lpstr>Agenda mit 5 Themen</vt:lpstr>
      <vt:lpstr>Agenda mit 5 Themen</vt:lpstr>
      <vt:lpstr>Agenda mit 5 Themen</vt:lpstr>
      <vt:lpstr>Agenda mit 5 Themen</vt:lpstr>
      <vt:lpstr>Agenda mit 5 Themen</vt:lpstr>
      <vt:lpstr>PowerPoint-Präsentation</vt:lpstr>
      <vt:lpstr>Standardtabelle</vt:lpstr>
      <vt:lpstr>Projektstatus</vt:lpstr>
      <vt:lpstr>Tabelle</vt:lpstr>
      <vt:lpstr>Prozessschritte</vt:lpstr>
      <vt:lpstr>4 Prozessschritte</vt:lpstr>
      <vt:lpstr>Prozesskreise</vt:lpstr>
      <vt:lpstr>4 Prozessschritte</vt:lpstr>
      <vt:lpstr>6 Faktoren</vt:lpstr>
      <vt:lpstr>Drei Ziele</vt:lpstr>
      <vt:lpstr>Next Steps (1/2)</vt:lpstr>
      <vt:lpstr>Next Steps (2/2)</vt:lpstr>
      <vt:lpstr>2 Spalten</vt:lpstr>
      <vt:lpstr>3 Spalten</vt:lpstr>
      <vt:lpstr>4 Spalten</vt:lpstr>
      <vt:lpstr>2 Spalten mit Bild</vt:lpstr>
      <vt:lpstr>3 Spalten mit Bild</vt:lpstr>
      <vt:lpstr>4 Spalten mit Bild</vt:lpstr>
      <vt:lpstr>Matrix</vt:lpstr>
      <vt:lpstr>Ergebnis rechts</vt:lpstr>
      <vt:lpstr>Ergebnis unten</vt:lpstr>
      <vt:lpstr>Mockup für Screenshots</vt:lpstr>
      <vt:lpstr>Mockup für Screenshots</vt:lpstr>
      <vt:lpstr>Inhalt und Bild</vt:lpstr>
      <vt:lpstr>Inhalt und Marginalspalte</vt:lpstr>
      <vt:lpstr>Inhalt und Kernaussag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icrosoft Office User</cp:lastModifiedBy>
  <cp:revision>207</cp:revision>
  <dcterms:created xsi:type="dcterms:W3CDTF">2022-01-13T08:13:31Z</dcterms:created>
  <dcterms:modified xsi:type="dcterms:W3CDTF">2022-05-09T14:40:05Z</dcterms:modified>
</cp:coreProperties>
</file>